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6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7.xml" ContentType="application/vnd.openxmlformats-officedocument.presentationml.notesSlide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notesSlides/notesSlide17.xml" ContentType="application/vnd.openxmlformats-officedocument.presentationml.notesSlide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notesSlides/notesSlide26.xml" ContentType="application/vnd.openxmlformats-officedocument.presentationml.notesSlide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notesSlides/notesSlide27.xml" ContentType="application/vnd.openxmlformats-officedocument.presentationml.notesSlide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 autoCompressPictures="0" bookmarkIdSeed="2">
  <p:sldMasterIdLst>
    <p:sldMasterId id="2147483831" r:id="rId1"/>
  </p:sldMasterIdLst>
  <p:notesMasterIdLst>
    <p:notesMasterId r:id="rId30"/>
  </p:notesMasterIdLst>
  <p:handoutMasterIdLst>
    <p:handoutMasterId r:id="rId31"/>
  </p:handoutMasterIdLst>
  <p:sldIdLst>
    <p:sldId id="627" r:id="rId2"/>
    <p:sldId id="628" r:id="rId3"/>
    <p:sldId id="629" r:id="rId4"/>
    <p:sldId id="681" r:id="rId5"/>
    <p:sldId id="647" r:id="rId6"/>
    <p:sldId id="674" r:id="rId7"/>
    <p:sldId id="631" r:id="rId8"/>
    <p:sldId id="682" r:id="rId9"/>
    <p:sldId id="669" r:id="rId10"/>
    <p:sldId id="670" r:id="rId11"/>
    <p:sldId id="648" r:id="rId12"/>
    <p:sldId id="633" r:id="rId13"/>
    <p:sldId id="634" r:id="rId14"/>
    <p:sldId id="663" r:id="rId15"/>
    <p:sldId id="664" r:id="rId16"/>
    <p:sldId id="635" r:id="rId17"/>
    <p:sldId id="642" r:id="rId18"/>
    <p:sldId id="658" r:id="rId19"/>
    <p:sldId id="659" r:id="rId20"/>
    <p:sldId id="643" r:id="rId21"/>
    <p:sldId id="645" r:id="rId22"/>
    <p:sldId id="680" r:id="rId23"/>
    <p:sldId id="649" r:id="rId24"/>
    <p:sldId id="646" r:id="rId25"/>
    <p:sldId id="651" r:id="rId26"/>
    <p:sldId id="652" r:id="rId27"/>
    <p:sldId id="653" r:id="rId28"/>
    <p:sldId id="683" r:id="rId29"/>
  </p:sldIdLst>
  <p:sldSz cx="9144000" cy="6858000" type="screen4x3"/>
  <p:notesSz cx="6797675" cy="9926638"/>
  <p:embeddedFontLst>
    <p:embeddedFont>
      <p:font typeface="Calibri" panose="020F0502020204030204" pitchFamily="34" charset="0"/>
      <p:regular r:id="rId32"/>
      <p:bold r:id="rId33"/>
      <p:italic r:id="rId34"/>
      <p:boldItalic r:id="rId35"/>
    </p:embeddedFont>
    <p:embeddedFont>
      <p:font typeface="Pontano Sans" panose="020B0604020202020204" charset="0"/>
      <p:regular r:id="rId36"/>
    </p:embeddedFont>
  </p:embeddedFontLst>
  <p:custDataLst>
    <p:tags r:id="rId37"/>
  </p:custDataLst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>
          <p15:clr>
            <a:srgbClr val="A4A3A4"/>
          </p15:clr>
        </p15:guide>
        <p15:guide id="2" orient="horz" pos="3475">
          <p15:clr>
            <a:srgbClr val="A4A3A4"/>
          </p15:clr>
        </p15:guide>
        <p15:guide id="3" orient="horz" pos="1933">
          <p15:clr>
            <a:srgbClr val="A4A3A4"/>
          </p15:clr>
        </p15:guide>
        <p15:guide id="4" pos="204">
          <p15:clr>
            <a:srgbClr val="A4A3A4"/>
          </p15:clr>
        </p15:guide>
        <p15:guide id="5" pos="5556">
          <p15:clr>
            <a:srgbClr val="A4A3A4"/>
          </p15:clr>
        </p15:guide>
        <p15:guide id="6">
          <p15:clr>
            <a:srgbClr val="A4A3A4"/>
          </p15:clr>
        </p15:guide>
        <p15:guide id="7" pos="5647">
          <p15:clr>
            <a:srgbClr val="A4A3A4"/>
          </p15:clr>
        </p15:guide>
        <p15:guide id="8" pos="26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CFCD"/>
    <a:srgbClr val="C4E76A"/>
    <a:srgbClr val="6CC049"/>
    <a:srgbClr val="00567C"/>
    <a:srgbClr val="404040"/>
    <a:srgbClr val="A2D683"/>
    <a:srgbClr val="8D8C8D"/>
    <a:srgbClr val="D9D9D9"/>
    <a:srgbClr val="ADDB91"/>
    <a:srgbClr val="C0E3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32" autoAdjust="0"/>
    <p:restoredTop sz="97070" autoAdjust="0"/>
  </p:normalViewPr>
  <p:slideViewPr>
    <p:cSldViewPr showGuides="1">
      <p:cViewPr varScale="1">
        <p:scale>
          <a:sx n="80" d="100"/>
          <a:sy n="80" d="100"/>
        </p:scale>
        <p:origin x="1810" y="62"/>
      </p:cViewPr>
      <p:guideLst>
        <p:guide orient="horz" pos="1117"/>
        <p:guide orient="horz" pos="3475"/>
        <p:guide orient="horz" pos="1933"/>
        <p:guide pos="204"/>
        <p:guide pos="5556"/>
        <p:guide/>
        <p:guide pos="5647"/>
        <p:guide pos="2653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howGuides="1">
      <p:cViewPr varScale="1">
        <p:scale>
          <a:sx n="65" d="100"/>
          <a:sy n="65" d="100"/>
        </p:scale>
        <p:origin x="-2532" y="-102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3.fntdata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2.fntdata"/><Relationship Id="rId38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1.fntdata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5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font" Target="fonts/font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image" Target="../media/image2.emf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image" Target="../media/image45.emf"/><Relationship Id="rId1" Type="http://schemas.openxmlformats.org/officeDocument/2006/relationships/image" Target="../media/image2.emf"/><Relationship Id="rId4" Type="http://schemas.openxmlformats.org/officeDocument/2006/relationships/image" Target="../media/image47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54.emf"/><Relationship Id="rId2" Type="http://schemas.openxmlformats.org/officeDocument/2006/relationships/image" Target="../media/image53.emf"/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35FDA1-6C78-4213-8B7B-1D79F1CC16D9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EAD30D-F3FF-4493-93DF-16A45CCB8695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8775535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6E53F0-8F01-4A8C-8193-912B2EC4E09B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93673-DC06-4DF4-BCCA-00310B4F3A87}" type="slidenum">
              <a:rPr lang="es-ES" smtClean="0"/>
              <a:pPr/>
              <a:t>‹#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830936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9067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0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85169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1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8224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2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6779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3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60506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4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7478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5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236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6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13954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7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42484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8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19298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19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093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8027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0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1246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1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47838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2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04674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3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37741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4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03316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5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39460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6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30135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7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55804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28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8669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3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426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4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4907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5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1096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6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7133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7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7860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8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9762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193673-DC06-4DF4-BCCA-00310B4F3A87}" type="slidenum">
              <a:rPr lang="es-ES" smtClean="0">
                <a:solidFill>
                  <a:prstClr val="black"/>
                </a:solidFill>
              </a:rPr>
              <a:pPr/>
              <a:t>9</a:t>
            </a:fld>
            <a:endParaRPr lang="es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18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961726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59635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8979298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987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9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685800"/>
            <a:ext cx="80772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s-ES" noProof="0" smtClean="0"/>
              <a:t>Click to edit Master title style</a:t>
            </a:r>
            <a:endParaRPr lang="es-ES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752600"/>
            <a:ext cx="80772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s-ES" noProof="0" smtClean="0"/>
              <a:t>Click to edit Master text styles</a:t>
            </a:r>
          </a:p>
          <a:p>
            <a:pPr lvl="1"/>
            <a:r>
              <a:rPr lang="es-ES" noProof="0" smtClean="0"/>
              <a:t>Second level</a:t>
            </a:r>
          </a:p>
          <a:p>
            <a:pPr lvl="2"/>
            <a:r>
              <a:rPr lang="es-ES" noProof="0" smtClean="0"/>
              <a:t>Third level</a:t>
            </a:r>
          </a:p>
          <a:p>
            <a:pPr lvl="3"/>
            <a:r>
              <a:rPr lang="es-ES" noProof="0" smtClean="0"/>
              <a:t>Fourth level</a:t>
            </a:r>
          </a:p>
          <a:p>
            <a:pPr lvl="4"/>
            <a:r>
              <a:rPr lang="es-ES" noProof="0" smtClean="0"/>
              <a:t>Fifth level</a:t>
            </a:r>
            <a:endParaRPr lang="es-ES" noProof="0"/>
          </a:p>
        </p:txBody>
      </p:sp>
      <p:sp>
        <p:nvSpPr>
          <p:cNvPr id="16" name="15 Marcador de número de diapositiva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es-ES" dirty="0" smtClean="0">
                <a:solidFill>
                  <a:srgbClr val="000000"/>
                </a:solidFill>
              </a:rPr>
              <a:t>Slide </a:t>
            </a:r>
            <a:fld id="{2E16319C-51A8-47A7-A8FA-899BA755ABA6}" type="slidenum">
              <a:rPr lang="es-ES" smtClean="0">
                <a:solidFill>
                  <a:srgbClr val="000000"/>
                </a:solidFill>
              </a:rPr>
              <a:pPr/>
              <a:t>‹#›</a:t>
            </a:fld>
            <a:endParaRPr lang="es-ES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393986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697276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218100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191201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766499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542631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948638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s-E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754884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6 Objeto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5627127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44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s-E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E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8D9884-6BE1-4242-A20E-5AF408F9EC00}" type="datetimeFigureOut">
              <a:rPr lang="es-ES" smtClean="0"/>
              <a:pPr/>
              <a:t>11/01/2019</a:t>
            </a:fld>
            <a:endParaRPr lang="es-E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Slide </a:t>
            </a:r>
            <a:fld id="{F0568CF8-794D-4113-AEF6-4C90AF9B5AE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678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gi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4.gif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10" Type="http://schemas.openxmlformats.org/officeDocument/2006/relationships/image" Target="../media/image25.jpeg"/><Relationship Id="rId4" Type="http://schemas.openxmlformats.org/officeDocument/2006/relationships/image" Target="../media/image5.jpeg"/><Relationship Id="rId9" Type="http://schemas.openxmlformats.org/officeDocument/2006/relationships/hyperlink" Target="http://www.bing.com/images/search?q=imagenes+negociaci%c3%b3n&amp;id=CA2C2E37A4C4B448E2D629946ABE395A85143B3B&amp;FORM=IQFRBA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emf"/><Relationship Id="rId4" Type="http://schemas.openxmlformats.org/officeDocument/2006/relationships/image" Target="../media/image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14.xml.rels><?xml version="1.0" encoding="UTF-8" standalone="yes"?>
<Relationships xmlns="http://schemas.openxmlformats.org/package/2006/relationships"><Relationship Id="rId117" Type="http://schemas.openxmlformats.org/officeDocument/2006/relationships/tags" Target="../tags/tag164.xml"/><Relationship Id="rId299" Type="http://schemas.openxmlformats.org/officeDocument/2006/relationships/tags" Target="../tags/tag346.xml"/><Relationship Id="rId303" Type="http://schemas.openxmlformats.org/officeDocument/2006/relationships/tags" Target="../tags/tag350.xml"/><Relationship Id="rId21" Type="http://schemas.openxmlformats.org/officeDocument/2006/relationships/tags" Target="../tags/tag68.xml"/><Relationship Id="rId42" Type="http://schemas.openxmlformats.org/officeDocument/2006/relationships/tags" Target="../tags/tag89.xml"/><Relationship Id="rId63" Type="http://schemas.openxmlformats.org/officeDocument/2006/relationships/tags" Target="../tags/tag110.xml"/><Relationship Id="rId84" Type="http://schemas.openxmlformats.org/officeDocument/2006/relationships/tags" Target="../tags/tag131.xml"/><Relationship Id="rId138" Type="http://schemas.openxmlformats.org/officeDocument/2006/relationships/tags" Target="../tags/tag185.xml"/><Relationship Id="rId159" Type="http://schemas.openxmlformats.org/officeDocument/2006/relationships/tags" Target="../tags/tag206.xml"/><Relationship Id="rId324" Type="http://schemas.openxmlformats.org/officeDocument/2006/relationships/tags" Target="../tags/tag371.xml"/><Relationship Id="rId170" Type="http://schemas.openxmlformats.org/officeDocument/2006/relationships/tags" Target="../tags/tag217.xml"/><Relationship Id="rId191" Type="http://schemas.openxmlformats.org/officeDocument/2006/relationships/tags" Target="../tags/tag238.xml"/><Relationship Id="rId205" Type="http://schemas.openxmlformats.org/officeDocument/2006/relationships/tags" Target="../tags/tag252.xml"/><Relationship Id="rId226" Type="http://schemas.openxmlformats.org/officeDocument/2006/relationships/tags" Target="../tags/tag273.xml"/><Relationship Id="rId247" Type="http://schemas.openxmlformats.org/officeDocument/2006/relationships/tags" Target="../tags/tag294.xml"/><Relationship Id="rId107" Type="http://schemas.openxmlformats.org/officeDocument/2006/relationships/tags" Target="../tags/tag154.xml"/><Relationship Id="rId268" Type="http://schemas.openxmlformats.org/officeDocument/2006/relationships/tags" Target="../tags/tag315.xml"/><Relationship Id="rId289" Type="http://schemas.openxmlformats.org/officeDocument/2006/relationships/tags" Target="../tags/tag336.xml"/><Relationship Id="rId11" Type="http://schemas.openxmlformats.org/officeDocument/2006/relationships/tags" Target="../tags/tag58.xml"/><Relationship Id="rId32" Type="http://schemas.openxmlformats.org/officeDocument/2006/relationships/tags" Target="../tags/tag79.xml"/><Relationship Id="rId53" Type="http://schemas.openxmlformats.org/officeDocument/2006/relationships/tags" Target="../tags/tag100.xml"/><Relationship Id="rId74" Type="http://schemas.openxmlformats.org/officeDocument/2006/relationships/tags" Target="../tags/tag121.xml"/><Relationship Id="rId128" Type="http://schemas.openxmlformats.org/officeDocument/2006/relationships/tags" Target="../tags/tag175.xml"/><Relationship Id="rId149" Type="http://schemas.openxmlformats.org/officeDocument/2006/relationships/tags" Target="../tags/tag196.xml"/><Relationship Id="rId314" Type="http://schemas.openxmlformats.org/officeDocument/2006/relationships/tags" Target="../tags/tag361.xml"/><Relationship Id="rId335" Type="http://schemas.openxmlformats.org/officeDocument/2006/relationships/oleObject" Target="../embeddings/oleObject10.bin"/><Relationship Id="rId5" Type="http://schemas.openxmlformats.org/officeDocument/2006/relationships/tags" Target="../tags/tag52.xml"/><Relationship Id="rId95" Type="http://schemas.openxmlformats.org/officeDocument/2006/relationships/tags" Target="../tags/tag142.xml"/><Relationship Id="rId160" Type="http://schemas.openxmlformats.org/officeDocument/2006/relationships/tags" Target="../tags/tag207.xml"/><Relationship Id="rId181" Type="http://schemas.openxmlformats.org/officeDocument/2006/relationships/tags" Target="../tags/tag228.xml"/><Relationship Id="rId216" Type="http://schemas.openxmlformats.org/officeDocument/2006/relationships/tags" Target="../tags/tag263.xml"/><Relationship Id="rId237" Type="http://schemas.openxmlformats.org/officeDocument/2006/relationships/tags" Target="../tags/tag284.xml"/><Relationship Id="rId258" Type="http://schemas.openxmlformats.org/officeDocument/2006/relationships/tags" Target="../tags/tag305.xml"/><Relationship Id="rId279" Type="http://schemas.openxmlformats.org/officeDocument/2006/relationships/tags" Target="../tags/tag326.xml"/><Relationship Id="rId22" Type="http://schemas.openxmlformats.org/officeDocument/2006/relationships/tags" Target="../tags/tag69.xml"/><Relationship Id="rId43" Type="http://schemas.openxmlformats.org/officeDocument/2006/relationships/tags" Target="../tags/tag90.xml"/><Relationship Id="rId64" Type="http://schemas.openxmlformats.org/officeDocument/2006/relationships/tags" Target="../tags/tag111.xml"/><Relationship Id="rId118" Type="http://schemas.openxmlformats.org/officeDocument/2006/relationships/tags" Target="../tags/tag165.xml"/><Relationship Id="rId139" Type="http://schemas.openxmlformats.org/officeDocument/2006/relationships/tags" Target="../tags/tag186.xml"/><Relationship Id="rId290" Type="http://schemas.openxmlformats.org/officeDocument/2006/relationships/tags" Target="../tags/tag337.xml"/><Relationship Id="rId304" Type="http://schemas.openxmlformats.org/officeDocument/2006/relationships/tags" Target="../tags/tag351.xml"/><Relationship Id="rId325" Type="http://schemas.openxmlformats.org/officeDocument/2006/relationships/tags" Target="../tags/tag372.xml"/><Relationship Id="rId85" Type="http://schemas.openxmlformats.org/officeDocument/2006/relationships/tags" Target="../tags/tag132.xml"/><Relationship Id="rId150" Type="http://schemas.openxmlformats.org/officeDocument/2006/relationships/tags" Target="../tags/tag197.xml"/><Relationship Id="rId171" Type="http://schemas.openxmlformats.org/officeDocument/2006/relationships/tags" Target="../tags/tag218.xml"/><Relationship Id="rId192" Type="http://schemas.openxmlformats.org/officeDocument/2006/relationships/tags" Target="../tags/tag239.xml"/><Relationship Id="rId206" Type="http://schemas.openxmlformats.org/officeDocument/2006/relationships/tags" Target="../tags/tag253.xml"/><Relationship Id="rId227" Type="http://schemas.openxmlformats.org/officeDocument/2006/relationships/tags" Target="../tags/tag274.xml"/><Relationship Id="rId248" Type="http://schemas.openxmlformats.org/officeDocument/2006/relationships/tags" Target="../tags/tag295.xml"/><Relationship Id="rId269" Type="http://schemas.openxmlformats.org/officeDocument/2006/relationships/tags" Target="../tags/tag316.xml"/><Relationship Id="rId12" Type="http://schemas.openxmlformats.org/officeDocument/2006/relationships/tags" Target="../tags/tag59.xml"/><Relationship Id="rId33" Type="http://schemas.openxmlformats.org/officeDocument/2006/relationships/tags" Target="../tags/tag80.xml"/><Relationship Id="rId108" Type="http://schemas.openxmlformats.org/officeDocument/2006/relationships/tags" Target="../tags/tag155.xml"/><Relationship Id="rId129" Type="http://schemas.openxmlformats.org/officeDocument/2006/relationships/tags" Target="../tags/tag176.xml"/><Relationship Id="rId280" Type="http://schemas.openxmlformats.org/officeDocument/2006/relationships/tags" Target="../tags/tag327.xml"/><Relationship Id="rId315" Type="http://schemas.openxmlformats.org/officeDocument/2006/relationships/tags" Target="../tags/tag362.xml"/><Relationship Id="rId336" Type="http://schemas.openxmlformats.org/officeDocument/2006/relationships/image" Target="../media/image28.emf"/><Relationship Id="rId54" Type="http://schemas.openxmlformats.org/officeDocument/2006/relationships/tags" Target="../tags/tag101.xml"/><Relationship Id="rId75" Type="http://schemas.openxmlformats.org/officeDocument/2006/relationships/tags" Target="../tags/tag122.xml"/><Relationship Id="rId96" Type="http://schemas.openxmlformats.org/officeDocument/2006/relationships/tags" Target="../tags/tag143.xml"/><Relationship Id="rId140" Type="http://schemas.openxmlformats.org/officeDocument/2006/relationships/tags" Target="../tags/tag187.xml"/><Relationship Id="rId161" Type="http://schemas.openxmlformats.org/officeDocument/2006/relationships/tags" Target="../tags/tag208.xml"/><Relationship Id="rId182" Type="http://schemas.openxmlformats.org/officeDocument/2006/relationships/tags" Target="../tags/tag229.xml"/><Relationship Id="rId217" Type="http://schemas.openxmlformats.org/officeDocument/2006/relationships/tags" Target="../tags/tag264.xml"/><Relationship Id="rId6" Type="http://schemas.openxmlformats.org/officeDocument/2006/relationships/tags" Target="../tags/tag53.xml"/><Relationship Id="rId238" Type="http://schemas.openxmlformats.org/officeDocument/2006/relationships/tags" Target="../tags/tag285.xml"/><Relationship Id="rId259" Type="http://schemas.openxmlformats.org/officeDocument/2006/relationships/tags" Target="../tags/tag306.xml"/><Relationship Id="rId23" Type="http://schemas.openxmlformats.org/officeDocument/2006/relationships/tags" Target="../tags/tag70.xml"/><Relationship Id="rId119" Type="http://schemas.openxmlformats.org/officeDocument/2006/relationships/tags" Target="../tags/tag166.xml"/><Relationship Id="rId270" Type="http://schemas.openxmlformats.org/officeDocument/2006/relationships/tags" Target="../tags/tag317.xml"/><Relationship Id="rId291" Type="http://schemas.openxmlformats.org/officeDocument/2006/relationships/tags" Target="../tags/tag338.xml"/><Relationship Id="rId305" Type="http://schemas.openxmlformats.org/officeDocument/2006/relationships/tags" Target="../tags/tag352.xml"/><Relationship Id="rId326" Type="http://schemas.openxmlformats.org/officeDocument/2006/relationships/tags" Target="../tags/tag373.xml"/><Relationship Id="rId44" Type="http://schemas.openxmlformats.org/officeDocument/2006/relationships/tags" Target="../tags/tag91.xml"/><Relationship Id="rId65" Type="http://schemas.openxmlformats.org/officeDocument/2006/relationships/tags" Target="../tags/tag112.xml"/><Relationship Id="rId86" Type="http://schemas.openxmlformats.org/officeDocument/2006/relationships/tags" Target="../tags/tag133.xml"/><Relationship Id="rId130" Type="http://schemas.openxmlformats.org/officeDocument/2006/relationships/tags" Target="../tags/tag177.xml"/><Relationship Id="rId151" Type="http://schemas.openxmlformats.org/officeDocument/2006/relationships/tags" Target="../tags/tag198.xml"/><Relationship Id="rId172" Type="http://schemas.openxmlformats.org/officeDocument/2006/relationships/tags" Target="../tags/tag219.xml"/><Relationship Id="rId193" Type="http://schemas.openxmlformats.org/officeDocument/2006/relationships/tags" Target="../tags/tag240.xml"/><Relationship Id="rId207" Type="http://schemas.openxmlformats.org/officeDocument/2006/relationships/tags" Target="../tags/tag254.xml"/><Relationship Id="rId228" Type="http://schemas.openxmlformats.org/officeDocument/2006/relationships/tags" Target="../tags/tag275.xml"/><Relationship Id="rId249" Type="http://schemas.openxmlformats.org/officeDocument/2006/relationships/tags" Target="../tags/tag296.xml"/><Relationship Id="rId13" Type="http://schemas.openxmlformats.org/officeDocument/2006/relationships/tags" Target="../tags/tag60.xml"/><Relationship Id="rId109" Type="http://schemas.openxmlformats.org/officeDocument/2006/relationships/tags" Target="../tags/tag156.xml"/><Relationship Id="rId260" Type="http://schemas.openxmlformats.org/officeDocument/2006/relationships/tags" Target="../tags/tag307.xml"/><Relationship Id="rId281" Type="http://schemas.openxmlformats.org/officeDocument/2006/relationships/tags" Target="../tags/tag328.xml"/><Relationship Id="rId316" Type="http://schemas.openxmlformats.org/officeDocument/2006/relationships/tags" Target="../tags/tag363.xml"/><Relationship Id="rId337" Type="http://schemas.openxmlformats.org/officeDocument/2006/relationships/oleObject" Target="../embeddings/oleObject11.bin"/><Relationship Id="rId34" Type="http://schemas.openxmlformats.org/officeDocument/2006/relationships/tags" Target="../tags/tag81.xml"/><Relationship Id="rId55" Type="http://schemas.openxmlformats.org/officeDocument/2006/relationships/tags" Target="../tags/tag102.xml"/><Relationship Id="rId76" Type="http://schemas.openxmlformats.org/officeDocument/2006/relationships/tags" Target="../tags/tag123.xml"/><Relationship Id="rId97" Type="http://schemas.openxmlformats.org/officeDocument/2006/relationships/tags" Target="../tags/tag144.xml"/><Relationship Id="rId120" Type="http://schemas.openxmlformats.org/officeDocument/2006/relationships/tags" Target="../tags/tag167.xml"/><Relationship Id="rId141" Type="http://schemas.openxmlformats.org/officeDocument/2006/relationships/tags" Target="../tags/tag188.xml"/><Relationship Id="rId7" Type="http://schemas.openxmlformats.org/officeDocument/2006/relationships/tags" Target="../tags/tag54.xml"/><Relationship Id="rId162" Type="http://schemas.openxmlformats.org/officeDocument/2006/relationships/tags" Target="../tags/tag209.xml"/><Relationship Id="rId183" Type="http://schemas.openxmlformats.org/officeDocument/2006/relationships/tags" Target="../tags/tag230.xml"/><Relationship Id="rId218" Type="http://schemas.openxmlformats.org/officeDocument/2006/relationships/tags" Target="../tags/tag265.xml"/><Relationship Id="rId239" Type="http://schemas.openxmlformats.org/officeDocument/2006/relationships/tags" Target="../tags/tag286.xml"/><Relationship Id="rId250" Type="http://schemas.openxmlformats.org/officeDocument/2006/relationships/tags" Target="../tags/tag297.xml"/><Relationship Id="rId271" Type="http://schemas.openxmlformats.org/officeDocument/2006/relationships/tags" Target="../tags/tag318.xml"/><Relationship Id="rId292" Type="http://schemas.openxmlformats.org/officeDocument/2006/relationships/tags" Target="../tags/tag339.xml"/><Relationship Id="rId306" Type="http://schemas.openxmlformats.org/officeDocument/2006/relationships/tags" Target="../tags/tag353.xml"/><Relationship Id="rId24" Type="http://schemas.openxmlformats.org/officeDocument/2006/relationships/tags" Target="../tags/tag71.xml"/><Relationship Id="rId45" Type="http://schemas.openxmlformats.org/officeDocument/2006/relationships/tags" Target="../tags/tag92.xml"/><Relationship Id="rId66" Type="http://schemas.openxmlformats.org/officeDocument/2006/relationships/tags" Target="../tags/tag113.xml"/><Relationship Id="rId87" Type="http://schemas.openxmlformats.org/officeDocument/2006/relationships/tags" Target="../tags/tag134.xml"/><Relationship Id="rId110" Type="http://schemas.openxmlformats.org/officeDocument/2006/relationships/tags" Target="../tags/tag157.xml"/><Relationship Id="rId131" Type="http://schemas.openxmlformats.org/officeDocument/2006/relationships/tags" Target="../tags/tag178.xml"/><Relationship Id="rId327" Type="http://schemas.openxmlformats.org/officeDocument/2006/relationships/slideLayout" Target="../slideLayouts/slideLayout12.xml"/><Relationship Id="rId152" Type="http://schemas.openxmlformats.org/officeDocument/2006/relationships/tags" Target="../tags/tag199.xml"/><Relationship Id="rId173" Type="http://schemas.openxmlformats.org/officeDocument/2006/relationships/tags" Target="../tags/tag220.xml"/><Relationship Id="rId194" Type="http://schemas.openxmlformats.org/officeDocument/2006/relationships/tags" Target="../tags/tag241.xml"/><Relationship Id="rId208" Type="http://schemas.openxmlformats.org/officeDocument/2006/relationships/tags" Target="../tags/tag255.xml"/><Relationship Id="rId229" Type="http://schemas.openxmlformats.org/officeDocument/2006/relationships/tags" Target="../tags/tag276.xml"/><Relationship Id="rId240" Type="http://schemas.openxmlformats.org/officeDocument/2006/relationships/tags" Target="../tags/tag287.xml"/><Relationship Id="rId261" Type="http://schemas.openxmlformats.org/officeDocument/2006/relationships/tags" Target="../tags/tag308.xml"/><Relationship Id="rId14" Type="http://schemas.openxmlformats.org/officeDocument/2006/relationships/tags" Target="../tags/tag61.xml"/><Relationship Id="rId35" Type="http://schemas.openxmlformats.org/officeDocument/2006/relationships/tags" Target="../tags/tag82.xml"/><Relationship Id="rId56" Type="http://schemas.openxmlformats.org/officeDocument/2006/relationships/tags" Target="../tags/tag103.xml"/><Relationship Id="rId77" Type="http://schemas.openxmlformats.org/officeDocument/2006/relationships/tags" Target="../tags/tag124.xml"/><Relationship Id="rId100" Type="http://schemas.openxmlformats.org/officeDocument/2006/relationships/tags" Target="../tags/tag147.xml"/><Relationship Id="rId282" Type="http://schemas.openxmlformats.org/officeDocument/2006/relationships/tags" Target="../tags/tag329.xml"/><Relationship Id="rId317" Type="http://schemas.openxmlformats.org/officeDocument/2006/relationships/tags" Target="../tags/tag364.xml"/><Relationship Id="rId338" Type="http://schemas.openxmlformats.org/officeDocument/2006/relationships/image" Target="../media/image29.emf"/><Relationship Id="rId8" Type="http://schemas.openxmlformats.org/officeDocument/2006/relationships/tags" Target="../tags/tag55.xml"/><Relationship Id="rId98" Type="http://schemas.openxmlformats.org/officeDocument/2006/relationships/tags" Target="../tags/tag145.xml"/><Relationship Id="rId121" Type="http://schemas.openxmlformats.org/officeDocument/2006/relationships/tags" Target="../tags/tag168.xml"/><Relationship Id="rId142" Type="http://schemas.openxmlformats.org/officeDocument/2006/relationships/tags" Target="../tags/tag189.xml"/><Relationship Id="rId163" Type="http://schemas.openxmlformats.org/officeDocument/2006/relationships/tags" Target="../tags/tag210.xml"/><Relationship Id="rId184" Type="http://schemas.openxmlformats.org/officeDocument/2006/relationships/tags" Target="../tags/tag231.xml"/><Relationship Id="rId219" Type="http://schemas.openxmlformats.org/officeDocument/2006/relationships/tags" Target="../tags/tag266.xml"/><Relationship Id="rId3" Type="http://schemas.openxmlformats.org/officeDocument/2006/relationships/tags" Target="../tags/tag50.xml"/><Relationship Id="rId214" Type="http://schemas.openxmlformats.org/officeDocument/2006/relationships/tags" Target="../tags/tag261.xml"/><Relationship Id="rId230" Type="http://schemas.openxmlformats.org/officeDocument/2006/relationships/tags" Target="../tags/tag277.xml"/><Relationship Id="rId235" Type="http://schemas.openxmlformats.org/officeDocument/2006/relationships/tags" Target="../tags/tag282.xml"/><Relationship Id="rId251" Type="http://schemas.openxmlformats.org/officeDocument/2006/relationships/tags" Target="../tags/tag298.xml"/><Relationship Id="rId256" Type="http://schemas.openxmlformats.org/officeDocument/2006/relationships/tags" Target="../tags/tag303.xml"/><Relationship Id="rId277" Type="http://schemas.openxmlformats.org/officeDocument/2006/relationships/tags" Target="../tags/tag324.xml"/><Relationship Id="rId298" Type="http://schemas.openxmlformats.org/officeDocument/2006/relationships/tags" Target="../tags/tag345.xml"/><Relationship Id="rId25" Type="http://schemas.openxmlformats.org/officeDocument/2006/relationships/tags" Target="../tags/tag72.xml"/><Relationship Id="rId46" Type="http://schemas.openxmlformats.org/officeDocument/2006/relationships/tags" Target="../tags/tag93.xml"/><Relationship Id="rId67" Type="http://schemas.openxmlformats.org/officeDocument/2006/relationships/tags" Target="../tags/tag114.xml"/><Relationship Id="rId116" Type="http://schemas.openxmlformats.org/officeDocument/2006/relationships/tags" Target="../tags/tag163.xml"/><Relationship Id="rId137" Type="http://schemas.openxmlformats.org/officeDocument/2006/relationships/tags" Target="../tags/tag184.xml"/><Relationship Id="rId158" Type="http://schemas.openxmlformats.org/officeDocument/2006/relationships/tags" Target="../tags/tag205.xml"/><Relationship Id="rId272" Type="http://schemas.openxmlformats.org/officeDocument/2006/relationships/tags" Target="../tags/tag319.xml"/><Relationship Id="rId293" Type="http://schemas.openxmlformats.org/officeDocument/2006/relationships/tags" Target="../tags/tag340.xml"/><Relationship Id="rId302" Type="http://schemas.openxmlformats.org/officeDocument/2006/relationships/tags" Target="../tags/tag349.xml"/><Relationship Id="rId307" Type="http://schemas.openxmlformats.org/officeDocument/2006/relationships/tags" Target="../tags/tag354.xml"/><Relationship Id="rId323" Type="http://schemas.openxmlformats.org/officeDocument/2006/relationships/tags" Target="../tags/tag370.xml"/><Relationship Id="rId328" Type="http://schemas.openxmlformats.org/officeDocument/2006/relationships/notesSlide" Target="../notesSlides/notesSlide14.xml"/><Relationship Id="rId20" Type="http://schemas.openxmlformats.org/officeDocument/2006/relationships/tags" Target="../tags/tag67.xml"/><Relationship Id="rId41" Type="http://schemas.openxmlformats.org/officeDocument/2006/relationships/tags" Target="../tags/tag88.xml"/><Relationship Id="rId62" Type="http://schemas.openxmlformats.org/officeDocument/2006/relationships/tags" Target="../tags/tag109.xml"/><Relationship Id="rId83" Type="http://schemas.openxmlformats.org/officeDocument/2006/relationships/tags" Target="../tags/tag130.xml"/><Relationship Id="rId88" Type="http://schemas.openxmlformats.org/officeDocument/2006/relationships/tags" Target="../tags/tag135.xml"/><Relationship Id="rId111" Type="http://schemas.openxmlformats.org/officeDocument/2006/relationships/tags" Target="../tags/tag158.xml"/><Relationship Id="rId132" Type="http://schemas.openxmlformats.org/officeDocument/2006/relationships/tags" Target="../tags/tag179.xml"/><Relationship Id="rId153" Type="http://schemas.openxmlformats.org/officeDocument/2006/relationships/tags" Target="../tags/tag200.xml"/><Relationship Id="rId174" Type="http://schemas.openxmlformats.org/officeDocument/2006/relationships/tags" Target="../tags/tag221.xml"/><Relationship Id="rId179" Type="http://schemas.openxmlformats.org/officeDocument/2006/relationships/tags" Target="../tags/tag226.xml"/><Relationship Id="rId195" Type="http://schemas.openxmlformats.org/officeDocument/2006/relationships/tags" Target="../tags/tag242.xml"/><Relationship Id="rId209" Type="http://schemas.openxmlformats.org/officeDocument/2006/relationships/tags" Target="../tags/tag256.xml"/><Relationship Id="rId190" Type="http://schemas.openxmlformats.org/officeDocument/2006/relationships/tags" Target="../tags/tag237.xml"/><Relationship Id="rId204" Type="http://schemas.openxmlformats.org/officeDocument/2006/relationships/tags" Target="../tags/tag251.xml"/><Relationship Id="rId220" Type="http://schemas.openxmlformats.org/officeDocument/2006/relationships/tags" Target="../tags/tag267.xml"/><Relationship Id="rId225" Type="http://schemas.openxmlformats.org/officeDocument/2006/relationships/tags" Target="../tags/tag272.xml"/><Relationship Id="rId241" Type="http://schemas.openxmlformats.org/officeDocument/2006/relationships/tags" Target="../tags/tag288.xml"/><Relationship Id="rId246" Type="http://schemas.openxmlformats.org/officeDocument/2006/relationships/tags" Target="../tags/tag293.xml"/><Relationship Id="rId267" Type="http://schemas.openxmlformats.org/officeDocument/2006/relationships/tags" Target="../tags/tag314.xml"/><Relationship Id="rId288" Type="http://schemas.openxmlformats.org/officeDocument/2006/relationships/tags" Target="../tags/tag335.xml"/><Relationship Id="rId15" Type="http://schemas.openxmlformats.org/officeDocument/2006/relationships/tags" Target="../tags/tag62.xml"/><Relationship Id="rId36" Type="http://schemas.openxmlformats.org/officeDocument/2006/relationships/tags" Target="../tags/tag83.xml"/><Relationship Id="rId57" Type="http://schemas.openxmlformats.org/officeDocument/2006/relationships/tags" Target="../tags/tag104.xml"/><Relationship Id="rId106" Type="http://schemas.openxmlformats.org/officeDocument/2006/relationships/tags" Target="../tags/tag153.xml"/><Relationship Id="rId127" Type="http://schemas.openxmlformats.org/officeDocument/2006/relationships/tags" Target="../tags/tag174.xml"/><Relationship Id="rId262" Type="http://schemas.openxmlformats.org/officeDocument/2006/relationships/tags" Target="../tags/tag309.xml"/><Relationship Id="rId283" Type="http://schemas.openxmlformats.org/officeDocument/2006/relationships/tags" Target="../tags/tag330.xml"/><Relationship Id="rId313" Type="http://schemas.openxmlformats.org/officeDocument/2006/relationships/tags" Target="../tags/tag360.xml"/><Relationship Id="rId318" Type="http://schemas.openxmlformats.org/officeDocument/2006/relationships/tags" Target="../tags/tag365.xml"/><Relationship Id="rId339" Type="http://schemas.openxmlformats.org/officeDocument/2006/relationships/oleObject" Target="../embeddings/oleObject12.bin"/><Relationship Id="rId10" Type="http://schemas.openxmlformats.org/officeDocument/2006/relationships/tags" Target="../tags/tag57.xml"/><Relationship Id="rId31" Type="http://schemas.openxmlformats.org/officeDocument/2006/relationships/tags" Target="../tags/tag78.xml"/><Relationship Id="rId52" Type="http://schemas.openxmlformats.org/officeDocument/2006/relationships/tags" Target="../tags/tag99.xml"/><Relationship Id="rId73" Type="http://schemas.openxmlformats.org/officeDocument/2006/relationships/tags" Target="../tags/tag120.xml"/><Relationship Id="rId78" Type="http://schemas.openxmlformats.org/officeDocument/2006/relationships/tags" Target="../tags/tag125.xml"/><Relationship Id="rId94" Type="http://schemas.openxmlformats.org/officeDocument/2006/relationships/tags" Target="../tags/tag141.xml"/><Relationship Id="rId99" Type="http://schemas.openxmlformats.org/officeDocument/2006/relationships/tags" Target="../tags/tag146.xml"/><Relationship Id="rId101" Type="http://schemas.openxmlformats.org/officeDocument/2006/relationships/tags" Target="../tags/tag148.xml"/><Relationship Id="rId122" Type="http://schemas.openxmlformats.org/officeDocument/2006/relationships/tags" Target="../tags/tag169.xml"/><Relationship Id="rId143" Type="http://schemas.openxmlformats.org/officeDocument/2006/relationships/tags" Target="../tags/tag190.xml"/><Relationship Id="rId148" Type="http://schemas.openxmlformats.org/officeDocument/2006/relationships/tags" Target="../tags/tag195.xml"/><Relationship Id="rId164" Type="http://schemas.openxmlformats.org/officeDocument/2006/relationships/tags" Target="../tags/tag211.xml"/><Relationship Id="rId169" Type="http://schemas.openxmlformats.org/officeDocument/2006/relationships/tags" Target="../tags/tag216.xml"/><Relationship Id="rId185" Type="http://schemas.openxmlformats.org/officeDocument/2006/relationships/tags" Target="../tags/tag232.xml"/><Relationship Id="rId334" Type="http://schemas.openxmlformats.org/officeDocument/2006/relationships/image" Target="../media/image27.emf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80" Type="http://schemas.openxmlformats.org/officeDocument/2006/relationships/tags" Target="../tags/tag227.xml"/><Relationship Id="rId210" Type="http://schemas.openxmlformats.org/officeDocument/2006/relationships/tags" Target="../tags/tag257.xml"/><Relationship Id="rId215" Type="http://schemas.openxmlformats.org/officeDocument/2006/relationships/tags" Target="../tags/tag262.xml"/><Relationship Id="rId236" Type="http://schemas.openxmlformats.org/officeDocument/2006/relationships/tags" Target="../tags/tag283.xml"/><Relationship Id="rId257" Type="http://schemas.openxmlformats.org/officeDocument/2006/relationships/tags" Target="../tags/tag304.xml"/><Relationship Id="rId278" Type="http://schemas.openxmlformats.org/officeDocument/2006/relationships/tags" Target="../tags/tag325.xml"/><Relationship Id="rId26" Type="http://schemas.openxmlformats.org/officeDocument/2006/relationships/tags" Target="../tags/tag73.xml"/><Relationship Id="rId231" Type="http://schemas.openxmlformats.org/officeDocument/2006/relationships/tags" Target="../tags/tag278.xml"/><Relationship Id="rId252" Type="http://schemas.openxmlformats.org/officeDocument/2006/relationships/tags" Target="../tags/tag299.xml"/><Relationship Id="rId273" Type="http://schemas.openxmlformats.org/officeDocument/2006/relationships/tags" Target="../tags/tag320.xml"/><Relationship Id="rId294" Type="http://schemas.openxmlformats.org/officeDocument/2006/relationships/tags" Target="../tags/tag341.xml"/><Relationship Id="rId308" Type="http://schemas.openxmlformats.org/officeDocument/2006/relationships/tags" Target="../tags/tag355.xml"/><Relationship Id="rId329" Type="http://schemas.openxmlformats.org/officeDocument/2006/relationships/oleObject" Target="../embeddings/oleObject8.bin"/><Relationship Id="rId47" Type="http://schemas.openxmlformats.org/officeDocument/2006/relationships/tags" Target="../tags/tag94.xml"/><Relationship Id="rId68" Type="http://schemas.openxmlformats.org/officeDocument/2006/relationships/tags" Target="../tags/tag115.xml"/><Relationship Id="rId89" Type="http://schemas.openxmlformats.org/officeDocument/2006/relationships/tags" Target="../tags/tag136.xml"/><Relationship Id="rId112" Type="http://schemas.openxmlformats.org/officeDocument/2006/relationships/tags" Target="../tags/tag159.xml"/><Relationship Id="rId133" Type="http://schemas.openxmlformats.org/officeDocument/2006/relationships/tags" Target="../tags/tag180.xml"/><Relationship Id="rId154" Type="http://schemas.openxmlformats.org/officeDocument/2006/relationships/tags" Target="../tags/tag201.xml"/><Relationship Id="rId175" Type="http://schemas.openxmlformats.org/officeDocument/2006/relationships/tags" Target="../tags/tag222.xml"/><Relationship Id="rId340" Type="http://schemas.openxmlformats.org/officeDocument/2006/relationships/image" Target="../media/image30.emf"/><Relationship Id="rId196" Type="http://schemas.openxmlformats.org/officeDocument/2006/relationships/tags" Target="../tags/tag243.xml"/><Relationship Id="rId200" Type="http://schemas.openxmlformats.org/officeDocument/2006/relationships/tags" Target="../tags/tag247.xml"/><Relationship Id="rId16" Type="http://schemas.openxmlformats.org/officeDocument/2006/relationships/tags" Target="../tags/tag63.xml"/><Relationship Id="rId221" Type="http://schemas.openxmlformats.org/officeDocument/2006/relationships/tags" Target="../tags/tag268.xml"/><Relationship Id="rId242" Type="http://schemas.openxmlformats.org/officeDocument/2006/relationships/tags" Target="../tags/tag289.xml"/><Relationship Id="rId263" Type="http://schemas.openxmlformats.org/officeDocument/2006/relationships/tags" Target="../tags/tag310.xml"/><Relationship Id="rId284" Type="http://schemas.openxmlformats.org/officeDocument/2006/relationships/tags" Target="../tags/tag331.xml"/><Relationship Id="rId319" Type="http://schemas.openxmlformats.org/officeDocument/2006/relationships/tags" Target="../tags/tag366.xml"/><Relationship Id="rId37" Type="http://schemas.openxmlformats.org/officeDocument/2006/relationships/tags" Target="../tags/tag84.xml"/><Relationship Id="rId58" Type="http://schemas.openxmlformats.org/officeDocument/2006/relationships/tags" Target="../tags/tag105.xml"/><Relationship Id="rId79" Type="http://schemas.openxmlformats.org/officeDocument/2006/relationships/tags" Target="../tags/tag126.xml"/><Relationship Id="rId102" Type="http://schemas.openxmlformats.org/officeDocument/2006/relationships/tags" Target="../tags/tag149.xml"/><Relationship Id="rId123" Type="http://schemas.openxmlformats.org/officeDocument/2006/relationships/tags" Target="../tags/tag170.xml"/><Relationship Id="rId144" Type="http://schemas.openxmlformats.org/officeDocument/2006/relationships/tags" Target="../tags/tag191.xml"/><Relationship Id="rId330" Type="http://schemas.openxmlformats.org/officeDocument/2006/relationships/image" Target="../media/image2.emf"/><Relationship Id="rId90" Type="http://schemas.openxmlformats.org/officeDocument/2006/relationships/tags" Target="../tags/tag137.xml"/><Relationship Id="rId165" Type="http://schemas.openxmlformats.org/officeDocument/2006/relationships/tags" Target="../tags/tag212.xml"/><Relationship Id="rId186" Type="http://schemas.openxmlformats.org/officeDocument/2006/relationships/tags" Target="../tags/tag233.xml"/><Relationship Id="rId211" Type="http://schemas.openxmlformats.org/officeDocument/2006/relationships/tags" Target="../tags/tag258.xml"/><Relationship Id="rId232" Type="http://schemas.openxmlformats.org/officeDocument/2006/relationships/tags" Target="../tags/tag279.xml"/><Relationship Id="rId253" Type="http://schemas.openxmlformats.org/officeDocument/2006/relationships/tags" Target="../tags/tag300.xml"/><Relationship Id="rId274" Type="http://schemas.openxmlformats.org/officeDocument/2006/relationships/tags" Target="../tags/tag321.xml"/><Relationship Id="rId295" Type="http://schemas.openxmlformats.org/officeDocument/2006/relationships/tags" Target="../tags/tag342.xml"/><Relationship Id="rId309" Type="http://schemas.openxmlformats.org/officeDocument/2006/relationships/tags" Target="../tags/tag356.xml"/><Relationship Id="rId27" Type="http://schemas.openxmlformats.org/officeDocument/2006/relationships/tags" Target="../tags/tag74.xml"/><Relationship Id="rId48" Type="http://schemas.openxmlformats.org/officeDocument/2006/relationships/tags" Target="../tags/tag95.xml"/><Relationship Id="rId69" Type="http://schemas.openxmlformats.org/officeDocument/2006/relationships/tags" Target="../tags/tag116.xml"/><Relationship Id="rId113" Type="http://schemas.openxmlformats.org/officeDocument/2006/relationships/tags" Target="../tags/tag160.xml"/><Relationship Id="rId134" Type="http://schemas.openxmlformats.org/officeDocument/2006/relationships/tags" Target="../tags/tag181.xml"/><Relationship Id="rId320" Type="http://schemas.openxmlformats.org/officeDocument/2006/relationships/tags" Target="../tags/tag367.xml"/><Relationship Id="rId80" Type="http://schemas.openxmlformats.org/officeDocument/2006/relationships/tags" Target="../tags/tag127.xml"/><Relationship Id="rId155" Type="http://schemas.openxmlformats.org/officeDocument/2006/relationships/tags" Target="../tags/tag202.xml"/><Relationship Id="rId176" Type="http://schemas.openxmlformats.org/officeDocument/2006/relationships/tags" Target="../tags/tag223.xml"/><Relationship Id="rId197" Type="http://schemas.openxmlformats.org/officeDocument/2006/relationships/tags" Target="../tags/tag244.xml"/><Relationship Id="rId341" Type="http://schemas.openxmlformats.org/officeDocument/2006/relationships/oleObject" Target="../embeddings/oleObject13.bin"/><Relationship Id="rId201" Type="http://schemas.openxmlformats.org/officeDocument/2006/relationships/tags" Target="../tags/tag248.xml"/><Relationship Id="rId222" Type="http://schemas.openxmlformats.org/officeDocument/2006/relationships/tags" Target="../tags/tag269.xml"/><Relationship Id="rId243" Type="http://schemas.openxmlformats.org/officeDocument/2006/relationships/tags" Target="../tags/tag290.xml"/><Relationship Id="rId264" Type="http://schemas.openxmlformats.org/officeDocument/2006/relationships/tags" Target="../tags/tag311.xml"/><Relationship Id="rId285" Type="http://schemas.openxmlformats.org/officeDocument/2006/relationships/tags" Target="../tags/tag332.xml"/><Relationship Id="rId17" Type="http://schemas.openxmlformats.org/officeDocument/2006/relationships/tags" Target="../tags/tag64.xml"/><Relationship Id="rId38" Type="http://schemas.openxmlformats.org/officeDocument/2006/relationships/tags" Target="../tags/tag85.xml"/><Relationship Id="rId59" Type="http://schemas.openxmlformats.org/officeDocument/2006/relationships/tags" Target="../tags/tag106.xml"/><Relationship Id="rId103" Type="http://schemas.openxmlformats.org/officeDocument/2006/relationships/tags" Target="../tags/tag150.xml"/><Relationship Id="rId124" Type="http://schemas.openxmlformats.org/officeDocument/2006/relationships/tags" Target="../tags/tag171.xml"/><Relationship Id="rId310" Type="http://schemas.openxmlformats.org/officeDocument/2006/relationships/tags" Target="../tags/tag357.xml"/><Relationship Id="rId70" Type="http://schemas.openxmlformats.org/officeDocument/2006/relationships/tags" Target="../tags/tag117.xml"/><Relationship Id="rId91" Type="http://schemas.openxmlformats.org/officeDocument/2006/relationships/tags" Target="../tags/tag138.xml"/><Relationship Id="rId145" Type="http://schemas.openxmlformats.org/officeDocument/2006/relationships/tags" Target="../tags/tag192.xml"/><Relationship Id="rId166" Type="http://schemas.openxmlformats.org/officeDocument/2006/relationships/tags" Target="../tags/tag213.xml"/><Relationship Id="rId187" Type="http://schemas.openxmlformats.org/officeDocument/2006/relationships/tags" Target="../tags/tag234.xml"/><Relationship Id="rId331" Type="http://schemas.openxmlformats.org/officeDocument/2006/relationships/image" Target="../media/image4.gif"/><Relationship Id="rId1" Type="http://schemas.openxmlformats.org/officeDocument/2006/relationships/vmlDrawing" Target="../drawings/vmlDrawing6.vml"/><Relationship Id="rId212" Type="http://schemas.openxmlformats.org/officeDocument/2006/relationships/tags" Target="../tags/tag259.xml"/><Relationship Id="rId233" Type="http://schemas.openxmlformats.org/officeDocument/2006/relationships/tags" Target="../tags/tag280.xml"/><Relationship Id="rId254" Type="http://schemas.openxmlformats.org/officeDocument/2006/relationships/tags" Target="../tags/tag301.xml"/><Relationship Id="rId28" Type="http://schemas.openxmlformats.org/officeDocument/2006/relationships/tags" Target="../tags/tag75.xml"/><Relationship Id="rId49" Type="http://schemas.openxmlformats.org/officeDocument/2006/relationships/tags" Target="../tags/tag96.xml"/><Relationship Id="rId114" Type="http://schemas.openxmlformats.org/officeDocument/2006/relationships/tags" Target="../tags/tag161.xml"/><Relationship Id="rId275" Type="http://schemas.openxmlformats.org/officeDocument/2006/relationships/tags" Target="../tags/tag322.xml"/><Relationship Id="rId296" Type="http://schemas.openxmlformats.org/officeDocument/2006/relationships/tags" Target="../tags/tag343.xml"/><Relationship Id="rId300" Type="http://schemas.openxmlformats.org/officeDocument/2006/relationships/tags" Target="../tags/tag347.xml"/><Relationship Id="rId60" Type="http://schemas.openxmlformats.org/officeDocument/2006/relationships/tags" Target="../tags/tag107.xml"/><Relationship Id="rId81" Type="http://schemas.openxmlformats.org/officeDocument/2006/relationships/tags" Target="../tags/tag128.xml"/><Relationship Id="rId135" Type="http://schemas.openxmlformats.org/officeDocument/2006/relationships/tags" Target="../tags/tag182.xml"/><Relationship Id="rId156" Type="http://schemas.openxmlformats.org/officeDocument/2006/relationships/tags" Target="../tags/tag203.xml"/><Relationship Id="rId177" Type="http://schemas.openxmlformats.org/officeDocument/2006/relationships/tags" Target="../tags/tag224.xml"/><Relationship Id="rId198" Type="http://schemas.openxmlformats.org/officeDocument/2006/relationships/tags" Target="../tags/tag245.xml"/><Relationship Id="rId321" Type="http://schemas.openxmlformats.org/officeDocument/2006/relationships/tags" Target="../tags/tag368.xml"/><Relationship Id="rId342" Type="http://schemas.openxmlformats.org/officeDocument/2006/relationships/image" Target="../media/image31.emf"/><Relationship Id="rId202" Type="http://schemas.openxmlformats.org/officeDocument/2006/relationships/tags" Target="../tags/tag249.xml"/><Relationship Id="rId223" Type="http://schemas.openxmlformats.org/officeDocument/2006/relationships/tags" Target="../tags/tag270.xml"/><Relationship Id="rId244" Type="http://schemas.openxmlformats.org/officeDocument/2006/relationships/tags" Target="../tags/tag291.xml"/><Relationship Id="rId18" Type="http://schemas.openxmlformats.org/officeDocument/2006/relationships/tags" Target="../tags/tag65.xml"/><Relationship Id="rId39" Type="http://schemas.openxmlformats.org/officeDocument/2006/relationships/tags" Target="../tags/tag86.xml"/><Relationship Id="rId265" Type="http://schemas.openxmlformats.org/officeDocument/2006/relationships/tags" Target="../tags/tag312.xml"/><Relationship Id="rId286" Type="http://schemas.openxmlformats.org/officeDocument/2006/relationships/tags" Target="../tags/tag333.xml"/><Relationship Id="rId50" Type="http://schemas.openxmlformats.org/officeDocument/2006/relationships/tags" Target="../tags/tag97.xml"/><Relationship Id="rId104" Type="http://schemas.openxmlformats.org/officeDocument/2006/relationships/tags" Target="../tags/tag151.xml"/><Relationship Id="rId125" Type="http://schemas.openxmlformats.org/officeDocument/2006/relationships/tags" Target="../tags/tag172.xml"/><Relationship Id="rId146" Type="http://schemas.openxmlformats.org/officeDocument/2006/relationships/tags" Target="../tags/tag193.xml"/><Relationship Id="rId167" Type="http://schemas.openxmlformats.org/officeDocument/2006/relationships/tags" Target="../tags/tag214.xml"/><Relationship Id="rId188" Type="http://schemas.openxmlformats.org/officeDocument/2006/relationships/tags" Target="../tags/tag235.xml"/><Relationship Id="rId311" Type="http://schemas.openxmlformats.org/officeDocument/2006/relationships/tags" Target="../tags/tag358.xml"/><Relationship Id="rId332" Type="http://schemas.openxmlformats.org/officeDocument/2006/relationships/image" Target="../media/image5.jpeg"/><Relationship Id="rId71" Type="http://schemas.openxmlformats.org/officeDocument/2006/relationships/tags" Target="../tags/tag118.xml"/><Relationship Id="rId92" Type="http://schemas.openxmlformats.org/officeDocument/2006/relationships/tags" Target="../tags/tag139.xml"/><Relationship Id="rId213" Type="http://schemas.openxmlformats.org/officeDocument/2006/relationships/tags" Target="../tags/tag260.xml"/><Relationship Id="rId234" Type="http://schemas.openxmlformats.org/officeDocument/2006/relationships/tags" Target="../tags/tag281.xml"/><Relationship Id="rId2" Type="http://schemas.openxmlformats.org/officeDocument/2006/relationships/tags" Target="../tags/tag49.xml"/><Relationship Id="rId29" Type="http://schemas.openxmlformats.org/officeDocument/2006/relationships/tags" Target="../tags/tag76.xml"/><Relationship Id="rId255" Type="http://schemas.openxmlformats.org/officeDocument/2006/relationships/tags" Target="../tags/tag302.xml"/><Relationship Id="rId276" Type="http://schemas.openxmlformats.org/officeDocument/2006/relationships/tags" Target="../tags/tag323.xml"/><Relationship Id="rId297" Type="http://schemas.openxmlformats.org/officeDocument/2006/relationships/tags" Target="../tags/tag344.xml"/><Relationship Id="rId40" Type="http://schemas.openxmlformats.org/officeDocument/2006/relationships/tags" Target="../tags/tag87.xml"/><Relationship Id="rId115" Type="http://schemas.openxmlformats.org/officeDocument/2006/relationships/tags" Target="../tags/tag162.xml"/><Relationship Id="rId136" Type="http://schemas.openxmlformats.org/officeDocument/2006/relationships/tags" Target="../tags/tag183.xml"/><Relationship Id="rId157" Type="http://schemas.openxmlformats.org/officeDocument/2006/relationships/tags" Target="../tags/tag204.xml"/><Relationship Id="rId178" Type="http://schemas.openxmlformats.org/officeDocument/2006/relationships/tags" Target="../tags/tag225.xml"/><Relationship Id="rId301" Type="http://schemas.openxmlformats.org/officeDocument/2006/relationships/tags" Target="../tags/tag348.xml"/><Relationship Id="rId322" Type="http://schemas.openxmlformats.org/officeDocument/2006/relationships/tags" Target="../tags/tag369.xml"/><Relationship Id="rId61" Type="http://schemas.openxmlformats.org/officeDocument/2006/relationships/tags" Target="../tags/tag108.xml"/><Relationship Id="rId82" Type="http://schemas.openxmlformats.org/officeDocument/2006/relationships/tags" Target="../tags/tag129.xml"/><Relationship Id="rId199" Type="http://schemas.openxmlformats.org/officeDocument/2006/relationships/tags" Target="../tags/tag246.xml"/><Relationship Id="rId203" Type="http://schemas.openxmlformats.org/officeDocument/2006/relationships/tags" Target="../tags/tag250.xml"/><Relationship Id="rId19" Type="http://schemas.openxmlformats.org/officeDocument/2006/relationships/tags" Target="../tags/tag66.xml"/><Relationship Id="rId224" Type="http://schemas.openxmlformats.org/officeDocument/2006/relationships/tags" Target="../tags/tag271.xml"/><Relationship Id="rId245" Type="http://schemas.openxmlformats.org/officeDocument/2006/relationships/tags" Target="../tags/tag292.xml"/><Relationship Id="rId266" Type="http://schemas.openxmlformats.org/officeDocument/2006/relationships/tags" Target="../tags/tag313.xml"/><Relationship Id="rId287" Type="http://schemas.openxmlformats.org/officeDocument/2006/relationships/tags" Target="../tags/tag334.xml"/><Relationship Id="rId30" Type="http://schemas.openxmlformats.org/officeDocument/2006/relationships/tags" Target="../tags/tag77.xml"/><Relationship Id="rId105" Type="http://schemas.openxmlformats.org/officeDocument/2006/relationships/tags" Target="../tags/tag152.xml"/><Relationship Id="rId126" Type="http://schemas.openxmlformats.org/officeDocument/2006/relationships/tags" Target="../tags/tag173.xml"/><Relationship Id="rId147" Type="http://schemas.openxmlformats.org/officeDocument/2006/relationships/tags" Target="../tags/tag194.xml"/><Relationship Id="rId168" Type="http://schemas.openxmlformats.org/officeDocument/2006/relationships/tags" Target="../tags/tag215.xml"/><Relationship Id="rId312" Type="http://schemas.openxmlformats.org/officeDocument/2006/relationships/tags" Target="../tags/tag359.xml"/><Relationship Id="rId333" Type="http://schemas.openxmlformats.org/officeDocument/2006/relationships/oleObject" Target="../embeddings/oleObject9.bin"/><Relationship Id="rId51" Type="http://schemas.openxmlformats.org/officeDocument/2006/relationships/tags" Target="../tags/tag98.xml"/><Relationship Id="rId72" Type="http://schemas.openxmlformats.org/officeDocument/2006/relationships/tags" Target="../tags/tag119.xml"/><Relationship Id="rId93" Type="http://schemas.openxmlformats.org/officeDocument/2006/relationships/tags" Target="../tags/tag140.xml"/><Relationship Id="rId189" Type="http://schemas.openxmlformats.org/officeDocument/2006/relationships/tags" Target="../tags/tag23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2.emf"/><Relationship Id="rId12" Type="http://schemas.openxmlformats.org/officeDocument/2006/relationships/image" Target="../media/image37.png"/><Relationship Id="rId17" Type="http://schemas.openxmlformats.org/officeDocument/2006/relationships/image" Target="../media/image42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41.png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36.png"/><Relationship Id="rId5" Type="http://schemas.openxmlformats.org/officeDocument/2006/relationships/image" Target="../media/image5.jpe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image" Target="../media/image4.gif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4.emf"/><Relationship Id="rId5" Type="http://schemas.openxmlformats.org/officeDocument/2006/relationships/image" Target="../media/image43.png"/><Relationship Id="rId4" Type="http://schemas.openxmlformats.org/officeDocument/2006/relationships/image" Target="../media/image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image" Target="../media/image5.jpeg"/><Relationship Id="rId5" Type="http://schemas.openxmlformats.org/officeDocument/2006/relationships/image" Target="../media/image4.gif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387.xml"/><Relationship Id="rId18" Type="http://schemas.openxmlformats.org/officeDocument/2006/relationships/tags" Target="../tags/tag392.xml"/><Relationship Id="rId26" Type="http://schemas.openxmlformats.org/officeDocument/2006/relationships/tags" Target="../tags/tag400.xml"/><Relationship Id="rId39" Type="http://schemas.openxmlformats.org/officeDocument/2006/relationships/notesSlide" Target="../notesSlides/notesSlide18.xml"/><Relationship Id="rId3" Type="http://schemas.openxmlformats.org/officeDocument/2006/relationships/tags" Target="../tags/tag377.xml"/><Relationship Id="rId21" Type="http://schemas.openxmlformats.org/officeDocument/2006/relationships/tags" Target="../tags/tag395.xml"/><Relationship Id="rId34" Type="http://schemas.openxmlformats.org/officeDocument/2006/relationships/tags" Target="../tags/tag408.xml"/><Relationship Id="rId42" Type="http://schemas.openxmlformats.org/officeDocument/2006/relationships/image" Target="../media/image4.gif"/><Relationship Id="rId47" Type="http://schemas.openxmlformats.org/officeDocument/2006/relationships/image" Target="../media/image46.emf"/><Relationship Id="rId7" Type="http://schemas.openxmlformats.org/officeDocument/2006/relationships/tags" Target="../tags/tag381.xml"/><Relationship Id="rId12" Type="http://schemas.openxmlformats.org/officeDocument/2006/relationships/tags" Target="../tags/tag386.xml"/><Relationship Id="rId17" Type="http://schemas.openxmlformats.org/officeDocument/2006/relationships/tags" Target="../tags/tag391.xml"/><Relationship Id="rId25" Type="http://schemas.openxmlformats.org/officeDocument/2006/relationships/tags" Target="../tags/tag399.xml"/><Relationship Id="rId33" Type="http://schemas.openxmlformats.org/officeDocument/2006/relationships/tags" Target="../tags/tag407.xml"/><Relationship Id="rId38" Type="http://schemas.openxmlformats.org/officeDocument/2006/relationships/slideLayout" Target="../slideLayouts/slideLayout12.xml"/><Relationship Id="rId46" Type="http://schemas.openxmlformats.org/officeDocument/2006/relationships/oleObject" Target="../embeddings/oleObject17.bin"/><Relationship Id="rId2" Type="http://schemas.openxmlformats.org/officeDocument/2006/relationships/tags" Target="../tags/tag376.xml"/><Relationship Id="rId16" Type="http://schemas.openxmlformats.org/officeDocument/2006/relationships/tags" Target="../tags/tag390.xml"/><Relationship Id="rId20" Type="http://schemas.openxmlformats.org/officeDocument/2006/relationships/tags" Target="../tags/tag394.xml"/><Relationship Id="rId29" Type="http://schemas.openxmlformats.org/officeDocument/2006/relationships/tags" Target="../tags/tag403.xml"/><Relationship Id="rId41" Type="http://schemas.openxmlformats.org/officeDocument/2006/relationships/image" Target="../media/image2.emf"/><Relationship Id="rId1" Type="http://schemas.openxmlformats.org/officeDocument/2006/relationships/vmlDrawing" Target="../drawings/vmlDrawing8.vml"/><Relationship Id="rId6" Type="http://schemas.openxmlformats.org/officeDocument/2006/relationships/tags" Target="../tags/tag380.xml"/><Relationship Id="rId11" Type="http://schemas.openxmlformats.org/officeDocument/2006/relationships/tags" Target="../tags/tag385.xml"/><Relationship Id="rId24" Type="http://schemas.openxmlformats.org/officeDocument/2006/relationships/tags" Target="../tags/tag398.xml"/><Relationship Id="rId32" Type="http://schemas.openxmlformats.org/officeDocument/2006/relationships/tags" Target="../tags/tag406.xml"/><Relationship Id="rId37" Type="http://schemas.openxmlformats.org/officeDocument/2006/relationships/tags" Target="../tags/tag411.xml"/><Relationship Id="rId40" Type="http://schemas.openxmlformats.org/officeDocument/2006/relationships/oleObject" Target="../embeddings/oleObject15.bin"/><Relationship Id="rId45" Type="http://schemas.openxmlformats.org/officeDocument/2006/relationships/image" Target="../media/image45.emf"/><Relationship Id="rId5" Type="http://schemas.openxmlformats.org/officeDocument/2006/relationships/tags" Target="../tags/tag379.xml"/><Relationship Id="rId15" Type="http://schemas.openxmlformats.org/officeDocument/2006/relationships/tags" Target="../tags/tag389.xml"/><Relationship Id="rId23" Type="http://schemas.openxmlformats.org/officeDocument/2006/relationships/tags" Target="../tags/tag397.xml"/><Relationship Id="rId28" Type="http://schemas.openxmlformats.org/officeDocument/2006/relationships/tags" Target="../tags/tag402.xml"/><Relationship Id="rId36" Type="http://schemas.openxmlformats.org/officeDocument/2006/relationships/tags" Target="../tags/tag410.xml"/><Relationship Id="rId49" Type="http://schemas.openxmlformats.org/officeDocument/2006/relationships/image" Target="../media/image47.emf"/><Relationship Id="rId10" Type="http://schemas.openxmlformats.org/officeDocument/2006/relationships/tags" Target="../tags/tag384.xml"/><Relationship Id="rId19" Type="http://schemas.openxmlformats.org/officeDocument/2006/relationships/tags" Target="../tags/tag393.xml"/><Relationship Id="rId31" Type="http://schemas.openxmlformats.org/officeDocument/2006/relationships/tags" Target="../tags/tag405.xml"/><Relationship Id="rId44" Type="http://schemas.openxmlformats.org/officeDocument/2006/relationships/oleObject" Target="../embeddings/oleObject16.bin"/><Relationship Id="rId4" Type="http://schemas.openxmlformats.org/officeDocument/2006/relationships/tags" Target="../tags/tag378.xml"/><Relationship Id="rId9" Type="http://schemas.openxmlformats.org/officeDocument/2006/relationships/tags" Target="../tags/tag383.xml"/><Relationship Id="rId14" Type="http://schemas.openxmlformats.org/officeDocument/2006/relationships/tags" Target="../tags/tag388.xml"/><Relationship Id="rId22" Type="http://schemas.openxmlformats.org/officeDocument/2006/relationships/tags" Target="../tags/tag396.xml"/><Relationship Id="rId27" Type="http://schemas.openxmlformats.org/officeDocument/2006/relationships/tags" Target="../tags/tag401.xml"/><Relationship Id="rId30" Type="http://schemas.openxmlformats.org/officeDocument/2006/relationships/tags" Target="../tags/tag404.xml"/><Relationship Id="rId35" Type="http://schemas.openxmlformats.org/officeDocument/2006/relationships/tags" Target="../tags/tag409.xml"/><Relationship Id="rId43" Type="http://schemas.openxmlformats.org/officeDocument/2006/relationships/image" Target="../media/image5.jpeg"/><Relationship Id="rId48" Type="http://schemas.openxmlformats.org/officeDocument/2006/relationships/oleObject" Target="../embeddings/oleObject18.bin"/><Relationship Id="rId8" Type="http://schemas.openxmlformats.org/officeDocument/2006/relationships/tags" Target="../tags/tag38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slide" Target="slide7.xml"/><Relationship Id="rId4" Type="http://schemas.openxmlformats.org/officeDocument/2006/relationships/slide" Target="slide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image" Target="../media/image5.jpeg"/><Relationship Id="rId5" Type="http://schemas.openxmlformats.org/officeDocument/2006/relationships/image" Target="../media/image4.gif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emf"/><Relationship Id="rId5" Type="http://schemas.openxmlformats.org/officeDocument/2006/relationships/image" Target="../media/image48.emf"/><Relationship Id="rId4" Type="http://schemas.openxmlformats.org/officeDocument/2006/relationships/image" Target="../media/image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7" Type="http://schemas.openxmlformats.org/officeDocument/2006/relationships/image" Target="../media/image51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jpeg"/><Relationship Id="rId5" Type="http://schemas.openxmlformats.org/officeDocument/2006/relationships/image" Target="../media/image50.png"/><Relationship Id="rId4" Type="http://schemas.openxmlformats.org/officeDocument/2006/relationships/image" Target="../media/image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2.png"/><Relationship Id="rId4" Type="http://schemas.openxmlformats.org/officeDocument/2006/relationships/image" Target="../media/image5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6" Type="http://schemas.openxmlformats.org/officeDocument/2006/relationships/image" Target="../media/image5.jpeg"/><Relationship Id="rId5" Type="http://schemas.openxmlformats.org/officeDocument/2006/relationships/image" Target="../media/image4.gif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427.xml"/><Relationship Id="rId18" Type="http://schemas.openxmlformats.org/officeDocument/2006/relationships/tags" Target="../tags/tag432.xml"/><Relationship Id="rId26" Type="http://schemas.openxmlformats.org/officeDocument/2006/relationships/tags" Target="../tags/tag440.xml"/><Relationship Id="rId39" Type="http://schemas.openxmlformats.org/officeDocument/2006/relationships/tags" Target="../tags/tag453.xml"/><Relationship Id="rId21" Type="http://schemas.openxmlformats.org/officeDocument/2006/relationships/tags" Target="../tags/tag435.xml"/><Relationship Id="rId34" Type="http://schemas.openxmlformats.org/officeDocument/2006/relationships/tags" Target="../tags/tag448.xml"/><Relationship Id="rId42" Type="http://schemas.openxmlformats.org/officeDocument/2006/relationships/tags" Target="../tags/tag456.xml"/><Relationship Id="rId47" Type="http://schemas.openxmlformats.org/officeDocument/2006/relationships/tags" Target="../tags/tag461.xml"/><Relationship Id="rId50" Type="http://schemas.openxmlformats.org/officeDocument/2006/relationships/tags" Target="../tags/tag464.xml"/><Relationship Id="rId55" Type="http://schemas.openxmlformats.org/officeDocument/2006/relationships/tags" Target="../tags/tag469.xml"/><Relationship Id="rId63" Type="http://schemas.openxmlformats.org/officeDocument/2006/relationships/slideLayout" Target="../slideLayouts/slideLayout12.xml"/><Relationship Id="rId68" Type="http://schemas.openxmlformats.org/officeDocument/2006/relationships/image" Target="../media/image5.jpeg"/><Relationship Id="rId7" Type="http://schemas.openxmlformats.org/officeDocument/2006/relationships/tags" Target="../tags/tag421.xml"/><Relationship Id="rId71" Type="http://schemas.openxmlformats.org/officeDocument/2006/relationships/oleObject" Target="../embeddings/oleObject21.bin"/><Relationship Id="rId2" Type="http://schemas.openxmlformats.org/officeDocument/2006/relationships/tags" Target="../tags/tag416.xml"/><Relationship Id="rId16" Type="http://schemas.openxmlformats.org/officeDocument/2006/relationships/tags" Target="../tags/tag430.xml"/><Relationship Id="rId29" Type="http://schemas.openxmlformats.org/officeDocument/2006/relationships/tags" Target="../tags/tag443.xml"/><Relationship Id="rId11" Type="http://schemas.openxmlformats.org/officeDocument/2006/relationships/tags" Target="../tags/tag425.xml"/><Relationship Id="rId24" Type="http://schemas.openxmlformats.org/officeDocument/2006/relationships/tags" Target="../tags/tag438.xml"/><Relationship Id="rId32" Type="http://schemas.openxmlformats.org/officeDocument/2006/relationships/tags" Target="../tags/tag446.xml"/><Relationship Id="rId37" Type="http://schemas.openxmlformats.org/officeDocument/2006/relationships/tags" Target="../tags/tag451.xml"/><Relationship Id="rId40" Type="http://schemas.openxmlformats.org/officeDocument/2006/relationships/tags" Target="../tags/tag454.xml"/><Relationship Id="rId45" Type="http://schemas.openxmlformats.org/officeDocument/2006/relationships/tags" Target="../tags/tag459.xml"/><Relationship Id="rId53" Type="http://schemas.openxmlformats.org/officeDocument/2006/relationships/tags" Target="../tags/tag467.xml"/><Relationship Id="rId58" Type="http://schemas.openxmlformats.org/officeDocument/2006/relationships/tags" Target="../tags/tag472.xml"/><Relationship Id="rId66" Type="http://schemas.openxmlformats.org/officeDocument/2006/relationships/image" Target="../media/image2.emf"/><Relationship Id="rId5" Type="http://schemas.openxmlformats.org/officeDocument/2006/relationships/tags" Target="../tags/tag419.xml"/><Relationship Id="rId15" Type="http://schemas.openxmlformats.org/officeDocument/2006/relationships/tags" Target="../tags/tag429.xml"/><Relationship Id="rId23" Type="http://schemas.openxmlformats.org/officeDocument/2006/relationships/tags" Target="../tags/tag437.xml"/><Relationship Id="rId28" Type="http://schemas.openxmlformats.org/officeDocument/2006/relationships/tags" Target="../tags/tag442.xml"/><Relationship Id="rId36" Type="http://schemas.openxmlformats.org/officeDocument/2006/relationships/tags" Target="../tags/tag450.xml"/><Relationship Id="rId49" Type="http://schemas.openxmlformats.org/officeDocument/2006/relationships/tags" Target="../tags/tag463.xml"/><Relationship Id="rId57" Type="http://schemas.openxmlformats.org/officeDocument/2006/relationships/tags" Target="../tags/tag471.xml"/><Relationship Id="rId61" Type="http://schemas.openxmlformats.org/officeDocument/2006/relationships/tags" Target="../tags/tag475.xml"/><Relationship Id="rId10" Type="http://schemas.openxmlformats.org/officeDocument/2006/relationships/tags" Target="../tags/tag424.xml"/><Relationship Id="rId19" Type="http://schemas.openxmlformats.org/officeDocument/2006/relationships/tags" Target="../tags/tag433.xml"/><Relationship Id="rId31" Type="http://schemas.openxmlformats.org/officeDocument/2006/relationships/tags" Target="../tags/tag445.xml"/><Relationship Id="rId44" Type="http://schemas.openxmlformats.org/officeDocument/2006/relationships/tags" Target="../tags/tag458.xml"/><Relationship Id="rId52" Type="http://schemas.openxmlformats.org/officeDocument/2006/relationships/tags" Target="../tags/tag466.xml"/><Relationship Id="rId60" Type="http://schemas.openxmlformats.org/officeDocument/2006/relationships/tags" Target="../tags/tag474.xml"/><Relationship Id="rId65" Type="http://schemas.openxmlformats.org/officeDocument/2006/relationships/oleObject" Target="../embeddings/oleObject19.bin"/><Relationship Id="rId73" Type="http://schemas.openxmlformats.org/officeDocument/2006/relationships/image" Target="../media/image55.emf"/><Relationship Id="rId4" Type="http://schemas.openxmlformats.org/officeDocument/2006/relationships/tags" Target="../tags/tag418.xml"/><Relationship Id="rId9" Type="http://schemas.openxmlformats.org/officeDocument/2006/relationships/tags" Target="../tags/tag423.xml"/><Relationship Id="rId14" Type="http://schemas.openxmlformats.org/officeDocument/2006/relationships/tags" Target="../tags/tag428.xml"/><Relationship Id="rId22" Type="http://schemas.openxmlformats.org/officeDocument/2006/relationships/tags" Target="../tags/tag436.xml"/><Relationship Id="rId27" Type="http://schemas.openxmlformats.org/officeDocument/2006/relationships/tags" Target="../tags/tag441.xml"/><Relationship Id="rId30" Type="http://schemas.openxmlformats.org/officeDocument/2006/relationships/tags" Target="../tags/tag444.xml"/><Relationship Id="rId35" Type="http://schemas.openxmlformats.org/officeDocument/2006/relationships/tags" Target="../tags/tag449.xml"/><Relationship Id="rId43" Type="http://schemas.openxmlformats.org/officeDocument/2006/relationships/tags" Target="../tags/tag457.xml"/><Relationship Id="rId48" Type="http://schemas.openxmlformats.org/officeDocument/2006/relationships/tags" Target="../tags/tag462.xml"/><Relationship Id="rId56" Type="http://schemas.openxmlformats.org/officeDocument/2006/relationships/tags" Target="../tags/tag470.xml"/><Relationship Id="rId64" Type="http://schemas.openxmlformats.org/officeDocument/2006/relationships/notesSlide" Target="../notesSlides/notesSlide26.xml"/><Relationship Id="rId69" Type="http://schemas.openxmlformats.org/officeDocument/2006/relationships/oleObject" Target="../embeddings/oleObject20.bin"/><Relationship Id="rId8" Type="http://schemas.openxmlformats.org/officeDocument/2006/relationships/tags" Target="../tags/tag422.xml"/><Relationship Id="rId51" Type="http://schemas.openxmlformats.org/officeDocument/2006/relationships/tags" Target="../tags/tag465.xml"/><Relationship Id="rId72" Type="http://schemas.openxmlformats.org/officeDocument/2006/relationships/image" Target="../media/image54.emf"/><Relationship Id="rId3" Type="http://schemas.openxmlformats.org/officeDocument/2006/relationships/tags" Target="../tags/tag417.xml"/><Relationship Id="rId12" Type="http://schemas.openxmlformats.org/officeDocument/2006/relationships/tags" Target="../tags/tag426.xml"/><Relationship Id="rId17" Type="http://schemas.openxmlformats.org/officeDocument/2006/relationships/tags" Target="../tags/tag431.xml"/><Relationship Id="rId25" Type="http://schemas.openxmlformats.org/officeDocument/2006/relationships/tags" Target="../tags/tag439.xml"/><Relationship Id="rId33" Type="http://schemas.openxmlformats.org/officeDocument/2006/relationships/tags" Target="../tags/tag447.xml"/><Relationship Id="rId38" Type="http://schemas.openxmlformats.org/officeDocument/2006/relationships/tags" Target="../tags/tag452.xml"/><Relationship Id="rId46" Type="http://schemas.openxmlformats.org/officeDocument/2006/relationships/tags" Target="../tags/tag460.xml"/><Relationship Id="rId59" Type="http://schemas.openxmlformats.org/officeDocument/2006/relationships/tags" Target="../tags/tag473.xml"/><Relationship Id="rId67" Type="http://schemas.openxmlformats.org/officeDocument/2006/relationships/image" Target="../media/image4.gif"/><Relationship Id="rId20" Type="http://schemas.openxmlformats.org/officeDocument/2006/relationships/tags" Target="../tags/tag434.xml"/><Relationship Id="rId41" Type="http://schemas.openxmlformats.org/officeDocument/2006/relationships/tags" Target="../tags/tag455.xml"/><Relationship Id="rId54" Type="http://schemas.openxmlformats.org/officeDocument/2006/relationships/tags" Target="../tags/tag468.xml"/><Relationship Id="rId62" Type="http://schemas.openxmlformats.org/officeDocument/2006/relationships/tags" Target="../tags/tag476.xml"/><Relationship Id="rId70" Type="http://schemas.openxmlformats.org/officeDocument/2006/relationships/image" Target="../media/image53.emf"/><Relationship Id="rId1" Type="http://schemas.openxmlformats.org/officeDocument/2006/relationships/vmlDrawing" Target="../drawings/vmlDrawing9.vml"/><Relationship Id="rId6" Type="http://schemas.openxmlformats.org/officeDocument/2006/relationships/tags" Target="../tags/tag420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484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479.xml"/><Relationship Id="rId7" Type="http://schemas.openxmlformats.org/officeDocument/2006/relationships/tags" Target="../tags/tag483.xml"/><Relationship Id="rId12" Type="http://schemas.openxmlformats.org/officeDocument/2006/relationships/tags" Target="../tags/tag488.xml"/><Relationship Id="rId2" Type="http://schemas.openxmlformats.org/officeDocument/2006/relationships/tags" Target="../tags/tag478.xml"/><Relationship Id="rId16" Type="http://schemas.openxmlformats.org/officeDocument/2006/relationships/image" Target="../media/image5.jpeg"/><Relationship Id="rId1" Type="http://schemas.openxmlformats.org/officeDocument/2006/relationships/tags" Target="../tags/tag477.xml"/><Relationship Id="rId6" Type="http://schemas.openxmlformats.org/officeDocument/2006/relationships/tags" Target="../tags/tag482.xml"/><Relationship Id="rId11" Type="http://schemas.openxmlformats.org/officeDocument/2006/relationships/tags" Target="../tags/tag487.xml"/><Relationship Id="rId5" Type="http://schemas.openxmlformats.org/officeDocument/2006/relationships/tags" Target="../tags/tag481.xml"/><Relationship Id="rId15" Type="http://schemas.openxmlformats.org/officeDocument/2006/relationships/image" Target="../media/image4.gif"/><Relationship Id="rId10" Type="http://schemas.openxmlformats.org/officeDocument/2006/relationships/tags" Target="../tags/tag486.xml"/><Relationship Id="rId4" Type="http://schemas.openxmlformats.org/officeDocument/2006/relationships/tags" Target="../tags/tag480.xml"/><Relationship Id="rId9" Type="http://schemas.openxmlformats.org/officeDocument/2006/relationships/tags" Target="../tags/tag485.xml"/><Relationship Id="rId1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496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491.xml"/><Relationship Id="rId7" Type="http://schemas.openxmlformats.org/officeDocument/2006/relationships/tags" Target="../tags/tag495.xml"/><Relationship Id="rId12" Type="http://schemas.openxmlformats.org/officeDocument/2006/relationships/tags" Target="../tags/tag500.xml"/><Relationship Id="rId2" Type="http://schemas.openxmlformats.org/officeDocument/2006/relationships/tags" Target="../tags/tag490.xml"/><Relationship Id="rId16" Type="http://schemas.openxmlformats.org/officeDocument/2006/relationships/image" Target="../media/image5.jpeg"/><Relationship Id="rId1" Type="http://schemas.openxmlformats.org/officeDocument/2006/relationships/tags" Target="../tags/tag489.xml"/><Relationship Id="rId6" Type="http://schemas.openxmlformats.org/officeDocument/2006/relationships/tags" Target="../tags/tag494.xml"/><Relationship Id="rId11" Type="http://schemas.openxmlformats.org/officeDocument/2006/relationships/tags" Target="../tags/tag499.xml"/><Relationship Id="rId5" Type="http://schemas.openxmlformats.org/officeDocument/2006/relationships/tags" Target="../tags/tag493.xml"/><Relationship Id="rId15" Type="http://schemas.openxmlformats.org/officeDocument/2006/relationships/image" Target="../media/image4.gif"/><Relationship Id="rId10" Type="http://schemas.openxmlformats.org/officeDocument/2006/relationships/tags" Target="../tags/tag498.xml"/><Relationship Id="rId4" Type="http://schemas.openxmlformats.org/officeDocument/2006/relationships/tags" Target="../tags/tag492.xml"/><Relationship Id="rId9" Type="http://schemas.openxmlformats.org/officeDocument/2006/relationships/tags" Target="../tags/tag497.xml"/><Relationship Id="rId14" Type="http://schemas.openxmlformats.org/officeDocument/2006/relationships/notesSlide" Target="../notesSlides/notesSlide2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4.gif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8.emf"/><Relationship Id="rId5" Type="http://schemas.openxmlformats.org/officeDocument/2006/relationships/image" Target="../media/image5.jpeg"/><Relationship Id="rId4" Type="http://schemas.openxmlformats.org/officeDocument/2006/relationships/image" Target="../media/image4.gif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tags" Target="../tags/tag45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oleObject" Target="../embeddings/oleObject4.bin"/><Relationship Id="rId47" Type="http://schemas.openxmlformats.org/officeDocument/2006/relationships/image" Target="../media/image12.gif"/><Relationship Id="rId50" Type="http://schemas.openxmlformats.org/officeDocument/2006/relationships/image" Target="../media/image15.gif"/><Relationship Id="rId55" Type="http://schemas.openxmlformats.org/officeDocument/2006/relationships/oleObject" Target="../embeddings/oleObject5.bin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image" Target="../media/image11.gif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41" Type="http://schemas.openxmlformats.org/officeDocument/2006/relationships/notesSlide" Target="../notesSlides/notesSlide6.xml"/><Relationship Id="rId54" Type="http://schemas.openxmlformats.org/officeDocument/2006/relationships/image" Target="../media/image19.jpeg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slideLayout" Target="../slideLayouts/slideLayout12.xml"/><Relationship Id="rId45" Type="http://schemas.openxmlformats.org/officeDocument/2006/relationships/image" Target="../media/image5.jpeg"/><Relationship Id="rId53" Type="http://schemas.openxmlformats.org/officeDocument/2006/relationships/image" Target="../media/image18.png"/><Relationship Id="rId58" Type="http://schemas.openxmlformats.org/officeDocument/2006/relationships/image" Target="../media/image10.emf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image" Target="../media/image14.jpeg"/><Relationship Id="rId57" Type="http://schemas.openxmlformats.org/officeDocument/2006/relationships/oleObject" Target="../embeddings/oleObject6.bin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4" Type="http://schemas.openxmlformats.org/officeDocument/2006/relationships/image" Target="../media/image4.gif"/><Relationship Id="rId52" Type="http://schemas.openxmlformats.org/officeDocument/2006/relationships/image" Target="../media/image17.jpe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image" Target="../media/image2.emf"/><Relationship Id="rId48" Type="http://schemas.openxmlformats.org/officeDocument/2006/relationships/image" Target="../media/image13.gif"/><Relationship Id="rId56" Type="http://schemas.openxmlformats.org/officeDocument/2006/relationships/image" Target="../media/image9.emf"/><Relationship Id="rId8" Type="http://schemas.openxmlformats.org/officeDocument/2006/relationships/tags" Target="../tags/tag14.xml"/><Relationship Id="rId51" Type="http://schemas.openxmlformats.org/officeDocument/2006/relationships/image" Target="../media/image16.gif"/><Relationship Id="rId3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5.jpeg"/><Relationship Id="rId5" Type="http://schemas.openxmlformats.org/officeDocument/2006/relationships/image" Target="../media/image4.gif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gif"/><Relationship Id="rId2" Type="http://schemas.openxmlformats.org/officeDocument/2006/relationships/tags" Target="../tags/tag4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17876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0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7 Imagen" descr="Logo Eficiencia.jp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80063" y="1773238"/>
            <a:ext cx="3232313" cy="3484800"/>
          </a:xfrm>
          <a:prstGeom prst="rect">
            <a:avLst/>
          </a:prstGeom>
        </p:spPr>
      </p:pic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8" name="Picture 3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sp>
        <p:nvSpPr>
          <p:cNvPr id="21" name="20 Rectángulo"/>
          <p:cNvSpPr/>
          <p:nvPr/>
        </p:nvSpPr>
        <p:spPr>
          <a:xfrm>
            <a:off x="323528" y="1773238"/>
            <a:ext cx="5040560" cy="3484800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_tradnl" sz="2800" dirty="0" smtClean="0">
                <a:solidFill>
                  <a:srgbClr val="404040"/>
                </a:solidFill>
                <a:latin typeface="+mj-lt"/>
              </a:rPr>
              <a:t>Gas Natural</a:t>
            </a:r>
            <a:endParaRPr lang="es-ES_tradnl" sz="2800" dirty="0">
              <a:solidFill>
                <a:srgbClr val="40404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22433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 bwMode="ltGray">
          <a:xfrm>
            <a:off x="718192" y="2015356"/>
            <a:ext cx="7742239" cy="3895948"/>
          </a:xfrm>
          <a:prstGeom prst="rect">
            <a:avLst/>
          </a:prstGeom>
          <a:solidFill>
            <a:srgbClr val="D2CFCD"/>
          </a:solidFill>
          <a:ln w="3175">
            <a:noFill/>
          </a:ln>
          <a:scene3d>
            <a:camera prst="orthographicFront">
              <a:rot lat="60000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00" dirty="0" smtClean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285720" y="979140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07504" y="970580"/>
            <a:ext cx="86356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550" lvl="1" algn="ctr">
              <a:spcAft>
                <a:spcPts val="600"/>
              </a:spcAft>
              <a:buClr>
                <a:srgbClr val="3FAE29"/>
              </a:buClr>
            </a:pPr>
            <a:r>
              <a:rPr lang="es-ES" sz="1600" dirty="0">
                <a:solidFill>
                  <a:srgbClr val="404040"/>
                </a:solidFill>
                <a:latin typeface="+mj-lt"/>
              </a:rPr>
              <a:t>Algunas actividades en el sector gasista (regasificación, almacenamiento básico, transporte y distribución) pueden considerarse monopolios naturales, mientras que otras (aprovisionamiento y comercialización de energía) deben desarrollarse en un régimen de libre competencia</a:t>
            </a: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0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87" name="86 Conector recto"/>
          <p:cNvCxnSpPr/>
          <p:nvPr/>
        </p:nvCxnSpPr>
        <p:spPr>
          <a:xfrm>
            <a:off x="389203" y="1826317"/>
            <a:ext cx="8385403" cy="1491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65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65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2. Normativa relativa al gas natural en Europa y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2" name="1 Flecha izquierda y derecha"/>
          <p:cNvSpPr/>
          <p:nvPr/>
        </p:nvSpPr>
        <p:spPr bwMode="ltGray">
          <a:xfrm>
            <a:off x="831652" y="2128664"/>
            <a:ext cx="7556772" cy="504000"/>
          </a:xfrm>
          <a:prstGeom prst="leftRightArrow">
            <a:avLst/>
          </a:prstGeom>
          <a:solidFill>
            <a:srgbClr val="6CC049"/>
          </a:solidFill>
          <a:ln w="3175">
            <a:noFill/>
          </a:ln>
          <a:scene3d>
            <a:camera prst="orthographicFront">
              <a:rot lat="600000" lon="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100" b="1" dirty="0" smtClean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89542" name="Picture 6" descr="http://ts2.mm.bing.net/th?id=H.4595440208840300&amp;w=222&amp;h=147&amp;c=7&amp;rs=1&amp;pid=1.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904" y="4920208"/>
            <a:ext cx="1200307" cy="83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9546" name="Picture 10" descr="http://www.enagas.es/cs/Satellite?blobcol=urldata&amp;blobkey=id&amp;blobtable=MungoBlobs&amp;blobwhere=1146260929753&amp;ssbinary=true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2772" y="4920208"/>
            <a:ext cx="1140066" cy="834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9548" name="Picture 12" descr="http://cdn.noticiaaldia.com/wp-content/uploads/2013/01/gasoducto_brasil-400x272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4939863"/>
            <a:ext cx="1197943" cy="814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9550" name="Picture 14" descr="http://ts4.mm.bing.net/th?id=H.4822497941323883&amp;w=148&amp;h=147&amp;c=7&amp;rs=1&amp;pid=1.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918" y="4933032"/>
            <a:ext cx="1140268" cy="821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47" descr="data:image/jpeg;base64,/9j/4AAQSkZJRgABAQEAYABgAAD/2wBDAAoHBwkHBgoJCAkLCwoMDxkQDw4ODx4WFxIZJCAmJSMgIyIoLTkwKCo2KyIjMkQyNjs9QEBAJjBGS0U+Sjk/QD3/2wBDAQsLCw8NDx0QEB09KSMpPT09PT09PT09PT09PT09PT09PT09PT09PT09PT09PT09PT09PT09PT09PT09PT09PT3/wAARCABnAGc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zbbS7akC0oSvcscVyPbShamCU7yjTsFyDbSiMnpVyCzknYLGpZj0A71eTRLoFd8LLn1GKTaQGM0TKMlSB70gjJ7V21poF1DCJJI1A/wBoDNbUHhiyvEHn7mk65HGKxlWii1Bs8w8hj/Cae1pIqBtp2noa9OXwhFCz4AK9s1R1bREEIjRcIoxxUqvFsfI0eclDmm7a2rywEDHjAHas1o63WpGxWK0VMY6KdguWBFzThD7VfS2qZLXPaqIM9IeRxWhbwKwyMBvQ1Yjss9qtRWAJAORUtoaDTo1hvElBUlT92QcV18M0dxCAgVXPXmsrTLSGFwJ4RJk8F+laVxGrENGojIH8KgVx1bSZtDRFtMoArjipF/dtlR+VZYuihw+fqKmW82jKEH2NYuDL5kay3GVw1VrtFeM8ZqqmoI4w64NSiUSL8rA1PI0yua5yOs2oZj8u0D0rmpoQD8ort9XjBB45rm3tcnpXfRfunPPcxTCfSitf7J7UVsQXktOelTpae1cnpvjC+icfa1S6jzyCAjfgQP5g12ml6nYaxEWspGEijLwSAB1/xHuK5o4iM9EW6bRNBZ5xxXQWEdtBGCkah+5PJrKjlWPtUguH7A4pTTloOLSNi7WOZO2RVJIZgxWMZHoagFw4AOT+NPF9nPQH1FZqDSKckwm3DIaMA1XFmZOQStTmaLqxOab9pGcKo+pq0miWyB7GWMgbwc+nNOS2lHKSgt6dKtxhduWODUcvHKvx70rtj2KtxZXMoJZQ3+7zVE2DjrGw+orSa9iThpwD7c/yqpPqgb7hZh6saPaqO7DluVWsip5XFFV57wSNhpBx2oqfrXkHs/M8yjbbThcPDIskTsjryGU4I/Gq++gmuA6TorLxrrFrjNws6+kyBv16/rXSad4/tLjCajbtC39+M7l/LqP1rzsHApQ1aRqyXUlxTPadPvItU+XTnScHvHzj6+n41pXenW9hZme7lkbgkmPAC/hjmuD+Fcxi1G+O4hXRFI9cZJ/mK6Hxh4hGrH+ydFt7hmY7HkeMqqjGD1rKti535Y6HRQw0WuaWpp2V1pt7OsVqXLDglyCM1NPDCsrFZELf3cYxVLSfD1rZwJ5EQgmVcGVSTn1znrVO9intnlLSCb5hgxgk+gyP/wBdYRxdWL3ubSwlNrRWOgtdKe8JWS6jt2I+TC7wT78jH61yuovdWl5LbXxZZYzho/T6e1alklxaRPLceb85xGhIBP19M1LrtsusaX9qUA3tigL4bJlg9T6lc/lWsMVKpK0jCphlBXRy7XZzgYH4ZqtLMW4Zs+xqGSZdxwGI/Sqs93sHpmtrmFiwZSO39KKyZdQ2kDOD3zRRcLHM5FGaZkUq7c/MTj0HU1BQ8NRuxTAeOlPjR5pFSNSzHsP1oA7bwDN9nnZtwX5Sxz3yeP0UV363Sscu6FzyTXk+iX4tWZiwCmurTUykyQSBrSRxlTKm0nPcZ61xVU3K56NBpRsddNfna20ghRyQelcxJqyrfliTs6E5zg1n6rcyFfIRyyYxuU9frWQsskKHeQjdvQ1MYXNJTtodZqOovPYiOCUl3cKgz1JOAM/Wq1jrV5pd7C3lSGSBsPGV+8OjKc9QQSKoeEbGO/vJZ5jIUtmV1APyb8nj+R4ruILpbK+W6e2Fym3bIgwHx2Kk8Z9j27jHPbSwblT50cVXE2lynAa9/oWsXdvEzCFJCY9w5CHkfoRWBcXoGcH9a63U9BvfEWsT39662MErblgUh3A9Ceg/Wr1loWnaXhoLcNKP+Wsnzt+Z6fhiuuGGqS30OOVSKOKtNB1PUB5iQeXGeQ8p2A/QdaK79mycmiuuOChbUydZnJaj8OJ4iW0+8jlXPCTDY35jIP6VzOo6Nf6SwF9bPGD0bqp+hHFevO5HymmOoljZJEV424ZWGQfqDUSwkXtoUqrR4w0jNgE8KMAV1vw900T6nNfSoDHbpsUMMgswx+PGfzFa+o+BLC+cSWbm0cn5lA3IR3wOx/Suis7KOxtYra2TbFENqgf561FLCyjO8ug5VE1oYGreEYLUR3ei27GaOQs8ZfORj+EHuP61SXWrjT9VFzrELCWKI/Z4phwMjG7/AD713EcbuQFX86keCLy/LniSXORhlDDB6jmlXwUJu60ZpSxUqaszya5nZJRO823zcsqLwE74xWvpnh3UNagS58yNLRnKl2JyQOpUY57/AJV3Nlouk6a8jW9nGhlAD7svkdcfMTgfStCUKUAXAUdAOgrKngrP3y54m/wlEKkMYSJEjQdFVQB+lRtJmpZYyTwajMeK9NJWOJkRJI9qiYk81YKUx4WABK8GqQiq3WipGjJNFWI1BboT93JpDbY6UUVhdlgqFTUqgegzRRTETxPs+8KvW92gOCuR9KKKzlFMpSaJpVt5VJaEMfesiS0HmkISBRRUw0HLUs2+lxvwztk+lEuiyRuQXBHaiipdSSZSimhBp8cfEg3H0pTbo+QEBx60UU7tq4ra2IjZJnOBRRRVczFY/9k=">
            <a:hlinkClick r:id="rId9"/>
          </p:cNvPr>
          <p:cNvSpPr>
            <a:spLocks noChangeAspect="1" noChangeArrowheads="1"/>
          </p:cNvSpPr>
          <p:nvPr/>
        </p:nvSpPr>
        <p:spPr bwMode="auto">
          <a:xfrm>
            <a:off x="4019550" y="-465138"/>
            <a:ext cx="981075" cy="981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6" name="AutoShape 49" descr="data:image/jpeg;base64,/9j/4AAQSkZJRgABAQEAYABgAAD/2wBDAAoHBwkHBgoJCAkLCwoMDxkQDw4ODx4WFxIZJCAmJSMgIyIoLTkwKCo2KyIjMkQyNjs9QEBAJjBGS0U+Sjk/QD3/2wBDAQsLCw8NDx0QEB09KSMpPT09PT09PT09PT09PT09PT09PT09PT09PT09PT09PT09PT09PT09PT09PT09PT09PT3/wAARCABnAGc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zbbS7akC0oSvcscVyPbShamCU7yjTsFyDbSiMnpVyCzknYLGpZj0A71eTRLoFd8LLn1GKTaQGM0TKMlSB70gjJ7V21poF1DCJJI1A/wBoDNbUHhiyvEHn7mk65HGKxlWii1Bs8w8hj/Cae1pIqBtp2noa9OXwhFCz4AK9s1R1bREEIjRcIoxxUqvFsfI0eclDmm7a2rywEDHjAHas1o63WpGxWK0VMY6KdguWBFzThD7VfS2qZLXPaqIM9IeRxWhbwKwyMBvQ1Yjss9qtRWAJAORUtoaDTo1hvElBUlT92QcV18M0dxCAgVXPXmsrTLSGFwJ4RJk8F+laVxGrENGojIH8KgVx1bSZtDRFtMoArjipF/dtlR+VZYuihw+fqKmW82jKEH2NYuDL5kay3GVw1VrtFeM8ZqqmoI4w64NSiUSL8rA1PI0yua5yOs2oZj8u0D0rmpoQD8ort9XjBB45rm3tcnpXfRfunPPcxTCfSitf7J7UVsQXktOelTpae1cnpvjC+icfa1S6jzyCAjfgQP5g12ml6nYaxEWspGEijLwSAB1/xHuK5o4iM9EW6bRNBZ5xxXQWEdtBGCkah+5PJrKjlWPtUguH7A4pTTloOLSNi7WOZO2RVJIZgxWMZHoagFw4AOT+NPF9nPQH1FZqDSKckwm3DIaMA1XFmZOQStTmaLqxOab9pGcKo+pq0miWyB7GWMgbwc+nNOS2lHKSgt6dKtxhduWODUcvHKvx70rtj2KtxZXMoJZQ3+7zVE2DjrGw+orSa9iThpwD7c/yqpPqgb7hZh6saPaqO7DluVWsip5XFFV57wSNhpBx2oqfrXkHs/M8yjbbThcPDIskTsjryGU4I/Gq++gmuA6TorLxrrFrjNws6+kyBv16/rXSad4/tLjCajbtC39+M7l/LqP1rzsHApQ1aRqyXUlxTPadPvItU+XTnScHvHzj6+n41pXenW9hZme7lkbgkmPAC/hjmuD+Fcxi1G+O4hXRFI9cZJ/mK6Hxh4hGrH+ydFt7hmY7HkeMqqjGD1rKti535Y6HRQw0WuaWpp2V1pt7OsVqXLDglyCM1NPDCsrFZELf3cYxVLSfD1rZwJ5EQgmVcGVSTn1znrVO9intnlLSCb5hgxgk+gyP/wBdYRxdWL3ubSwlNrRWOgtdKe8JWS6jt2I+TC7wT78jH61yuovdWl5LbXxZZYzho/T6e1alklxaRPLceb85xGhIBP19M1LrtsusaX9qUA3tigL4bJlg9T6lc/lWsMVKpK0jCphlBXRy7XZzgYH4ZqtLMW4Zs+xqGSZdxwGI/Sqs93sHpmtrmFiwZSO39KKyZdQ2kDOD3zRRcLHM5FGaZkUq7c/MTj0HU1BQ8NRuxTAeOlPjR5pFSNSzHsP1oA7bwDN9nnZtwX5Sxz3yeP0UV363Sscu6FzyTXk+iX4tWZiwCmurTUykyQSBrSRxlTKm0nPcZ61xVU3K56NBpRsddNfna20ghRyQelcxJqyrfliTs6E5zg1n6rcyFfIRyyYxuU9frWQsskKHeQjdvQ1MYXNJTtodZqOovPYiOCUl3cKgz1JOAM/Wq1jrV5pd7C3lSGSBsPGV+8OjKc9QQSKoeEbGO/vJZ5jIUtmV1APyb8nj+R4ruILpbK+W6e2Fym3bIgwHx2Kk8Z9j27jHPbSwblT50cVXE2lynAa9/oWsXdvEzCFJCY9w5CHkfoRWBcXoGcH9a63U9BvfEWsT39662MErblgUh3A9Ceg/Wr1loWnaXhoLcNKP+Wsnzt+Z6fhiuuGGqS30OOVSKOKtNB1PUB5iQeXGeQ8p2A/QdaK79mycmiuuOChbUydZnJaj8OJ4iW0+8jlXPCTDY35jIP6VzOo6Nf6SwF9bPGD0bqp+hHFevO5HymmOoljZJEV424ZWGQfqDUSwkXtoUqrR4w0jNgE8KMAV1vw900T6nNfSoDHbpsUMMgswx+PGfzFa+o+BLC+cSWbm0cn5lA3IR3wOx/Suis7KOxtYra2TbFENqgf561FLCyjO8ug5VE1oYGreEYLUR3ei27GaOQs8ZfORj+EHuP61SXWrjT9VFzrELCWKI/Z4phwMjG7/AD713EcbuQFX86keCLy/LniSXORhlDDB6jmlXwUJu60ZpSxUqaszya5nZJRO823zcsqLwE74xWvpnh3UNagS58yNLRnKl2JyQOpUY57/AJV3Nlouk6a8jW9nGhlAD7svkdcfMTgfStCUKUAXAUdAOgrKngrP3y54m/wlEKkMYSJEjQdFVQB+lRtJmpZYyTwajMeK9NJWOJkRJI9qiYk81YKUx4WABK8GqQiq3WipGjJNFWI1BboT93JpDbY6UUVhdlgqFTUqgegzRRTETxPs+8KvW92gOCuR9KKKzlFMpSaJpVt5VJaEMfesiS0HmkISBRRUw0HLUs2+lxvwztk+lEuiyRuQXBHaiipdSSZSimhBp8cfEg3H0pTbo+QEBx60UU7tq4ra2IjZJnOBRRRVczFY/9k=">
            <a:hlinkClick r:id="rId9"/>
          </p:cNvPr>
          <p:cNvSpPr>
            <a:spLocks noChangeAspect="1" noChangeArrowheads="1"/>
          </p:cNvSpPr>
          <p:nvPr/>
        </p:nvSpPr>
        <p:spPr bwMode="auto">
          <a:xfrm>
            <a:off x="4171950" y="-312738"/>
            <a:ext cx="981075" cy="981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8" name="AutoShape 51" descr="data:image/jpeg;base64,/9j/4AAQSkZJRgABAQEAYABgAAD/2wBDAAoHBwkHBgoJCAkLCwoMDxkQDw4ODx4WFxIZJCAmJSMgIyIoLTkwKCo2KyIjMkQyNjs9QEBAJjBGS0U+Sjk/QD3/2wBDAQsLCw8NDx0QEB09KSMpPT09PT09PT09PT09PT09PT09PT09PT09PT09PT09PT09PT09PT09PT09PT09PT09PT3/wAARCABnAGc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zbbS7akC0oSvcscVyPbShamCU7yjTsFyDbSiMnpVyCzknYLGpZj0A71eTRLoFd8LLn1GKTaQGM0TKMlSB70gjJ7V21poF1DCJJI1A/wBoDNbUHhiyvEHn7mk65HGKxlWii1Bs8w8hj/Cae1pIqBtp2noa9OXwhFCz4AK9s1R1bREEIjRcIoxxUqvFsfI0eclDmm7a2rywEDHjAHas1o63WpGxWK0VMY6KdguWBFzThD7VfS2qZLXPaqIM9IeRxWhbwKwyMBvQ1Yjss9qtRWAJAORUtoaDTo1hvElBUlT92QcV18M0dxCAgVXPXmsrTLSGFwJ4RJk8F+laVxGrENGojIH8KgVx1bSZtDRFtMoArjipF/dtlR+VZYuihw+fqKmW82jKEH2NYuDL5kay3GVw1VrtFeM8ZqqmoI4w64NSiUSL8rA1PI0yua5yOs2oZj8u0D0rmpoQD8ort9XjBB45rm3tcnpXfRfunPPcxTCfSitf7J7UVsQXktOelTpae1cnpvjC+icfa1S6jzyCAjfgQP5g12ml6nYaxEWspGEijLwSAB1/xHuK5o4iM9EW6bRNBZ5xxXQWEdtBGCkah+5PJrKjlWPtUguH7A4pTTloOLSNi7WOZO2RVJIZgxWMZHoagFw4AOT+NPF9nPQH1FZqDSKckwm3DIaMA1XFmZOQStTmaLqxOab9pGcKo+pq0miWyB7GWMgbwc+nNOS2lHKSgt6dKtxhduWODUcvHKvx70rtj2KtxZXMoJZQ3+7zVE2DjrGw+orSa9iThpwD7c/yqpPqgb7hZh6saPaqO7DluVWsip5XFFV57wSNhpBx2oqfrXkHs/M8yjbbThcPDIskTsjryGU4I/Gq++gmuA6TorLxrrFrjNws6+kyBv16/rXSad4/tLjCajbtC39+M7l/LqP1rzsHApQ1aRqyXUlxTPadPvItU+XTnScHvHzj6+n41pXenW9hZme7lkbgkmPAC/hjmuD+Fcxi1G+O4hXRFI9cZJ/mK6Hxh4hGrH+ydFt7hmY7HkeMqqjGD1rKti535Y6HRQw0WuaWpp2V1pt7OsVqXLDglyCM1NPDCsrFZELf3cYxVLSfD1rZwJ5EQgmVcGVSTn1znrVO9intnlLSCb5hgxgk+gyP/wBdYRxdWL3ubSwlNrRWOgtdKe8JWS6jt2I+TC7wT78jH61yuovdWl5LbXxZZYzho/T6e1alklxaRPLceb85xGhIBP19M1LrtsusaX9qUA3tigL4bJlg9T6lc/lWsMVKpK0jCphlBXRy7XZzgYH4ZqtLMW4Zs+xqGSZdxwGI/Sqs93sHpmtrmFiwZSO39KKyZdQ2kDOD3zRRcLHM5FGaZkUq7c/MTj0HU1BQ8NRuxTAeOlPjR5pFSNSzHsP1oA7bwDN9nnZtwX5Sxz3yeP0UV363Sscu6FzyTXk+iX4tWZiwCmurTUykyQSBrSRxlTKm0nPcZ61xVU3K56NBpRsddNfna20ghRyQelcxJqyrfliTs6E5zg1n6rcyFfIRyyYxuU9frWQsskKHeQjdvQ1MYXNJTtodZqOovPYiOCUl3cKgz1JOAM/Wq1jrV5pd7C3lSGSBsPGV+8OjKc9QQSKoeEbGO/vJZ5jIUtmV1APyb8nj+R4ruILpbK+W6e2Fym3bIgwHx2Kk8Z9j27jHPbSwblT50cVXE2lynAa9/oWsXdvEzCFJCY9w5CHkfoRWBcXoGcH9a63U9BvfEWsT39662MErblgUh3A9Ceg/Wr1loWnaXhoLcNKP+Wsnzt+Z6fhiuuGGqS30OOVSKOKtNB1PUB5iQeXGeQ8p2A/QdaK79mycmiuuOChbUydZnJaj8OJ4iW0+8jlXPCTDY35jIP6VzOo6Nf6SwF9bPGD0bqp+hHFevO5HymmOoljZJEV424ZWGQfqDUSwkXtoUqrR4w0jNgE8KMAV1vw900T6nNfSoDHbpsUMMgswx+PGfzFa+o+BLC+cSWbm0cn5lA3IR3wOx/Suis7KOxtYra2TbFENqgf561FLCyjO8ug5VE1oYGreEYLUR3ei27GaOQs8ZfORj+EHuP61SXWrjT9VFzrELCWKI/Z4phwMjG7/AD713EcbuQFX86keCLy/LniSXORhlDDB6jmlXwUJu60ZpSxUqaszya5nZJRO823zcsqLwE74xWvpnh3UNagS58yNLRnKl2JyQOpUY57/AJV3Nlouk6a8jW9nGhlAD7svkdcfMTgfStCUKUAXAUdAOgrKngrP3y54m/wlEKkMYSJEjQdFVQB+lRtJmpZYyTwajMeK9NJWOJkRJI9qiYk81YKUx4WABK8GqQiq3WipGjJNFWI1BboT93JpDbY6UUVhdlgqFTUqgegzRRTETxPs+8KvW92gOCuR9KKKzlFMpSaJpVt5VJaEMfesiS0HmkISBRRUw0HLUs2+lxvwztk+lEuiyRuQXBHaiipdSSZSimhBp8cfEg3H0pTbo+QEBx60UU7tq4ra2IjZJnOBRRRVczFY/9k=">
            <a:hlinkClick r:id="rId9"/>
          </p:cNvPr>
          <p:cNvSpPr>
            <a:spLocks noChangeAspect="1" noChangeArrowheads="1"/>
          </p:cNvSpPr>
          <p:nvPr/>
        </p:nvSpPr>
        <p:spPr bwMode="auto">
          <a:xfrm>
            <a:off x="4324350" y="-160338"/>
            <a:ext cx="981075" cy="981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10" name="AutoShape 53" descr="data:image/jpeg;base64,/9j/4AAQSkZJRgABAQEAYABgAAD/2wBDAAoHBwkHBgoJCAkLCwoMDxkQDw4ODx4WFxIZJCAmJSMgIyIoLTkwKCo2KyIjMkQyNjs9QEBAJjBGS0U+Sjk/QD3/2wBDAQsLCw8NDx0QEB09KSMpPT09PT09PT09PT09PT09PT09PT09PT09PT09PT09PT09PT09PT09PT09PT09PT09PT3/wAARCABnAGcDASIAAhEBAxEB/8QAHwAAAQUBAQEBAQEAAAAAAAAAAAECAwQFBgcICQoL/8QAtRAAAgEDAwIEAwUFBAQAAAF9AQIDAAQRBRIhMUEGE1FhByJxFDKBkaEII0KxwRVS0fAkM2JyggkKFhcYGRolJicoKSo0NTY3ODk6Q0RFRkdISUpTVFVWV1hZWmNkZWZnaGlqc3R1dnd4eXqDhIWGh4iJipKTlJWWl5iZmqKjpKWmp6ipqrKztLW2t7i5usLDxMXGx8jJytLT1NXW19jZ2uHi4+Tl5ufo6erx8vP09fb3+Pn6/8QAHwEAAwEBAQEBAQEBAQAAAAAAAAECAwQFBgcICQoL/8QAtREAAgECBAQDBAcFBAQAAQJ3AAECAxEEBSExBhJBUQdhcRMiMoEIFEKRobHBCSMzUvAVYnLRChYkNOEl8RcYGRomJygpKjU2Nzg5OkNERUZHSElKU1RVVldYWVpjZGVmZ2hpanN0dXZ3eHl6goOEhYaHiImKkpOUlZaXmJmaoqOkpaanqKmqsrO0tba3uLm6wsPExcbHyMnK0tPU1dbX2Nna4uPk5ebn6Onq8vP09fb3+Pn6/9oADAMBAAIRAxEAPwDzbbS7akC0oSvcscVyPbShamCU7yjTsFyDbSiMnpVyCzknYLGpZj0A71eTRLoFd8LLn1GKTaQGM0TKMlSB70gjJ7V21poF1DCJJI1A/wBoDNbUHhiyvEHn7mk65HGKxlWii1Bs8w8hj/Cae1pIqBtp2noa9OXwhFCz4AK9s1R1bREEIjRcIoxxUqvFsfI0eclDmm7a2rywEDHjAHas1o63WpGxWK0VMY6KdguWBFzThD7VfS2qZLXPaqIM9IeRxWhbwKwyMBvQ1Yjss9qtRWAJAORUtoaDTo1hvElBUlT92QcV18M0dxCAgVXPXmsrTLSGFwJ4RJk8F+laVxGrENGojIH8KgVx1bSZtDRFtMoArjipF/dtlR+VZYuihw+fqKmW82jKEH2NYuDL5kay3GVw1VrtFeM8ZqqmoI4w64NSiUSL8rA1PI0yua5yOs2oZj8u0D0rmpoQD8ort9XjBB45rm3tcnpXfRfunPPcxTCfSitf7J7UVsQXktOelTpae1cnpvjC+icfa1S6jzyCAjfgQP5g12ml6nYaxEWspGEijLwSAB1/xHuK5o4iM9EW6bRNBZ5xxXQWEdtBGCkah+5PJrKjlWPtUguH7A4pTTloOLSNi7WOZO2RVJIZgxWMZHoagFw4AOT+NPF9nPQH1FZqDSKckwm3DIaMA1XFmZOQStTmaLqxOab9pGcKo+pq0miWyB7GWMgbwc+nNOS2lHKSgt6dKtxhduWODUcvHKvx70rtj2KtxZXMoJZQ3+7zVE2DjrGw+orSa9iThpwD7c/yqpPqgb7hZh6saPaqO7DluVWsip5XFFV57wSNhpBx2oqfrXkHs/M8yjbbThcPDIskTsjryGU4I/Gq++gmuA6TorLxrrFrjNws6+kyBv16/rXSad4/tLjCajbtC39+M7l/LqP1rzsHApQ1aRqyXUlxTPadPvItU+XTnScHvHzj6+n41pXenW9hZme7lkbgkmPAC/hjmuD+Fcxi1G+O4hXRFI9cZJ/mK6Hxh4hGrH+ydFt7hmY7HkeMqqjGD1rKti535Y6HRQw0WuaWpp2V1pt7OsVqXLDglyCM1NPDCsrFZELf3cYxVLSfD1rZwJ5EQgmVcGVSTn1znrVO9intnlLSCb5hgxgk+gyP/wBdYRxdWL3ubSwlNrRWOgtdKe8JWS6jt2I+TC7wT78jH61yuovdWl5LbXxZZYzho/T6e1alklxaRPLceb85xGhIBP19M1LrtsusaX9qUA3tigL4bJlg9T6lc/lWsMVKpK0jCphlBXRy7XZzgYH4ZqtLMW4Zs+xqGSZdxwGI/Sqs93sHpmtrmFiwZSO39KKyZdQ2kDOD3zRRcLHM5FGaZkUq7c/MTj0HU1BQ8NRuxTAeOlPjR5pFSNSzHsP1oA7bwDN9nnZtwX5Sxz3yeP0UV363Sscu6FzyTXk+iX4tWZiwCmurTUykyQSBrSRxlTKm0nPcZ61xVU3K56NBpRsddNfna20ghRyQelcxJqyrfliTs6E5zg1n6rcyFfIRyyYxuU9frWQsskKHeQjdvQ1MYXNJTtodZqOovPYiOCUl3cKgz1JOAM/Wq1jrV5pd7C3lSGSBsPGV+8OjKc9QQSKoeEbGO/vJZ5jIUtmV1APyb8nj+R4ruILpbK+W6e2Fym3bIgwHx2Kk8Z9j27jHPbSwblT50cVXE2lynAa9/oWsXdvEzCFJCY9w5CHkfoRWBcXoGcH9a63U9BvfEWsT39662MErblgUh3A9Ceg/Wr1loWnaXhoLcNKP+Wsnzt+Z6fhiuuGGqS30OOVSKOKtNB1PUB5iQeXGeQ8p2A/QdaK79mycmiuuOChbUydZnJaj8OJ4iW0+8jlXPCTDY35jIP6VzOo6Nf6SwF9bPGD0bqp+hHFevO5HymmOoljZJEV424ZWGQfqDUSwkXtoUqrR4w0jNgE8KMAV1vw900T6nNfSoDHbpsUMMgswx+PGfzFa+o+BLC+cSWbm0cn5lA3IR3wOx/Suis7KOxtYra2TbFENqgf561FLCyjO8ug5VE1oYGreEYLUR3ei27GaOQs8ZfORj+EHuP61SXWrjT9VFzrELCWKI/Z4phwMjG7/AD713EcbuQFX86keCLy/LniSXORhlDDB6jmlXwUJu60ZpSxUqaszya5nZJRO823zcsqLwE74xWvpnh3UNagS58yNLRnKl2JyQOpUY57/AJV3Nlouk6a8jW9nGhlAD7svkdcfMTgfStCUKUAXAUdAOgrKngrP3y54m/wlEKkMYSJEjQdFVQB+lRtJmpZYyTwajMeK9NJWOJkRJI9qiYk81YKUx4WABK8GqQiq3WipGjJNFWI1BboT93JpDbY6UUVhdlgqFTUqgegzRRTETxPs+8KvW92gOCuR9KKKzlFMpSaJpVt5VJaEMfesiS0HmkISBRRUw0HLUs2+lxvwztk+lEuiyRuQXBHaiipdSSZSimhBp8cfEg3H0pTbo+QEBx60UU7tq4ra2IjZJnOBRRRVczFY/9k=">
            <a:hlinkClick r:id="rId9"/>
          </p:cNvPr>
          <p:cNvSpPr>
            <a:spLocks noChangeAspect="1" noChangeArrowheads="1"/>
          </p:cNvSpPr>
          <p:nvPr/>
        </p:nvSpPr>
        <p:spPr bwMode="auto">
          <a:xfrm>
            <a:off x="4476750" y="-7938"/>
            <a:ext cx="981075" cy="981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 dirty="0"/>
          </a:p>
        </p:txBody>
      </p:sp>
      <p:sp>
        <p:nvSpPr>
          <p:cNvPr id="37" name="36 Rectángulo"/>
          <p:cNvSpPr/>
          <p:nvPr/>
        </p:nvSpPr>
        <p:spPr>
          <a:xfrm>
            <a:off x="1907704" y="4118528"/>
            <a:ext cx="1124620" cy="693818"/>
          </a:xfrm>
          <a:prstGeom prst="rect">
            <a:avLst/>
          </a:prstGeom>
          <a:solidFill>
            <a:srgbClr val="005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 smtClean="0">
                <a:latin typeface="Pontano Sans" pitchFamily="2" charset="0"/>
              </a:rPr>
              <a:t>Regasificación</a:t>
            </a:r>
            <a:endParaRPr lang="en-US" sz="1100" dirty="0" smtClean="0">
              <a:latin typeface="Pontano Sans" pitchFamily="2" charset="0"/>
            </a:endParaRPr>
          </a:p>
        </p:txBody>
      </p:sp>
      <p:sp>
        <p:nvSpPr>
          <p:cNvPr id="39" name="38 Rectángulo"/>
          <p:cNvSpPr/>
          <p:nvPr/>
        </p:nvSpPr>
        <p:spPr>
          <a:xfrm>
            <a:off x="3577361" y="4118528"/>
            <a:ext cx="1124620" cy="693818"/>
          </a:xfrm>
          <a:prstGeom prst="rect">
            <a:avLst/>
          </a:prstGeom>
          <a:solidFill>
            <a:srgbClr val="005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s-ES" sz="1100" dirty="0" smtClean="0">
                <a:latin typeface="Pontano Sans" pitchFamily="2" charset="0"/>
              </a:rPr>
              <a:t>Almacenamiento básico</a:t>
            </a:r>
            <a:endParaRPr lang="en-US" sz="1100" dirty="0" smtClean="0">
              <a:latin typeface="Pontano Sans" pitchFamily="2" charset="0"/>
            </a:endParaRPr>
          </a:p>
        </p:txBody>
      </p:sp>
      <p:sp>
        <p:nvSpPr>
          <p:cNvPr id="40" name="39 Rectángulo"/>
          <p:cNvSpPr/>
          <p:nvPr/>
        </p:nvSpPr>
        <p:spPr>
          <a:xfrm>
            <a:off x="5175506" y="4118528"/>
            <a:ext cx="1124620" cy="693818"/>
          </a:xfrm>
          <a:prstGeom prst="rect">
            <a:avLst/>
          </a:prstGeom>
          <a:solidFill>
            <a:srgbClr val="005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 smtClean="0">
                <a:latin typeface="Pontano Sans" pitchFamily="2" charset="0"/>
              </a:rPr>
              <a:t>Transporte</a:t>
            </a:r>
            <a:endParaRPr lang="en-US" sz="1100" dirty="0" smtClean="0">
              <a:latin typeface="Pontano Sans" pitchFamily="2" charset="0"/>
            </a:endParaRPr>
          </a:p>
        </p:txBody>
      </p:sp>
      <p:cxnSp>
        <p:nvCxnSpPr>
          <p:cNvPr id="41" name="40 Conector recto de flecha"/>
          <p:cNvCxnSpPr/>
          <p:nvPr/>
        </p:nvCxnSpPr>
        <p:spPr>
          <a:xfrm>
            <a:off x="3044647" y="4484275"/>
            <a:ext cx="532715" cy="0"/>
          </a:xfrm>
          <a:prstGeom prst="straightConnector1">
            <a:avLst/>
          </a:prstGeom>
          <a:ln w="31750">
            <a:solidFill>
              <a:srgbClr val="8A8A8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41 Conector recto de flecha"/>
          <p:cNvCxnSpPr/>
          <p:nvPr/>
        </p:nvCxnSpPr>
        <p:spPr>
          <a:xfrm>
            <a:off x="4725470" y="4483652"/>
            <a:ext cx="414334" cy="0"/>
          </a:xfrm>
          <a:prstGeom prst="straightConnector1">
            <a:avLst/>
          </a:prstGeom>
          <a:ln w="31750">
            <a:solidFill>
              <a:srgbClr val="8A8A8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42 Conector recto de flecha"/>
          <p:cNvCxnSpPr/>
          <p:nvPr/>
        </p:nvCxnSpPr>
        <p:spPr>
          <a:xfrm>
            <a:off x="6300126" y="4483094"/>
            <a:ext cx="591905" cy="1181"/>
          </a:xfrm>
          <a:prstGeom prst="straightConnector1">
            <a:avLst/>
          </a:prstGeom>
          <a:ln w="31750">
            <a:solidFill>
              <a:srgbClr val="8A8A8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43 Rectángulo"/>
          <p:cNvSpPr/>
          <p:nvPr/>
        </p:nvSpPr>
        <p:spPr>
          <a:xfrm>
            <a:off x="6891618" y="4137366"/>
            <a:ext cx="1124620" cy="693818"/>
          </a:xfrm>
          <a:prstGeom prst="rect">
            <a:avLst/>
          </a:prstGeom>
          <a:solidFill>
            <a:srgbClr val="005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 smtClean="0">
                <a:latin typeface="Pontano Sans" pitchFamily="2" charset="0"/>
              </a:rPr>
              <a:t>Distribución</a:t>
            </a:r>
            <a:endParaRPr lang="en-US" sz="1100" dirty="0" smtClean="0">
              <a:latin typeface="Pontano Sans" pitchFamily="2" charset="0"/>
            </a:endParaRPr>
          </a:p>
        </p:txBody>
      </p:sp>
      <p:sp>
        <p:nvSpPr>
          <p:cNvPr id="46" name="45 Rectángulo"/>
          <p:cNvSpPr/>
          <p:nvPr/>
        </p:nvSpPr>
        <p:spPr>
          <a:xfrm>
            <a:off x="2137763" y="2814960"/>
            <a:ext cx="1124620" cy="693818"/>
          </a:xfrm>
          <a:prstGeom prst="rect">
            <a:avLst/>
          </a:prstGeom>
          <a:solidFill>
            <a:srgbClr val="005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 smtClean="0">
                <a:latin typeface="Pontano Sans" pitchFamily="2" charset="0"/>
              </a:rPr>
              <a:t>Aprovisiona-</a:t>
            </a:r>
          </a:p>
          <a:p>
            <a:pPr algn="ctr"/>
            <a:r>
              <a:rPr lang="es-ES" sz="1100" dirty="0" smtClean="0">
                <a:latin typeface="Pontano Sans" pitchFamily="2" charset="0"/>
              </a:rPr>
              <a:t>miento</a:t>
            </a:r>
            <a:endParaRPr lang="en-US" sz="1100" dirty="0" smtClean="0">
              <a:latin typeface="Pontano Sans" pitchFamily="2" charset="0"/>
            </a:endParaRPr>
          </a:p>
        </p:txBody>
      </p:sp>
      <p:sp>
        <p:nvSpPr>
          <p:cNvPr id="47" name="46 Rectángulo"/>
          <p:cNvSpPr/>
          <p:nvPr/>
        </p:nvSpPr>
        <p:spPr>
          <a:xfrm>
            <a:off x="6444208" y="2814960"/>
            <a:ext cx="1124620" cy="693818"/>
          </a:xfrm>
          <a:prstGeom prst="rect">
            <a:avLst/>
          </a:prstGeom>
          <a:solidFill>
            <a:srgbClr val="005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 smtClean="0">
                <a:latin typeface="Pontano Sans" pitchFamily="2" charset="0"/>
              </a:rPr>
              <a:t>Comerciali-zación</a:t>
            </a:r>
            <a:endParaRPr lang="en-US" sz="1100" dirty="0" smtClean="0">
              <a:latin typeface="Pontano Sans" pitchFamily="2" charset="0"/>
            </a:endParaRPr>
          </a:p>
        </p:txBody>
      </p:sp>
      <p:cxnSp>
        <p:nvCxnSpPr>
          <p:cNvPr id="51" name="50 Conector recto de flecha"/>
          <p:cNvCxnSpPr/>
          <p:nvPr/>
        </p:nvCxnSpPr>
        <p:spPr>
          <a:xfrm>
            <a:off x="3262383" y="3175744"/>
            <a:ext cx="3181825" cy="0"/>
          </a:xfrm>
          <a:prstGeom prst="straightConnector1">
            <a:avLst/>
          </a:prstGeom>
          <a:ln w="31750">
            <a:solidFill>
              <a:srgbClr val="8A8A8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89591" name="Picture 55" descr="http://ts3.mm.bing.net/th?id=HN.608002244881222075&amp;w=152&amp;h=150&amp;c=7&amp;rs=1&amp;pid=1.7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1503" y="2683520"/>
            <a:ext cx="1111945" cy="919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5" name="34 Conector recto"/>
          <p:cNvCxnSpPr/>
          <p:nvPr/>
        </p:nvCxnSpPr>
        <p:spPr>
          <a:xfrm>
            <a:off x="442020" y="6343145"/>
            <a:ext cx="8530852" cy="9606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37 Rectángulo"/>
          <p:cNvSpPr/>
          <p:nvPr/>
        </p:nvSpPr>
        <p:spPr>
          <a:xfrm>
            <a:off x="403920" y="6139904"/>
            <a:ext cx="857746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Cadena de valor del gas natural</a:t>
            </a:r>
          </a:p>
        </p:txBody>
      </p:sp>
      <p:sp>
        <p:nvSpPr>
          <p:cNvPr id="45" name="Rectangle 122"/>
          <p:cNvSpPr>
            <a:spLocks noChangeAspect="1" noChangeArrowheads="1"/>
          </p:cNvSpPr>
          <p:nvPr/>
        </p:nvSpPr>
        <p:spPr bwMode="auto">
          <a:xfrm>
            <a:off x="5639296" y="6343145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>
                <a:solidFill>
                  <a:srgbClr val="8A8A8D"/>
                </a:solidFill>
                <a:latin typeface="+mj-lt"/>
              </a:rPr>
              <a:t>[Fuente: e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laboración propia]</a:t>
            </a:r>
            <a:endParaRPr lang="es-ES_tradnl" sz="700" dirty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3962226" y="2242164"/>
            <a:ext cx="12792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b="1" dirty="0" smtClean="0">
                <a:solidFill>
                  <a:schemeClr val="bg1"/>
                </a:solidFill>
                <a:latin typeface="+mj-lt"/>
              </a:rPr>
              <a:t>Sector gasista</a:t>
            </a:r>
            <a:endParaRPr lang="es-ES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33 Llamada rectangular"/>
          <p:cNvSpPr/>
          <p:nvPr/>
        </p:nvSpPr>
        <p:spPr bwMode="ltGray">
          <a:xfrm>
            <a:off x="827584" y="3161869"/>
            <a:ext cx="973911" cy="561160"/>
          </a:xfrm>
          <a:prstGeom prst="wedgeRectCallout">
            <a:avLst>
              <a:gd name="adj1" fmla="val 86739"/>
              <a:gd name="adj2" fmla="val -55555"/>
            </a:avLst>
          </a:prstGeom>
          <a:solidFill>
            <a:schemeClr val="bg1"/>
          </a:solidFill>
          <a:ln w="19050">
            <a:solidFill>
              <a:srgbClr val="A2D6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Actividades en competencia</a:t>
            </a:r>
          </a:p>
        </p:txBody>
      </p:sp>
      <p:sp>
        <p:nvSpPr>
          <p:cNvPr id="36" name="35 Llamada rectangular"/>
          <p:cNvSpPr/>
          <p:nvPr/>
        </p:nvSpPr>
        <p:spPr bwMode="ltGray">
          <a:xfrm>
            <a:off x="827584" y="4639628"/>
            <a:ext cx="973911" cy="561160"/>
          </a:xfrm>
          <a:prstGeom prst="wedgeRectCallout">
            <a:avLst>
              <a:gd name="adj1" fmla="val 63266"/>
              <a:gd name="adj2" fmla="val -82713"/>
            </a:avLst>
          </a:prstGeom>
          <a:solidFill>
            <a:schemeClr val="bg1"/>
          </a:solidFill>
          <a:ln w="19050">
            <a:solidFill>
              <a:srgbClr val="A2D6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Actividades reguladas</a:t>
            </a:r>
          </a:p>
        </p:txBody>
      </p:sp>
    </p:spTree>
    <p:extLst>
      <p:ext uri="{BB962C8B-B14F-4D97-AF65-F5344CB8AC3E}">
        <p14:creationId xmlns:p14="http://schemas.microsoft.com/office/powerpoint/2010/main" val="3842557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70780" y="1124744"/>
            <a:ext cx="8892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550" lvl="1">
              <a:spcAft>
                <a:spcPts val="600"/>
              </a:spcAft>
              <a:buClr>
                <a:srgbClr val="3FAE29"/>
              </a:buClr>
            </a:pP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La liberalización total de los mercados minoristas de electricidad y gas natural se produjo el 1 de enero de 2003, aunque el traspaso de clientes del mercado regulado al mercado liberalizado ha sido gradual</a:t>
            </a: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1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79" name="78 Conector recto"/>
          <p:cNvCxnSpPr/>
          <p:nvPr/>
        </p:nvCxnSpPr>
        <p:spPr>
          <a:xfrm>
            <a:off x="276304" y="5820122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30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30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2. Normativa relativa al gas natural en Europa y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cxnSp>
        <p:nvCxnSpPr>
          <p:cNvPr id="32" name="31 Conector recto"/>
          <p:cNvCxnSpPr/>
          <p:nvPr/>
        </p:nvCxnSpPr>
        <p:spPr>
          <a:xfrm>
            <a:off x="323410" y="1872120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32 CuadroTexto"/>
          <p:cNvSpPr txBox="1"/>
          <p:nvPr/>
        </p:nvSpPr>
        <p:spPr>
          <a:xfrm>
            <a:off x="2887241" y="2233971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34" name="33 CuadroTexto"/>
          <p:cNvSpPr txBox="1"/>
          <p:nvPr/>
        </p:nvSpPr>
        <p:spPr>
          <a:xfrm>
            <a:off x="3207121" y="2233971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35" name="34 CuadroTexto"/>
          <p:cNvSpPr txBox="1"/>
          <p:nvPr/>
        </p:nvSpPr>
        <p:spPr>
          <a:xfrm>
            <a:off x="3677269" y="2233971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36" name="35 Rectángulo"/>
          <p:cNvSpPr/>
          <p:nvPr/>
        </p:nvSpPr>
        <p:spPr>
          <a:xfrm>
            <a:off x="4684520" y="1946600"/>
            <a:ext cx="4135952" cy="647235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7" name="36 CuadroTexto"/>
          <p:cNvSpPr txBox="1"/>
          <p:nvPr/>
        </p:nvSpPr>
        <p:spPr>
          <a:xfrm>
            <a:off x="4716015" y="1946442"/>
            <a:ext cx="42024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D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esde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el año 2000 el consumo de los clientes de gas natural acogidos al mercado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liberalizado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ha experimentado un aumento gradual, alcanzando el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98%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del total en el año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2016</a:t>
            </a:r>
          </a:p>
        </p:txBody>
      </p:sp>
      <p:sp>
        <p:nvSpPr>
          <p:cNvPr id="38" name="37 Rectángulo"/>
          <p:cNvSpPr/>
          <p:nvPr/>
        </p:nvSpPr>
        <p:spPr>
          <a:xfrm>
            <a:off x="325807" y="1946334"/>
            <a:ext cx="4174052" cy="64750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9" name="38 CuadroTexto"/>
          <p:cNvSpPr txBox="1"/>
          <p:nvPr/>
        </p:nvSpPr>
        <p:spPr>
          <a:xfrm>
            <a:off x="295520" y="1945764"/>
            <a:ext cx="42044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La normativa española ha sido una de las pioneras en el ámbito europeo en el impulso a la liberalización del mercado de gas natural</a:t>
            </a:r>
            <a:endParaRPr lang="es-ES" sz="1200" dirty="0" smtClean="0">
              <a:solidFill>
                <a:srgbClr val="404040"/>
              </a:solidFill>
              <a:latin typeface="+mj-lt"/>
            </a:endParaRPr>
          </a:p>
        </p:txBody>
      </p:sp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9017547"/>
              </p:ext>
            </p:extLst>
          </p:nvPr>
        </p:nvGraphicFramePr>
        <p:xfrm>
          <a:off x="382420" y="2852160"/>
          <a:ext cx="4060825" cy="2119630"/>
        </p:xfrm>
        <a:graphic>
          <a:graphicData uri="http://schemas.openxmlformats.org/drawingml/2006/table">
            <a:tbl>
              <a:tblPr/>
              <a:tblGrid>
                <a:gridCol w="923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58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90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26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10363"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s-ES" sz="900" b="1" dirty="0">
                          <a:solidFill>
                            <a:srgbClr val="FFFFFF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Norma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s-ES" sz="900" b="1" dirty="0">
                          <a:solidFill>
                            <a:srgbClr val="FFFFFF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Fecha de efecto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s-ES" sz="900" b="1" dirty="0">
                          <a:solidFill>
                            <a:srgbClr val="FFFFFF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Umbrales de elegibilidad (consumo anual)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s-ES" sz="900" b="1" dirty="0">
                          <a:solidFill>
                            <a:srgbClr val="FFFFFF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Nivel de apertura del mercado 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  <a:p>
                      <a:pPr algn="ctr">
                        <a:spcBef>
                          <a:spcPts val="100"/>
                        </a:spcBef>
                        <a:spcAft>
                          <a:spcPts val="100"/>
                        </a:spcAft>
                      </a:pPr>
                      <a:r>
                        <a:rPr lang="es-ES" sz="900" b="1" dirty="0">
                          <a:solidFill>
                            <a:srgbClr val="FFFFFF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(% consumo)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5260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Ley 34/1998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01/01/1999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20 Mm</a:t>
                      </a:r>
                      <a:r>
                        <a:rPr lang="es-ES" sz="900" baseline="300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3</a:t>
                      </a: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(N)/año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45%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272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RDL 6/1999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01/04/1999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10 Mm</a:t>
                      </a:r>
                      <a:r>
                        <a:rPr lang="es-ES" sz="900" baseline="300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3</a:t>
                      </a: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(N)/año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60%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8503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RDL 6/1999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01/01/2000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5 Mm</a:t>
                      </a:r>
                      <a:r>
                        <a:rPr lang="es-ES" sz="900" baseline="300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3</a:t>
                      </a: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(N)/año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68%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6294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RDL 6/2000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25/06/2000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3 Mm</a:t>
                      </a:r>
                      <a:r>
                        <a:rPr lang="es-ES" sz="900" baseline="300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3</a:t>
                      </a: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(N)/año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73%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5260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RDL 6/2000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01/01/2002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1 Mm</a:t>
                      </a:r>
                      <a:r>
                        <a:rPr lang="es-ES" sz="900" baseline="300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3</a:t>
                      </a: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(N)/año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79%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1678"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RDL 6/2000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01/01/2003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Todos los consumidores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s-ES" sz="900" dirty="0">
                          <a:solidFill>
                            <a:srgbClr val="00567C"/>
                          </a:solidFill>
                          <a:effectLst/>
                          <a:latin typeface="Pontano Sans"/>
                          <a:ea typeface="Times New Roman"/>
                          <a:cs typeface="Times New Roman"/>
                        </a:rPr>
                        <a:t>100%</a:t>
                      </a:r>
                      <a:endParaRPr lang="es-ES" sz="1050" dirty="0">
                        <a:effectLst/>
                        <a:latin typeface="Pontano Sans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cxnSp>
        <p:nvCxnSpPr>
          <p:cNvPr id="45" name="44 Conector recto"/>
          <p:cNvCxnSpPr/>
          <p:nvPr/>
        </p:nvCxnSpPr>
        <p:spPr>
          <a:xfrm>
            <a:off x="4716463" y="5820122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122"/>
          <p:cNvSpPr>
            <a:spLocks noChangeAspect="1" noChangeArrowheads="1"/>
          </p:cNvSpPr>
          <p:nvPr/>
        </p:nvSpPr>
        <p:spPr bwMode="auto">
          <a:xfrm>
            <a:off x="5524996" y="5805264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>
                <a:solidFill>
                  <a:srgbClr val="8A8A8D"/>
                </a:solidFill>
              </a:rPr>
              <a:t>[Fuente: Comisión Nacional de Mercados y Competencia, CNMC]</a:t>
            </a:r>
          </a:p>
        </p:txBody>
      </p:sp>
      <p:sp>
        <p:nvSpPr>
          <p:cNvPr id="48" name="Rectangle 122"/>
          <p:cNvSpPr>
            <a:spLocks noChangeAspect="1" noChangeArrowheads="1"/>
          </p:cNvSpPr>
          <p:nvPr/>
        </p:nvSpPr>
        <p:spPr bwMode="auto">
          <a:xfrm>
            <a:off x="1178500" y="582722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Comisión Nacional de Mercados y Competencia, CNMC]</a:t>
            </a:r>
          </a:p>
        </p:txBody>
      </p:sp>
      <p:sp>
        <p:nvSpPr>
          <p:cNvPr id="26" name="25 Rectángulo"/>
          <p:cNvSpPr/>
          <p:nvPr/>
        </p:nvSpPr>
        <p:spPr>
          <a:xfrm>
            <a:off x="281852" y="5579243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Normativa aprobada para la liberalización del mercado de gas natural</a:t>
            </a:r>
          </a:p>
        </p:txBody>
      </p:sp>
      <p:sp>
        <p:nvSpPr>
          <p:cNvPr id="27" name="26 Rectángulo"/>
          <p:cNvSpPr/>
          <p:nvPr/>
        </p:nvSpPr>
        <p:spPr>
          <a:xfrm>
            <a:off x="4617020" y="5582954"/>
            <a:ext cx="42034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Evolución del consumo de gas natural en el mercado libre y regulado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53541" y="2761361"/>
            <a:ext cx="4264909" cy="2467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487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11 Rectángulo"/>
          <p:cNvSpPr/>
          <p:nvPr/>
        </p:nvSpPr>
        <p:spPr>
          <a:xfrm>
            <a:off x="271798" y="2060849"/>
            <a:ext cx="8501122" cy="4032448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pic>
        <p:nvPicPr>
          <p:cNvPr id="73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4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67 Título"/>
          <p:cNvSpPr>
            <a:spLocks noGrp="1"/>
          </p:cNvSpPr>
          <p:nvPr>
            <p:ph type="title"/>
          </p:nvPr>
        </p:nvSpPr>
        <p:spPr>
          <a:xfrm>
            <a:off x="500034" y="980728"/>
            <a:ext cx="8077200" cy="792088"/>
          </a:xfrm>
        </p:spPr>
        <p:txBody>
          <a:bodyPr>
            <a:normAutofit/>
          </a:bodyPr>
          <a:lstStyle/>
          <a:p>
            <a:r>
              <a:rPr lang="es-ES" sz="2800" dirty="0">
                <a:solidFill>
                  <a:srgbClr val="00567C"/>
                </a:solidFill>
              </a:rPr>
              <a:t>3</a:t>
            </a:r>
            <a:r>
              <a:rPr lang="es-ES" sz="2800" dirty="0" smtClean="0">
                <a:solidFill>
                  <a:srgbClr val="00567C"/>
                </a:solidFill>
              </a:rPr>
              <a:t>. </a:t>
            </a:r>
            <a:r>
              <a:rPr lang="es-ES" sz="2800" dirty="0">
                <a:solidFill>
                  <a:srgbClr val="00567C"/>
                </a:solidFill>
              </a:rPr>
              <a:t>Aprovisionamiento de gas natural en España</a:t>
            </a:r>
          </a:p>
        </p:txBody>
      </p:sp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>
          <a:xfrm>
            <a:off x="285720" y="17008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94 CuadroTexto"/>
          <p:cNvSpPr txBox="1"/>
          <p:nvPr/>
        </p:nvSpPr>
        <p:spPr>
          <a:xfrm>
            <a:off x="304624" y="2133418"/>
            <a:ext cx="8501122" cy="20467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>
                <a:solidFill>
                  <a:srgbClr val="404040"/>
                </a:solidFill>
                <a:latin typeface="+mj-lt"/>
              </a:rPr>
              <a:t>La cadena de valor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del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gas natural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incluye las actividades de exploración, licuefacción y transporte, regasificación, transporte, almacenamiento y distribución hasta el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cliente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final</a:t>
            </a: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>
                <a:solidFill>
                  <a:srgbClr val="404040"/>
                </a:solidFill>
                <a:latin typeface="+mj-lt"/>
              </a:rPr>
              <a:t>Oriente Medio es la región con mayores reservas de gas natural en el mundo con un 43%,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seguido de la 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zona de Europa y Euroasia (32%)</a:t>
            </a: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El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descubrimiento y explotación de yacimientos de </a:t>
            </a:r>
            <a:r>
              <a:rPr lang="es-ES" sz="1400" b="1" i="1" dirty="0">
                <a:solidFill>
                  <a:srgbClr val="404040"/>
                </a:solidFill>
                <a:latin typeface="+mj-lt"/>
              </a:rPr>
              <a:t>shale gas </a:t>
            </a:r>
            <a:r>
              <a:rPr lang="es-ES" sz="1400" b="1" i="1" dirty="0" smtClean="0">
                <a:solidFill>
                  <a:srgbClr val="404040"/>
                </a:solidFill>
                <a:latin typeface="+mj-lt"/>
              </a:rPr>
              <a:t>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ha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supuesto una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revolución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del mercado energético en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EEUU</a:t>
            </a:r>
            <a:endParaRPr lang="es-ES" sz="1400" b="1" dirty="0">
              <a:solidFill>
                <a:srgbClr val="404040"/>
              </a:solidFill>
              <a:latin typeface="+mj-lt"/>
            </a:endParaRP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>
                <a:solidFill>
                  <a:srgbClr val="404040"/>
                </a:solidFill>
                <a:latin typeface="+mj-lt"/>
              </a:rPr>
              <a:t>La evolución de las infraestructuras gasistas ha estado intrínsecamente ligada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a la existencia de una planificación vinculante que define la construcción de infraestructuras</a:t>
            </a:r>
            <a:endParaRPr lang="es-ES" sz="14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2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8" name="17 CuadroTexto"/>
          <p:cNvSpPr txBox="1"/>
          <p:nvPr/>
        </p:nvSpPr>
        <p:spPr>
          <a:xfrm>
            <a:off x="7380312" y="116632"/>
            <a:ext cx="15121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3. Aprovisionamiento de gas natural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28852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251520" y="1052736"/>
            <a:ext cx="8352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La cadena de valor del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gas natural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identifica el proceso que sigue el gas natural desde la exploración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hasta el cliente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final</a:t>
            </a: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3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87" name="86 Conector recto"/>
          <p:cNvCxnSpPr/>
          <p:nvPr/>
        </p:nvCxnSpPr>
        <p:spPr>
          <a:xfrm>
            <a:off x="285720" y="1627212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46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46 CuadroTexto"/>
          <p:cNvSpPr txBox="1"/>
          <p:nvPr/>
        </p:nvSpPr>
        <p:spPr>
          <a:xfrm>
            <a:off x="7380312" y="116632"/>
            <a:ext cx="15121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3. Aprovisionamiento de gas natural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50" name="Text Box 22"/>
          <p:cNvSpPr txBox="1">
            <a:spLocks noChangeArrowheads="1"/>
          </p:cNvSpPr>
          <p:nvPr/>
        </p:nvSpPr>
        <p:spPr bwMode="auto">
          <a:xfrm>
            <a:off x="6799138" y="3861048"/>
            <a:ext cx="1716288" cy="14757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481013" indent="-103188">
              <a:spcBef>
                <a:spcPct val="15000"/>
              </a:spcBef>
            </a:pPr>
            <a:r>
              <a:rPr lang="es-ES" sz="1400" b="1" dirty="0">
                <a:solidFill>
                  <a:srgbClr val="00567C"/>
                </a:solidFill>
                <a:latin typeface="+mj-lt"/>
              </a:rPr>
              <a:t>  </a:t>
            </a:r>
            <a:r>
              <a:rPr lang="es-ES" sz="1400" b="1" dirty="0" smtClean="0">
                <a:solidFill>
                  <a:srgbClr val="00567C"/>
                </a:solidFill>
                <a:latin typeface="+mj-lt"/>
              </a:rPr>
              <a:t>Consumo</a:t>
            </a:r>
            <a:endParaRPr lang="es-ES" sz="1400" b="1" dirty="0">
              <a:solidFill>
                <a:srgbClr val="00567C"/>
              </a:solidFill>
              <a:latin typeface="+mj-lt"/>
            </a:endParaRPr>
          </a:p>
          <a:p>
            <a:pPr marL="444500" indent="-66675">
              <a:spcBef>
                <a:spcPct val="15000"/>
              </a:spcBef>
              <a:buFontTx/>
              <a:buChar char="•"/>
            </a:pPr>
            <a:r>
              <a:rPr lang="es-ES" sz="1100" dirty="0">
                <a:solidFill>
                  <a:srgbClr val="00567C"/>
                </a:solidFill>
                <a:latin typeface="+mj-lt"/>
              </a:rPr>
              <a:t>Generación de</a:t>
            </a:r>
          </a:p>
          <a:p>
            <a:pPr marL="444500" indent="-66675">
              <a:spcBef>
                <a:spcPct val="15000"/>
              </a:spcBef>
            </a:pPr>
            <a:r>
              <a:rPr lang="es-ES" sz="1100" dirty="0" smtClean="0">
                <a:solidFill>
                  <a:srgbClr val="00567C"/>
                </a:solidFill>
                <a:latin typeface="+mj-lt"/>
              </a:rPr>
              <a:t>   energía </a:t>
            </a:r>
            <a:r>
              <a:rPr lang="es-ES" sz="1100" dirty="0">
                <a:solidFill>
                  <a:srgbClr val="00567C"/>
                </a:solidFill>
                <a:latin typeface="+mj-lt"/>
              </a:rPr>
              <a:t>eléctrica</a:t>
            </a:r>
          </a:p>
          <a:p>
            <a:pPr marL="481013" indent="-103188">
              <a:spcBef>
                <a:spcPct val="15000"/>
              </a:spcBef>
              <a:buFontTx/>
              <a:buChar char="•"/>
            </a:pPr>
            <a:r>
              <a:rPr lang="es-ES" sz="1100" dirty="0">
                <a:solidFill>
                  <a:srgbClr val="00567C"/>
                </a:solidFill>
                <a:latin typeface="+mj-lt"/>
              </a:rPr>
              <a:t>Industrial</a:t>
            </a:r>
          </a:p>
          <a:p>
            <a:pPr marL="481013" indent="-103188">
              <a:spcBef>
                <a:spcPct val="15000"/>
              </a:spcBef>
              <a:buFontTx/>
              <a:buChar char="•"/>
            </a:pPr>
            <a:r>
              <a:rPr lang="es-ES" sz="1100" dirty="0">
                <a:solidFill>
                  <a:srgbClr val="00567C"/>
                </a:solidFill>
                <a:latin typeface="+mj-lt"/>
              </a:rPr>
              <a:t>Comercial</a:t>
            </a:r>
          </a:p>
          <a:p>
            <a:pPr marL="481013" indent="-103188">
              <a:spcBef>
                <a:spcPct val="15000"/>
              </a:spcBef>
              <a:buFontTx/>
              <a:buChar char="•"/>
            </a:pPr>
            <a:r>
              <a:rPr lang="es-ES" sz="1100" dirty="0">
                <a:solidFill>
                  <a:srgbClr val="00567C"/>
                </a:solidFill>
                <a:latin typeface="+mj-lt"/>
              </a:rPr>
              <a:t>Residencial</a:t>
            </a:r>
          </a:p>
          <a:p>
            <a:pPr marL="481013" indent="-103188">
              <a:spcBef>
                <a:spcPct val="15000"/>
              </a:spcBef>
              <a:buFontTx/>
              <a:buChar char="•"/>
            </a:pPr>
            <a:r>
              <a:rPr lang="es-ES" sz="1100" dirty="0" smtClean="0">
                <a:solidFill>
                  <a:srgbClr val="00567C"/>
                </a:solidFill>
                <a:latin typeface="+mj-lt"/>
              </a:rPr>
              <a:t>Vehículos</a:t>
            </a:r>
            <a:endParaRPr lang="es-ES" sz="1100" dirty="0">
              <a:solidFill>
                <a:srgbClr val="00567C"/>
              </a:solidFill>
              <a:latin typeface="+mj-lt"/>
            </a:endParaRPr>
          </a:p>
        </p:txBody>
      </p:sp>
      <p:sp>
        <p:nvSpPr>
          <p:cNvPr id="51" name="Rectangle 2"/>
          <p:cNvSpPr>
            <a:spLocks noChangeArrowheads="1"/>
          </p:cNvSpPr>
          <p:nvPr/>
        </p:nvSpPr>
        <p:spPr bwMode="auto">
          <a:xfrm>
            <a:off x="476767" y="4364677"/>
            <a:ext cx="969608" cy="432000"/>
          </a:xfrm>
          <a:prstGeom prst="rect">
            <a:avLst/>
          </a:prstGeom>
          <a:noFill/>
          <a:ln w="9525">
            <a:solidFill>
              <a:srgbClr val="82BC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400" b="1" dirty="0">
                <a:solidFill>
                  <a:srgbClr val="00567C"/>
                </a:solidFill>
                <a:latin typeface="+mj-lt"/>
              </a:rPr>
              <a:t>Exploración</a:t>
            </a:r>
          </a:p>
        </p:txBody>
      </p:sp>
      <p:sp>
        <p:nvSpPr>
          <p:cNvPr id="52" name="Rectangle 3"/>
          <p:cNvSpPr>
            <a:spLocks noChangeArrowheads="1"/>
          </p:cNvSpPr>
          <p:nvPr/>
        </p:nvSpPr>
        <p:spPr bwMode="auto">
          <a:xfrm>
            <a:off x="1807794" y="4366094"/>
            <a:ext cx="841252" cy="450623"/>
          </a:xfrm>
          <a:prstGeom prst="rect">
            <a:avLst/>
          </a:prstGeom>
          <a:noFill/>
          <a:ln w="9525">
            <a:solidFill>
              <a:srgbClr val="82BC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400" b="1" dirty="0">
                <a:solidFill>
                  <a:srgbClr val="00567C"/>
                </a:solidFill>
                <a:latin typeface="+mj-lt"/>
              </a:rPr>
              <a:t>Extracción</a:t>
            </a:r>
          </a:p>
        </p:txBody>
      </p:sp>
      <p:sp>
        <p:nvSpPr>
          <p:cNvPr id="53" name="Rectangle 4"/>
          <p:cNvSpPr>
            <a:spLocks noChangeArrowheads="1"/>
          </p:cNvSpPr>
          <p:nvPr/>
        </p:nvSpPr>
        <p:spPr bwMode="auto">
          <a:xfrm>
            <a:off x="2978789" y="4368928"/>
            <a:ext cx="962203" cy="450623"/>
          </a:xfrm>
          <a:prstGeom prst="rect">
            <a:avLst/>
          </a:prstGeom>
          <a:noFill/>
          <a:ln w="9525">
            <a:solidFill>
              <a:srgbClr val="82BC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400" b="1" dirty="0">
                <a:solidFill>
                  <a:srgbClr val="00567C"/>
                </a:solidFill>
                <a:latin typeface="+mj-lt"/>
              </a:rPr>
              <a:t>Tratamiento</a:t>
            </a:r>
          </a:p>
        </p:txBody>
      </p:sp>
      <p:sp>
        <p:nvSpPr>
          <p:cNvPr id="56" name="Rectangle 5"/>
          <p:cNvSpPr>
            <a:spLocks noChangeArrowheads="1"/>
          </p:cNvSpPr>
          <p:nvPr/>
        </p:nvSpPr>
        <p:spPr bwMode="auto">
          <a:xfrm>
            <a:off x="4269768" y="4300910"/>
            <a:ext cx="964905" cy="578158"/>
          </a:xfrm>
          <a:prstGeom prst="rect">
            <a:avLst/>
          </a:prstGeom>
          <a:noFill/>
          <a:ln w="9525">
            <a:solidFill>
              <a:srgbClr val="82BC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400" b="1" dirty="0">
                <a:solidFill>
                  <a:srgbClr val="00567C"/>
                </a:solidFill>
                <a:latin typeface="+mj-lt"/>
              </a:rPr>
              <a:t>Transporte</a:t>
            </a:r>
          </a:p>
          <a:p>
            <a:pPr algn="ctr"/>
            <a:r>
              <a:rPr lang="es-ES" sz="1400" b="1" dirty="0">
                <a:solidFill>
                  <a:srgbClr val="00567C"/>
                </a:solidFill>
                <a:latin typeface="+mj-lt"/>
              </a:rPr>
              <a:t> gasoducto</a:t>
            </a:r>
          </a:p>
        </p:txBody>
      </p:sp>
      <p:sp>
        <p:nvSpPr>
          <p:cNvPr id="57" name="Rectangle 6"/>
          <p:cNvSpPr>
            <a:spLocks noChangeArrowheads="1"/>
          </p:cNvSpPr>
          <p:nvPr/>
        </p:nvSpPr>
        <p:spPr bwMode="auto">
          <a:xfrm>
            <a:off x="4184125" y="3530033"/>
            <a:ext cx="1217618" cy="450623"/>
          </a:xfrm>
          <a:prstGeom prst="rect">
            <a:avLst/>
          </a:prstGeom>
          <a:noFill/>
          <a:ln w="9525">
            <a:solidFill>
              <a:srgbClr val="82BC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400" b="1" dirty="0" smtClean="0">
                <a:solidFill>
                  <a:srgbClr val="00567C"/>
                </a:solidFill>
                <a:latin typeface="+mj-lt"/>
              </a:rPr>
              <a:t>Regasificación</a:t>
            </a:r>
            <a:endParaRPr lang="es-ES" sz="1400" b="1" dirty="0">
              <a:solidFill>
                <a:srgbClr val="00567C"/>
              </a:solidFill>
              <a:latin typeface="+mj-lt"/>
            </a:endParaRPr>
          </a:p>
        </p:txBody>
      </p:sp>
      <p:sp>
        <p:nvSpPr>
          <p:cNvPr id="58" name="Rectangle 7"/>
          <p:cNvSpPr>
            <a:spLocks noChangeArrowheads="1"/>
          </p:cNvSpPr>
          <p:nvPr/>
        </p:nvSpPr>
        <p:spPr bwMode="auto">
          <a:xfrm>
            <a:off x="4052054" y="5202155"/>
            <a:ext cx="1424383" cy="450623"/>
          </a:xfrm>
          <a:prstGeom prst="rect">
            <a:avLst/>
          </a:prstGeom>
          <a:noFill/>
          <a:ln w="9525">
            <a:solidFill>
              <a:srgbClr val="82BC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400" b="1" dirty="0">
                <a:solidFill>
                  <a:srgbClr val="00567C"/>
                </a:solidFill>
                <a:latin typeface="+mj-lt"/>
              </a:rPr>
              <a:t>Almacenamiento</a:t>
            </a:r>
          </a:p>
        </p:txBody>
      </p:sp>
      <p:sp>
        <p:nvSpPr>
          <p:cNvPr id="59" name="Rectangle 8"/>
          <p:cNvSpPr>
            <a:spLocks noChangeArrowheads="1"/>
          </p:cNvSpPr>
          <p:nvPr/>
        </p:nvSpPr>
        <p:spPr bwMode="auto">
          <a:xfrm>
            <a:off x="5546294" y="4468122"/>
            <a:ext cx="1034504" cy="450623"/>
          </a:xfrm>
          <a:prstGeom prst="rect">
            <a:avLst/>
          </a:prstGeom>
          <a:noFill/>
          <a:ln w="9525">
            <a:solidFill>
              <a:srgbClr val="82BC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400" b="1" dirty="0">
                <a:solidFill>
                  <a:srgbClr val="00567C"/>
                </a:solidFill>
                <a:latin typeface="+mj-lt"/>
              </a:rPr>
              <a:t>Distribución</a:t>
            </a:r>
          </a:p>
        </p:txBody>
      </p:sp>
      <p:sp>
        <p:nvSpPr>
          <p:cNvPr id="60" name="Oval 9"/>
          <p:cNvSpPr>
            <a:spLocks noChangeArrowheads="1"/>
          </p:cNvSpPr>
          <p:nvPr/>
        </p:nvSpPr>
        <p:spPr bwMode="auto">
          <a:xfrm>
            <a:off x="1127630" y="5136971"/>
            <a:ext cx="979770" cy="450623"/>
          </a:xfrm>
          <a:prstGeom prst="ellipse">
            <a:avLst/>
          </a:prstGeom>
          <a:noFill/>
          <a:ln w="9525">
            <a:solidFill>
              <a:srgbClr val="82BC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100" b="1" dirty="0">
                <a:solidFill>
                  <a:srgbClr val="00567C"/>
                </a:solidFill>
                <a:latin typeface="+mj-lt"/>
              </a:rPr>
              <a:t>GN</a:t>
            </a:r>
          </a:p>
          <a:p>
            <a:pPr algn="ctr"/>
            <a:r>
              <a:rPr lang="es-ES" sz="1100" b="1" dirty="0">
                <a:solidFill>
                  <a:srgbClr val="00567C"/>
                </a:solidFill>
                <a:latin typeface="+mj-lt"/>
              </a:rPr>
              <a:t>convencional</a:t>
            </a:r>
          </a:p>
        </p:txBody>
      </p:sp>
      <p:sp>
        <p:nvSpPr>
          <p:cNvPr id="61" name="Oval 10"/>
          <p:cNvSpPr>
            <a:spLocks noChangeArrowheads="1"/>
          </p:cNvSpPr>
          <p:nvPr/>
        </p:nvSpPr>
        <p:spPr bwMode="auto">
          <a:xfrm>
            <a:off x="2169565" y="5136970"/>
            <a:ext cx="1008000" cy="468000"/>
          </a:xfrm>
          <a:prstGeom prst="ellipse">
            <a:avLst/>
          </a:prstGeom>
          <a:noFill/>
          <a:ln w="9525">
            <a:solidFill>
              <a:srgbClr val="82BC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100" b="1" dirty="0">
                <a:solidFill>
                  <a:srgbClr val="00567C"/>
                </a:solidFill>
                <a:latin typeface="+mj-lt"/>
              </a:rPr>
              <a:t>GN no</a:t>
            </a:r>
          </a:p>
          <a:p>
            <a:pPr algn="ctr"/>
            <a:r>
              <a:rPr lang="es-ES" sz="1100" b="1" dirty="0">
                <a:solidFill>
                  <a:srgbClr val="00567C"/>
                </a:solidFill>
                <a:latin typeface="+mj-lt"/>
              </a:rPr>
              <a:t>convencional</a:t>
            </a:r>
          </a:p>
        </p:txBody>
      </p:sp>
      <p:sp>
        <p:nvSpPr>
          <p:cNvPr id="62" name="Line 16"/>
          <p:cNvSpPr>
            <a:spLocks noChangeShapeType="1"/>
          </p:cNvSpPr>
          <p:nvPr/>
        </p:nvSpPr>
        <p:spPr bwMode="auto">
          <a:xfrm>
            <a:off x="4514373" y="4942835"/>
            <a:ext cx="0" cy="194136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63" name="Line 17"/>
          <p:cNvSpPr>
            <a:spLocks noChangeShapeType="1"/>
          </p:cNvSpPr>
          <p:nvPr/>
        </p:nvSpPr>
        <p:spPr bwMode="auto">
          <a:xfrm flipV="1">
            <a:off x="4883307" y="4942835"/>
            <a:ext cx="0" cy="194136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64" name="Line 18"/>
          <p:cNvSpPr>
            <a:spLocks noChangeShapeType="1"/>
          </p:cNvSpPr>
          <p:nvPr/>
        </p:nvSpPr>
        <p:spPr bwMode="auto">
          <a:xfrm flipV="1">
            <a:off x="3478380" y="3104850"/>
            <a:ext cx="432107" cy="1065591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65" name="Line 19"/>
          <p:cNvSpPr>
            <a:spLocks noChangeShapeType="1"/>
          </p:cNvSpPr>
          <p:nvPr/>
        </p:nvSpPr>
        <p:spPr bwMode="auto">
          <a:xfrm>
            <a:off x="4792933" y="4087389"/>
            <a:ext cx="0" cy="194137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66" name="Line 20"/>
          <p:cNvSpPr>
            <a:spLocks noChangeShapeType="1"/>
          </p:cNvSpPr>
          <p:nvPr/>
        </p:nvSpPr>
        <p:spPr bwMode="auto">
          <a:xfrm>
            <a:off x="2291192" y="4880485"/>
            <a:ext cx="244605" cy="192719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67" name="Line 21"/>
          <p:cNvSpPr>
            <a:spLocks noChangeShapeType="1"/>
          </p:cNvSpPr>
          <p:nvPr/>
        </p:nvSpPr>
        <p:spPr bwMode="auto">
          <a:xfrm flipH="1">
            <a:off x="1800632" y="4880485"/>
            <a:ext cx="183792" cy="192719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68" name="Oval 24"/>
          <p:cNvSpPr>
            <a:spLocks noChangeArrowheads="1"/>
          </p:cNvSpPr>
          <p:nvPr/>
        </p:nvSpPr>
        <p:spPr bwMode="auto">
          <a:xfrm>
            <a:off x="6948440" y="3530032"/>
            <a:ext cx="1584000" cy="2196000"/>
          </a:xfrm>
          <a:prstGeom prst="ellipse">
            <a:avLst/>
          </a:prstGeom>
          <a:noFill/>
          <a:ln w="9525">
            <a:solidFill>
              <a:srgbClr val="82BC0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69" name="Rectangle 53"/>
          <p:cNvSpPr>
            <a:spLocks noChangeArrowheads="1"/>
          </p:cNvSpPr>
          <p:nvPr/>
        </p:nvSpPr>
        <p:spPr bwMode="auto">
          <a:xfrm>
            <a:off x="4184124" y="2135428"/>
            <a:ext cx="1217619" cy="450623"/>
          </a:xfrm>
          <a:prstGeom prst="rect">
            <a:avLst/>
          </a:prstGeom>
          <a:noFill/>
          <a:ln w="9525">
            <a:solidFill>
              <a:srgbClr val="82BC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400" b="1" dirty="0" smtClean="0">
                <a:solidFill>
                  <a:srgbClr val="00567C"/>
                </a:solidFill>
                <a:latin typeface="+mj-lt"/>
              </a:rPr>
              <a:t>Licuefacción</a:t>
            </a:r>
            <a:endParaRPr lang="es-ES" sz="1400" b="1" dirty="0">
              <a:solidFill>
                <a:srgbClr val="00567C"/>
              </a:solidFill>
              <a:latin typeface="+mj-lt"/>
            </a:endParaRPr>
          </a:p>
        </p:txBody>
      </p:sp>
      <p:sp>
        <p:nvSpPr>
          <p:cNvPr id="70" name="Line 54"/>
          <p:cNvSpPr>
            <a:spLocks noChangeShapeType="1"/>
          </p:cNvSpPr>
          <p:nvPr/>
        </p:nvSpPr>
        <p:spPr bwMode="auto">
          <a:xfrm>
            <a:off x="4792933" y="3316994"/>
            <a:ext cx="0" cy="194137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74" name="Line 55"/>
          <p:cNvSpPr>
            <a:spLocks noChangeShapeType="1"/>
          </p:cNvSpPr>
          <p:nvPr/>
        </p:nvSpPr>
        <p:spPr bwMode="auto">
          <a:xfrm>
            <a:off x="1541909" y="4602742"/>
            <a:ext cx="233793" cy="0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75" name="Line 56"/>
          <p:cNvSpPr>
            <a:spLocks noChangeShapeType="1"/>
          </p:cNvSpPr>
          <p:nvPr/>
        </p:nvSpPr>
        <p:spPr bwMode="auto">
          <a:xfrm>
            <a:off x="2713914" y="4604159"/>
            <a:ext cx="233794" cy="0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76" name="Line 57"/>
          <p:cNvSpPr>
            <a:spLocks noChangeShapeType="1"/>
          </p:cNvSpPr>
          <p:nvPr/>
        </p:nvSpPr>
        <p:spPr bwMode="auto">
          <a:xfrm>
            <a:off x="4013000" y="4619747"/>
            <a:ext cx="233794" cy="0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77" name="Line 58"/>
          <p:cNvSpPr>
            <a:spLocks noChangeShapeType="1"/>
          </p:cNvSpPr>
          <p:nvPr/>
        </p:nvSpPr>
        <p:spPr bwMode="auto">
          <a:xfrm>
            <a:off x="5323297" y="4384516"/>
            <a:ext cx="1584000" cy="0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78" name="Line 59"/>
          <p:cNvSpPr>
            <a:spLocks noChangeShapeType="1"/>
          </p:cNvSpPr>
          <p:nvPr/>
        </p:nvSpPr>
        <p:spPr bwMode="auto">
          <a:xfrm>
            <a:off x="6667101" y="4619747"/>
            <a:ext cx="233794" cy="0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79" name="Line 60"/>
          <p:cNvSpPr>
            <a:spLocks noChangeShapeType="1"/>
          </p:cNvSpPr>
          <p:nvPr/>
        </p:nvSpPr>
        <p:spPr bwMode="auto">
          <a:xfrm>
            <a:off x="5260073" y="4619747"/>
            <a:ext cx="233794" cy="0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80" name="Rectangle 53"/>
          <p:cNvSpPr>
            <a:spLocks noChangeArrowheads="1"/>
          </p:cNvSpPr>
          <p:nvPr/>
        </p:nvSpPr>
        <p:spPr bwMode="auto">
          <a:xfrm>
            <a:off x="4184124" y="2840946"/>
            <a:ext cx="1217619" cy="450623"/>
          </a:xfrm>
          <a:prstGeom prst="rect">
            <a:avLst/>
          </a:prstGeom>
          <a:noFill/>
          <a:ln w="9525">
            <a:solidFill>
              <a:srgbClr val="82BC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400" b="1" dirty="0" smtClean="0">
                <a:solidFill>
                  <a:srgbClr val="00567C"/>
                </a:solidFill>
                <a:latin typeface="+mj-lt"/>
              </a:rPr>
              <a:t>Transporte en</a:t>
            </a:r>
          </a:p>
          <a:p>
            <a:pPr algn="ctr"/>
            <a:r>
              <a:rPr lang="es-ES" sz="1400" b="1" dirty="0" smtClean="0">
                <a:solidFill>
                  <a:srgbClr val="00567C"/>
                </a:solidFill>
                <a:latin typeface="+mj-lt"/>
              </a:rPr>
              <a:t>buques</a:t>
            </a:r>
            <a:endParaRPr lang="es-ES" sz="1400" b="1" dirty="0">
              <a:solidFill>
                <a:srgbClr val="00567C"/>
              </a:solidFill>
              <a:latin typeface="+mj-lt"/>
            </a:endParaRPr>
          </a:p>
        </p:txBody>
      </p:sp>
      <p:sp>
        <p:nvSpPr>
          <p:cNvPr id="81" name="Rectangle 53"/>
          <p:cNvSpPr>
            <a:spLocks noChangeArrowheads="1"/>
          </p:cNvSpPr>
          <p:nvPr/>
        </p:nvSpPr>
        <p:spPr bwMode="auto">
          <a:xfrm>
            <a:off x="3964713" y="2060848"/>
            <a:ext cx="1656442" cy="1993101"/>
          </a:xfrm>
          <a:prstGeom prst="rect">
            <a:avLst/>
          </a:prstGeom>
          <a:noFill/>
          <a:ln w="31750">
            <a:solidFill>
              <a:srgbClr val="82BC0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endParaRPr lang="es-ES" sz="1400" b="1" dirty="0">
              <a:latin typeface="+mj-lt"/>
            </a:endParaRPr>
          </a:p>
        </p:txBody>
      </p:sp>
      <p:sp>
        <p:nvSpPr>
          <p:cNvPr id="82" name="Line 54"/>
          <p:cNvSpPr>
            <a:spLocks noChangeShapeType="1"/>
          </p:cNvSpPr>
          <p:nvPr/>
        </p:nvSpPr>
        <p:spPr bwMode="auto">
          <a:xfrm>
            <a:off x="4792933" y="2614583"/>
            <a:ext cx="0" cy="194137"/>
          </a:xfrm>
          <a:prstGeom prst="line">
            <a:avLst/>
          </a:prstGeom>
          <a:noFill/>
          <a:ln w="31750">
            <a:solidFill>
              <a:srgbClr val="D2CFCD"/>
            </a:solidFill>
            <a:round/>
            <a:headEnd/>
            <a:tailEnd type="triangle" w="med" len="med"/>
          </a:ln>
          <a:effectLst/>
        </p:spPr>
        <p:txBody>
          <a:bodyPr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s-ES" dirty="0">
              <a:latin typeface="+mj-lt"/>
            </a:endParaRPr>
          </a:p>
        </p:txBody>
      </p:sp>
      <p:sp>
        <p:nvSpPr>
          <p:cNvPr id="83" name="Rectangle 8"/>
          <p:cNvSpPr>
            <a:spLocks noChangeArrowheads="1"/>
          </p:cNvSpPr>
          <p:nvPr/>
        </p:nvSpPr>
        <p:spPr bwMode="auto">
          <a:xfrm>
            <a:off x="5736142" y="2839103"/>
            <a:ext cx="394202" cy="4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es-E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es-ES" sz="1400" b="1" dirty="0" smtClean="0">
                <a:latin typeface="+mj-lt"/>
              </a:rPr>
              <a:t>GNL</a:t>
            </a:r>
            <a:endParaRPr lang="es-ES" sz="1400" b="1" dirty="0">
              <a:latin typeface="+mj-lt"/>
            </a:endParaRPr>
          </a:p>
        </p:txBody>
      </p:sp>
      <p:cxnSp>
        <p:nvCxnSpPr>
          <p:cNvPr id="73" name="72 Conector recto"/>
          <p:cNvCxnSpPr/>
          <p:nvPr/>
        </p:nvCxnSpPr>
        <p:spPr>
          <a:xfrm>
            <a:off x="289620" y="6359248"/>
            <a:ext cx="8530852" cy="9606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ctangle 122"/>
          <p:cNvSpPr>
            <a:spLocks noChangeAspect="1" noChangeArrowheads="1"/>
          </p:cNvSpPr>
          <p:nvPr/>
        </p:nvSpPr>
        <p:spPr bwMode="auto">
          <a:xfrm>
            <a:off x="5486896" y="635924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laboración propia]</a:t>
            </a:r>
          </a:p>
        </p:txBody>
      </p:sp>
      <p:sp>
        <p:nvSpPr>
          <p:cNvPr id="85" name="84 Rectángulo"/>
          <p:cNvSpPr/>
          <p:nvPr/>
        </p:nvSpPr>
        <p:spPr>
          <a:xfrm>
            <a:off x="281852" y="6139904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Esquema de cadena de valor del gas natural</a:t>
            </a:r>
          </a:p>
        </p:txBody>
      </p:sp>
    </p:spTree>
    <p:extLst>
      <p:ext uri="{BB962C8B-B14F-4D97-AF65-F5344CB8AC3E}">
        <p14:creationId xmlns:p14="http://schemas.microsoft.com/office/powerpoint/2010/main" val="793462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7546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360" name="think-cell Slide" r:id="rId329" imgW="270" imgH="270" progId="TCLayout.ActiveDocument.1">
                  <p:embed/>
                </p:oleObj>
              </mc:Choice>
              <mc:Fallback>
                <p:oleObj name="think-cell Slide" r:id="rId3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9ABE"/>
          </a:solidFill>
          <a:ln w="3175">
            <a:noFill/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bg1"/>
              </a:solidFill>
              <a:latin typeface="Pontano Sans" panose="020B0604020202020204" charset="0"/>
              <a:sym typeface="Pontano Sans" panose="020B0604020202020204" charset="0"/>
            </a:endParaRPr>
          </a:p>
        </p:txBody>
      </p:sp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31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251520" y="1052736"/>
            <a:ext cx="84969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Oriente Medio es la región con mayores reservas de gas natural en el mundo con un 43% seguido de la zona de Europa y Euroasia (31%)</a:t>
            </a:r>
            <a:endParaRPr lang="es-ES_tradnl" sz="1600" dirty="0" smtClean="0">
              <a:solidFill>
                <a:srgbClr val="40404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8244408" y="6429396"/>
            <a:ext cx="532894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4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79" name="178 Conector recto"/>
          <p:cNvCxnSpPr/>
          <p:nvPr/>
        </p:nvCxnSpPr>
        <p:spPr>
          <a:xfrm flipV="1">
            <a:off x="285720" y="1844824"/>
            <a:ext cx="8424936" cy="148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97 Rectángulo"/>
          <p:cNvSpPr/>
          <p:nvPr>
            <p:custDataLst>
              <p:tags r:id="rId4"/>
            </p:custDataLst>
          </p:nvPr>
        </p:nvSpPr>
        <p:spPr bwMode="gray">
          <a:xfrm>
            <a:off x="7502525" y="5935663"/>
            <a:ext cx="254000" cy="1222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100A341-5EDC-4522-82B0-3D3C9D77EF6B}" type="datetime'''''''''''1,0''''''''''''''''''''''''''8''''3'''''''''">
              <a:rPr lang="en-US" sz="800" smtClean="0">
                <a:solidFill>
                  <a:schemeClr val="bg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,083</a:t>
            </a:fld>
            <a:endParaRPr lang="en-US" sz="800" dirty="0">
              <a:solidFill>
                <a:schemeClr val="bg1"/>
              </a:solidFill>
              <a:latin typeface="Pontano Sans"/>
              <a:sym typeface="Pontano Sans"/>
            </a:endParaRPr>
          </a:p>
        </p:txBody>
      </p:sp>
      <p:sp>
        <p:nvSpPr>
          <p:cNvPr id="104" name="103 Rectángulo"/>
          <p:cNvSpPr/>
          <p:nvPr>
            <p:custDataLst>
              <p:tags r:id="rId5"/>
            </p:custDataLst>
          </p:nvPr>
        </p:nvSpPr>
        <p:spPr bwMode="gray">
          <a:xfrm>
            <a:off x="7569200" y="5626100"/>
            <a:ext cx="254000" cy="1222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4E93980-8762-4CEF-B018-CED310F49C7E}" type="datetime'''''''''''''''''''''1'''''''''''',''''0''3''5'">
              <a:rPr lang="en-US" sz="800" smtClean="0">
                <a:solidFill>
                  <a:schemeClr val="bg1"/>
                </a:solidFill>
                <a:latin typeface="Pontano Sans"/>
                <a:sym typeface="Pontano Sans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,035</a:t>
            </a:fld>
            <a:endParaRPr lang="en-US" sz="800" dirty="0">
              <a:solidFill>
                <a:schemeClr val="bg1"/>
              </a:solidFill>
              <a:latin typeface="Pontano Sans"/>
              <a:sym typeface="Pontano Sans"/>
            </a:endParaRPr>
          </a:p>
        </p:txBody>
      </p:sp>
      <p:pic>
        <p:nvPicPr>
          <p:cNvPr id="478" name="Picture 7"/>
          <p:cNvPicPr>
            <a:picLocks noChangeAspect="1" noChangeArrowheads="1"/>
          </p:cNvPicPr>
          <p:nvPr/>
        </p:nvPicPr>
        <p:blipFill>
          <a:blip r:embed="rId332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480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1" name="480 CuadroTexto"/>
          <p:cNvSpPr txBox="1"/>
          <p:nvPr/>
        </p:nvSpPr>
        <p:spPr>
          <a:xfrm>
            <a:off x="7380312" y="116632"/>
            <a:ext cx="15121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3. Aprovisionamiento de gas natural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492" name="Rectangle 122"/>
          <p:cNvSpPr>
            <a:spLocks noChangeAspect="1" noChangeArrowheads="1"/>
          </p:cNvSpPr>
          <p:nvPr/>
        </p:nvSpPr>
        <p:spPr bwMode="auto">
          <a:xfrm>
            <a:off x="5486896" y="635924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_tradnl" sz="700" dirty="0">
                <a:solidFill>
                  <a:srgbClr val="8A8A8D"/>
                </a:solidFill>
                <a:latin typeface="+mj-lt"/>
              </a:rPr>
              <a:t>BP </a:t>
            </a:r>
            <a:r>
              <a:rPr lang="es-ES_tradnl" sz="700" dirty="0">
                <a:solidFill>
                  <a:srgbClr val="8A8A8D"/>
                </a:solidFill>
                <a:latin typeface="+mj-lt"/>
              </a:rPr>
              <a:t>Statistical</a:t>
            </a:r>
            <a:r>
              <a:rPr lang="es-ES_tradnl" sz="700" dirty="0">
                <a:solidFill>
                  <a:srgbClr val="8A8A8D"/>
                </a:solidFill>
                <a:latin typeface="+mj-lt"/>
              </a:rPr>
              <a:t> </a:t>
            </a:r>
            <a:r>
              <a:rPr lang="es-ES_tradnl" sz="700" dirty="0">
                <a:solidFill>
                  <a:srgbClr val="8A8A8D"/>
                </a:solidFill>
                <a:latin typeface="+mj-lt"/>
              </a:rPr>
              <a:t>Review</a:t>
            </a:r>
            <a:r>
              <a:rPr lang="es-ES_tradnl" sz="700" dirty="0">
                <a:solidFill>
                  <a:srgbClr val="8A8A8D"/>
                </a:solidFill>
                <a:latin typeface="+mj-lt"/>
              </a:rPr>
              <a:t> of </a:t>
            </a:r>
            <a:r>
              <a:rPr lang="es-ES_tradnl" sz="700" dirty="0">
                <a:solidFill>
                  <a:srgbClr val="8A8A8D"/>
                </a:solidFill>
                <a:latin typeface="+mj-lt"/>
              </a:rPr>
              <a:t>World</a:t>
            </a:r>
            <a:r>
              <a:rPr lang="es-ES_tradnl" sz="700" dirty="0">
                <a:solidFill>
                  <a:srgbClr val="8A8A8D"/>
                </a:solidFill>
                <a:latin typeface="+mj-lt"/>
              </a:rPr>
              <a:t> </a:t>
            </a:r>
            <a:r>
              <a:rPr lang="es-ES_tradnl" sz="700" dirty="0">
                <a:solidFill>
                  <a:srgbClr val="8A8A8D"/>
                </a:solidFill>
                <a:latin typeface="+mj-lt"/>
              </a:rPr>
              <a:t>Energy</a:t>
            </a:r>
            <a:r>
              <a:rPr lang="es-ES_tradnl" sz="700" dirty="0">
                <a:solidFill>
                  <a:srgbClr val="8A8A8D"/>
                </a:solidFill>
                <a:latin typeface="+mj-lt"/>
              </a:rPr>
              <a:t> June 2013  y elaboración propia]</a:t>
            </a:r>
            <a:endParaRPr lang="es-ES_tradnl" sz="700" dirty="0" smtClean="0">
              <a:solidFill>
                <a:srgbClr val="8A8A8D"/>
              </a:solidFill>
              <a:latin typeface="+mj-lt"/>
            </a:endParaRPr>
          </a:p>
        </p:txBody>
      </p:sp>
      <p:cxnSp>
        <p:nvCxnSpPr>
          <p:cNvPr id="493" name="492 Conector recto"/>
          <p:cNvCxnSpPr/>
          <p:nvPr/>
        </p:nvCxnSpPr>
        <p:spPr>
          <a:xfrm>
            <a:off x="289620" y="6359248"/>
            <a:ext cx="8530852" cy="9606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4" name="493 Rectángulo"/>
          <p:cNvSpPr/>
          <p:nvPr/>
        </p:nvSpPr>
        <p:spPr>
          <a:xfrm>
            <a:off x="281852" y="6139904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Reservas, producción y consumo de gas natural en el mundo</a:t>
            </a:r>
          </a:p>
        </p:txBody>
      </p:sp>
      <p:graphicFrame>
        <p:nvGraphicFramePr>
          <p:cNvPr id="479" name="11 Objeto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03850284"/>
              </p:ext>
            </p:extLst>
          </p:nvPr>
        </p:nvGraphicFramePr>
        <p:xfrm>
          <a:off x="419099" y="2933700"/>
          <a:ext cx="1381190" cy="17525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361" name="Chart" r:id="rId333" imgW="1381190" imgH="1752570" progId="MSGraph.Chart.8">
                  <p:embed followColorScheme="full"/>
                </p:oleObj>
              </mc:Choice>
              <mc:Fallback>
                <p:oleObj name="Chart" r:id="rId333" imgW="1381190" imgH="175257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9099" y="2933700"/>
                        <a:ext cx="1381190" cy="17525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7" name="15 Rectángulo"/>
          <p:cNvSpPr/>
          <p:nvPr>
            <p:custDataLst>
              <p:tags r:id="rId7"/>
            </p:custDataLst>
          </p:nvPr>
        </p:nvSpPr>
        <p:spPr bwMode="auto">
          <a:xfrm>
            <a:off x="912813" y="3600450"/>
            <a:ext cx="6683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540D0C4-C762-429E-B3CC-E38C02DFC761}" type="datetime'''As''''''''''''''i''a'''' ''Pa''''c''''í''''f''i''co''''''''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Asia Pacífico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482" name="16 Rectángulo"/>
          <p:cNvSpPr/>
          <p:nvPr>
            <p:custDataLst>
              <p:tags r:id="rId8"/>
            </p:custDataLst>
          </p:nvPr>
        </p:nvSpPr>
        <p:spPr bwMode="auto">
          <a:xfrm>
            <a:off x="912813" y="3338513"/>
            <a:ext cx="9731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F26249B-290B-4A9A-AABA-8C30999DE400}" type="datetime'''E''u''ro''p''a'''''''''' ''''''&amp; ''Eu''ro''''''a''''s''ia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Europa &amp; Euroasia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484" name="17 Rectángulo"/>
          <p:cNvSpPr/>
          <p:nvPr>
            <p:custDataLst>
              <p:tags r:id="rId9"/>
            </p:custDataLst>
          </p:nvPr>
        </p:nvSpPr>
        <p:spPr bwMode="auto">
          <a:xfrm>
            <a:off x="912813" y="3081338"/>
            <a:ext cx="73818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DBCCD57-35B4-4929-AB82-FD27B362A055}" type="datetime'Or''''''''i''''''''''en''''t''''''e'''''' Me''''d''io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Oriente Medio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483" name="12 Rectángulo"/>
          <p:cNvSpPr/>
          <p:nvPr>
            <p:custDataLst>
              <p:tags r:id="rId10"/>
            </p:custDataLst>
          </p:nvPr>
        </p:nvSpPr>
        <p:spPr bwMode="auto">
          <a:xfrm>
            <a:off x="912813" y="4376738"/>
            <a:ext cx="11430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FE9D047E-8CF3-40AC-B161-75F8869243F3}" type="datetime'''''''''Su''r'''''''''' &amp;'' C''e''''''''''''ntro Am''érica''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Sur &amp; Centro América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485" name="13 Rectángulo"/>
          <p:cNvSpPr/>
          <p:nvPr>
            <p:custDataLst>
              <p:tags r:id="rId11"/>
            </p:custDataLst>
          </p:nvPr>
        </p:nvSpPr>
        <p:spPr bwMode="auto">
          <a:xfrm>
            <a:off x="912813" y="4119563"/>
            <a:ext cx="7556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2B6BA08-842F-4518-BA68-688C2D0E3A43}" type="datetime'''''N''''or''t''''''''e A''''m''''''''ér''''i''c''''''a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Norte América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486" name="14 Rectángulo"/>
          <p:cNvSpPr/>
          <p:nvPr>
            <p:custDataLst>
              <p:tags r:id="rId12"/>
            </p:custDataLst>
          </p:nvPr>
        </p:nvSpPr>
        <p:spPr bwMode="auto">
          <a:xfrm>
            <a:off x="912813" y="3862388"/>
            <a:ext cx="3000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C069B00-3B7F-468C-9A4A-A2811058DFAC}" type="datetime'Á''''''''''''''''f''''''r''''''''''i''''''c''''a''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África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graphicFrame>
        <p:nvGraphicFramePr>
          <p:cNvPr id="796" name="11 Objeto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36898364"/>
              </p:ext>
            </p:extLst>
          </p:nvPr>
        </p:nvGraphicFramePr>
        <p:xfrm>
          <a:off x="419099" y="2933700"/>
          <a:ext cx="1381190" cy="17525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362" name="Chart" r:id="rId335" imgW="1381190" imgH="1752570" progId="MSGraph.Chart.8">
                  <p:embed followColorScheme="full"/>
                </p:oleObj>
              </mc:Choice>
              <mc:Fallback>
                <p:oleObj name="Chart" r:id="rId335" imgW="1381190" imgH="175257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9099" y="2933700"/>
                        <a:ext cx="1381190" cy="17525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0" name="13 Rectángulo"/>
          <p:cNvSpPr/>
          <p:nvPr>
            <p:custDataLst>
              <p:tags r:id="rId14"/>
            </p:custDataLst>
          </p:nvPr>
        </p:nvSpPr>
        <p:spPr bwMode="auto">
          <a:xfrm>
            <a:off x="912813" y="4119563"/>
            <a:ext cx="75565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9D823227-51BB-4AF4-8383-45DFC3B13DCD}" type="datetime'''''''''''''No''r''t''''''e'' A''m''''é''''''''''''ric''''''a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Norte América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798" name="12 Rectángulo"/>
          <p:cNvSpPr/>
          <p:nvPr>
            <p:custDataLst>
              <p:tags r:id="rId15"/>
            </p:custDataLst>
          </p:nvPr>
        </p:nvSpPr>
        <p:spPr bwMode="auto">
          <a:xfrm>
            <a:off x="912813" y="4376738"/>
            <a:ext cx="11430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509EB32-0603-42C2-86A9-0B5104CF4F5C}" type="datetime'''Su''''''''''''r'''' ''&amp;'' Ce''ntro ''''''''Améri''ca''''''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Sur &amp; Centro América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801" name="14 Rectángulo"/>
          <p:cNvSpPr/>
          <p:nvPr>
            <p:custDataLst>
              <p:tags r:id="rId16"/>
            </p:custDataLst>
          </p:nvPr>
        </p:nvSpPr>
        <p:spPr bwMode="auto">
          <a:xfrm>
            <a:off x="912813" y="3862388"/>
            <a:ext cx="3000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6A9E9CD-2806-4CC7-BB10-3DEEA917CA64}" type="datetime'''''''Áf''''''r''''''''''''''''''''''i''''''''''ca''''''''''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África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797" name="16 Rectángulo"/>
          <p:cNvSpPr/>
          <p:nvPr>
            <p:custDataLst>
              <p:tags r:id="rId17"/>
            </p:custDataLst>
          </p:nvPr>
        </p:nvSpPr>
        <p:spPr bwMode="auto">
          <a:xfrm>
            <a:off x="912813" y="3338513"/>
            <a:ext cx="9731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3DFCF4D-9CD3-4221-889F-26797D391F3A}" type="datetime'''Eur''''op''a'''' ''&amp; E''''ur''''''''oa''s''''''''''ia''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Europa &amp; Euroasia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799" name="17 Rectángulo"/>
          <p:cNvSpPr/>
          <p:nvPr>
            <p:custDataLst>
              <p:tags r:id="rId18"/>
            </p:custDataLst>
          </p:nvPr>
        </p:nvSpPr>
        <p:spPr bwMode="auto">
          <a:xfrm>
            <a:off x="912813" y="3081338"/>
            <a:ext cx="73818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864776A-7ED0-4C8D-B740-BAAA73D47BB0}" type="datetime'O''ri''''''''''''''e''n''t''''e ''''''''''''''M''''e''''dio''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Oriente Medio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802" name="15 Rectángulo"/>
          <p:cNvSpPr/>
          <p:nvPr>
            <p:custDataLst>
              <p:tags r:id="rId19"/>
            </p:custDataLst>
          </p:nvPr>
        </p:nvSpPr>
        <p:spPr bwMode="auto">
          <a:xfrm>
            <a:off x="912813" y="3600450"/>
            <a:ext cx="668338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29FB7BD-BCDE-448C-BED9-41FC58B6909C}" type="datetime'A''''''''''''''''''s''''ia'''' Pac''í''''f''''''''''''i''co'''">
              <a:rPr lang="en-US" altLang="en-US" sz="1000" b="1" i="1">
                <a:solidFill>
                  <a:schemeClr val="tx1"/>
                </a:solidFill>
                <a:latin typeface="+mj-lt"/>
                <a:sym typeface="+mj-lt"/>
              </a:rPr>
              <a:pPr/>
              <a:t>Asia Pacífico</a:t>
            </a:fld>
            <a:endParaRPr lang="en-US" sz="1000" b="1" i="1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grpSp>
        <p:nvGrpSpPr>
          <p:cNvPr id="803" name="33 Grupo"/>
          <p:cNvGrpSpPr/>
          <p:nvPr>
            <p:custDataLst>
              <p:tags r:id="rId20"/>
            </p:custDataLst>
          </p:nvPr>
        </p:nvGrpSpPr>
        <p:grpSpPr>
          <a:xfrm>
            <a:off x="1856972" y="1847720"/>
            <a:ext cx="5583138" cy="3140255"/>
            <a:chOff x="1331640" y="522034"/>
            <a:chExt cx="6463536" cy="3627046"/>
          </a:xfrm>
        </p:grpSpPr>
        <p:grpSp>
          <p:nvGrpSpPr>
            <p:cNvPr id="804" name="347 Grupo"/>
            <p:cNvGrpSpPr/>
            <p:nvPr>
              <p:custDataLst>
                <p:tags r:id="rId30"/>
              </p:custDataLst>
            </p:nvPr>
          </p:nvGrpSpPr>
          <p:grpSpPr>
            <a:xfrm>
              <a:off x="1331640" y="522034"/>
              <a:ext cx="6463536" cy="3627046"/>
              <a:chOff x="1331640" y="1484784"/>
              <a:chExt cx="6463536" cy="3627046"/>
            </a:xfrm>
          </p:grpSpPr>
          <p:sp>
            <p:nvSpPr>
              <p:cNvPr id="811" name="Freeform 5"/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3026475" y="2805305"/>
                <a:ext cx="40938" cy="19884"/>
              </a:xfrm>
              <a:custGeom>
                <a:avLst/>
                <a:gdLst/>
                <a:ahLst/>
                <a:cxnLst>
                  <a:cxn ang="0">
                    <a:pos x="1" y="7"/>
                  </a:cxn>
                  <a:cxn ang="0">
                    <a:pos x="1" y="6"/>
                  </a:cxn>
                  <a:cxn ang="0">
                    <a:pos x="4" y="4"/>
                  </a:cxn>
                  <a:cxn ang="0">
                    <a:pos x="8" y="4"/>
                  </a:cxn>
                  <a:cxn ang="0">
                    <a:pos x="12" y="2"/>
                  </a:cxn>
                  <a:cxn ang="0">
                    <a:pos x="14" y="2"/>
                  </a:cxn>
                  <a:cxn ang="0">
                    <a:pos x="14" y="4"/>
                  </a:cxn>
                  <a:cxn ang="0">
                    <a:pos x="17" y="2"/>
                  </a:cxn>
                  <a:cxn ang="0">
                    <a:pos x="17" y="2"/>
                  </a:cxn>
                  <a:cxn ang="0">
                    <a:pos x="11" y="6"/>
                  </a:cxn>
                  <a:cxn ang="0">
                    <a:pos x="8" y="7"/>
                  </a:cxn>
                  <a:cxn ang="0">
                    <a:pos x="4" y="7"/>
                  </a:cxn>
                  <a:cxn ang="0">
                    <a:pos x="1" y="9"/>
                  </a:cxn>
                  <a:cxn ang="0">
                    <a:pos x="1" y="7"/>
                  </a:cxn>
                </a:cxnLst>
                <a:rect l="0" t="0" r="r" b="b"/>
                <a:pathLst>
                  <a:path w="18" h="9">
                    <a:moveTo>
                      <a:pt x="1" y="7"/>
                    </a:moveTo>
                    <a:cubicBezTo>
                      <a:pt x="0" y="7"/>
                      <a:pt x="0" y="7"/>
                      <a:pt x="1" y="6"/>
                    </a:cubicBezTo>
                    <a:cubicBezTo>
                      <a:pt x="4" y="4"/>
                      <a:pt x="3" y="4"/>
                      <a:pt x="4" y="4"/>
                    </a:cubicBezTo>
                    <a:cubicBezTo>
                      <a:pt x="6" y="4"/>
                      <a:pt x="6" y="4"/>
                      <a:pt x="8" y="4"/>
                    </a:cubicBezTo>
                    <a:cubicBezTo>
                      <a:pt x="9" y="2"/>
                      <a:pt x="11" y="4"/>
                      <a:pt x="12" y="2"/>
                    </a:cubicBezTo>
                    <a:cubicBezTo>
                      <a:pt x="15" y="0"/>
                      <a:pt x="17" y="0"/>
                      <a:pt x="14" y="2"/>
                    </a:cubicBezTo>
                    <a:cubicBezTo>
                      <a:pt x="12" y="4"/>
                      <a:pt x="12" y="4"/>
                      <a:pt x="14" y="4"/>
                    </a:cubicBezTo>
                    <a:cubicBezTo>
                      <a:pt x="15" y="2"/>
                      <a:pt x="15" y="4"/>
                      <a:pt x="17" y="2"/>
                    </a:cubicBezTo>
                    <a:cubicBezTo>
                      <a:pt x="18" y="2"/>
                      <a:pt x="18" y="2"/>
                      <a:pt x="17" y="2"/>
                    </a:cubicBezTo>
                    <a:cubicBezTo>
                      <a:pt x="15" y="4"/>
                      <a:pt x="12" y="6"/>
                      <a:pt x="11" y="6"/>
                    </a:cubicBezTo>
                    <a:cubicBezTo>
                      <a:pt x="9" y="6"/>
                      <a:pt x="9" y="7"/>
                      <a:pt x="8" y="7"/>
                    </a:cubicBezTo>
                    <a:cubicBezTo>
                      <a:pt x="6" y="7"/>
                      <a:pt x="4" y="7"/>
                      <a:pt x="4" y="7"/>
                    </a:cubicBezTo>
                    <a:cubicBezTo>
                      <a:pt x="4" y="9"/>
                      <a:pt x="1" y="9"/>
                      <a:pt x="1" y="9"/>
                    </a:cubicBezTo>
                    <a:cubicBezTo>
                      <a:pt x="3" y="7"/>
                      <a:pt x="3" y="7"/>
                      <a:pt x="1" y="7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12" name="Freeform 6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757571" y="2505878"/>
                <a:ext cx="326335" cy="222231"/>
              </a:xfrm>
              <a:custGeom>
                <a:avLst/>
                <a:gdLst/>
                <a:ahLst/>
                <a:cxnLst>
                  <a:cxn ang="0">
                    <a:pos x="14" y="19"/>
                  </a:cxn>
                  <a:cxn ang="0">
                    <a:pos x="14" y="27"/>
                  </a:cxn>
                  <a:cxn ang="0">
                    <a:pos x="6" y="41"/>
                  </a:cxn>
                  <a:cxn ang="0">
                    <a:pos x="3" y="46"/>
                  </a:cxn>
                  <a:cxn ang="0">
                    <a:pos x="5" y="53"/>
                  </a:cxn>
                  <a:cxn ang="0">
                    <a:pos x="6" y="55"/>
                  </a:cxn>
                  <a:cxn ang="0">
                    <a:pos x="12" y="55"/>
                  </a:cxn>
                  <a:cxn ang="0">
                    <a:pos x="24" y="58"/>
                  </a:cxn>
                  <a:cxn ang="0">
                    <a:pos x="37" y="52"/>
                  </a:cxn>
                  <a:cxn ang="0">
                    <a:pos x="52" y="53"/>
                  </a:cxn>
                  <a:cxn ang="0">
                    <a:pos x="56" y="58"/>
                  </a:cxn>
                  <a:cxn ang="0">
                    <a:pos x="61" y="67"/>
                  </a:cxn>
                  <a:cxn ang="0">
                    <a:pos x="62" y="74"/>
                  </a:cxn>
                  <a:cxn ang="0">
                    <a:pos x="55" y="75"/>
                  </a:cxn>
                  <a:cxn ang="0">
                    <a:pos x="49" y="84"/>
                  </a:cxn>
                  <a:cxn ang="0">
                    <a:pos x="56" y="86"/>
                  </a:cxn>
                  <a:cxn ang="0">
                    <a:pos x="59" y="83"/>
                  </a:cxn>
                  <a:cxn ang="0">
                    <a:pos x="68" y="74"/>
                  </a:cxn>
                  <a:cxn ang="0">
                    <a:pos x="78" y="70"/>
                  </a:cxn>
                  <a:cxn ang="0">
                    <a:pos x="82" y="72"/>
                  </a:cxn>
                  <a:cxn ang="0">
                    <a:pos x="81" y="77"/>
                  </a:cxn>
                  <a:cxn ang="0">
                    <a:pos x="91" y="78"/>
                  </a:cxn>
                  <a:cxn ang="0">
                    <a:pos x="91" y="91"/>
                  </a:cxn>
                  <a:cxn ang="0">
                    <a:pos x="100" y="92"/>
                  </a:cxn>
                  <a:cxn ang="0">
                    <a:pos x="113" y="89"/>
                  </a:cxn>
                  <a:cxn ang="0">
                    <a:pos x="111" y="84"/>
                  </a:cxn>
                  <a:cxn ang="0">
                    <a:pos x="102" y="75"/>
                  </a:cxn>
                  <a:cxn ang="0">
                    <a:pos x="111" y="70"/>
                  </a:cxn>
                  <a:cxn ang="0">
                    <a:pos x="128" y="66"/>
                  </a:cxn>
                  <a:cxn ang="0">
                    <a:pos x="141" y="55"/>
                  </a:cxn>
                  <a:cxn ang="0">
                    <a:pos x="141" y="46"/>
                  </a:cxn>
                  <a:cxn ang="0">
                    <a:pos x="143" y="41"/>
                  </a:cxn>
                  <a:cxn ang="0">
                    <a:pos x="138" y="35"/>
                  </a:cxn>
                  <a:cxn ang="0">
                    <a:pos x="125" y="30"/>
                  </a:cxn>
                  <a:cxn ang="0">
                    <a:pos x="108" y="27"/>
                  </a:cxn>
                  <a:cxn ang="0">
                    <a:pos x="99" y="16"/>
                  </a:cxn>
                  <a:cxn ang="0">
                    <a:pos x="97" y="8"/>
                  </a:cxn>
                  <a:cxn ang="0">
                    <a:pos x="88" y="3"/>
                  </a:cxn>
                  <a:cxn ang="0">
                    <a:pos x="76" y="5"/>
                  </a:cxn>
                  <a:cxn ang="0">
                    <a:pos x="65" y="14"/>
                  </a:cxn>
                  <a:cxn ang="0">
                    <a:pos x="53" y="13"/>
                  </a:cxn>
                  <a:cxn ang="0">
                    <a:pos x="38" y="10"/>
                  </a:cxn>
                  <a:cxn ang="0">
                    <a:pos x="15" y="11"/>
                  </a:cxn>
                </a:cxnLst>
                <a:rect l="0" t="0" r="r" b="b"/>
                <a:pathLst>
                  <a:path w="144" h="98">
                    <a:moveTo>
                      <a:pt x="12" y="13"/>
                    </a:moveTo>
                    <a:cubicBezTo>
                      <a:pt x="14" y="16"/>
                      <a:pt x="11" y="14"/>
                      <a:pt x="14" y="19"/>
                    </a:cubicBezTo>
                    <a:cubicBezTo>
                      <a:pt x="20" y="24"/>
                      <a:pt x="14" y="21"/>
                      <a:pt x="15" y="22"/>
                    </a:cubicBezTo>
                    <a:cubicBezTo>
                      <a:pt x="17" y="24"/>
                      <a:pt x="18" y="25"/>
                      <a:pt x="14" y="27"/>
                    </a:cubicBezTo>
                    <a:cubicBezTo>
                      <a:pt x="12" y="27"/>
                      <a:pt x="8" y="32"/>
                      <a:pt x="6" y="35"/>
                    </a:cubicBezTo>
                    <a:cubicBezTo>
                      <a:pt x="3" y="38"/>
                      <a:pt x="6" y="39"/>
                      <a:pt x="6" y="41"/>
                    </a:cubicBezTo>
                    <a:cubicBezTo>
                      <a:pt x="5" y="42"/>
                      <a:pt x="9" y="44"/>
                      <a:pt x="3" y="42"/>
                    </a:cubicBezTo>
                    <a:cubicBezTo>
                      <a:pt x="5" y="44"/>
                      <a:pt x="3" y="44"/>
                      <a:pt x="3" y="46"/>
                    </a:cubicBezTo>
                    <a:cubicBezTo>
                      <a:pt x="3" y="47"/>
                      <a:pt x="2" y="46"/>
                      <a:pt x="0" y="50"/>
                    </a:cubicBezTo>
                    <a:cubicBezTo>
                      <a:pt x="5" y="52"/>
                      <a:pt x="3" y="55"/>
                      <a:pt x="5" y="53"/>
                    </a:cubicBezTo>
                    <a:cubicBezTo>
                      <a:pt x="6" y="53"/>
                      <a:pt x="6" y="55"/>
                      <a:pt x="6" y="55"/>
                    </a:cubicBezTo>
                    <a:cubicBezTo>
                      <a:pt x="6" y="55"/>
                      <a:pt x="6" y="55"/>
                      <a:pt x="6" y="55"/>
                    </a:cubicBezTo>
                    <a:cubicBezTo>
                      <a:pt x="8" y="55"/>
                      <a:pt x="8" y="56"/>
                      <a:pt x="8" y="55"/>
                    </a:cubicBezTo>
                    <a:cubicBezTo>
                      <a:pt x="9" y="53"/>
                      <a:pt x="9" y="55"/>
                      <a:pt x="12" y="55"/>
                    </a:cubicBezTo>
                    <a:cubicBezTo>
                      <a:pt x="17" y="55"/>
                      <a:pt x="17" y="56"/>
                      <a:pt x="18" y="56"/>
                    </a:cubicBezTo>
                    <a:cubicBezTo>
                      <a:pt x="21" y="55"/>
                      <a:pt x="21" y="60"/>
                      <a:pt x="24" y="58"/>
                    </a:cubicBezTo>
                    <a:cubicBezTo>
                      <a:pt x="26" y="56"/>
                      <a:pt x="24" y="56"/>
                      <a:pt x="29" y="56"/>
                    </a:cubicBezTo>
                    <a:cubicBezTo>
                      <a:pt x="34" y="55"/>
                      <a:pt x="32" y="53"/>
                      <a:pt x="37" y="52"/>
                    </a:cubicBezTo>
                    <a:cubicBezTo>
                      <a:pt x="38" y="50"/>
                      <a:pt x="41" y="50"/>
                      <a:pt x="43" y="50"/>
                    </a:cubicBezTo>
                    <a:cubicBezTo>
                      <a:pt x="44" y="49"/>
                      <a:pt x="50" y="53"/>
                      <a:pt x="52" y="53"/>
                    </a:cubicBezTo>
                    <a:cubicBezTo>
                      <a:pt x="53" y="52"/>
                      <a:pt x="53" y="56"/>
                      <a:pt x="56" y="55"/>
                    </a:cubicBezTo>
                    <a:cubicBezTo>
                      <a:pt x="58" y="55"/>
                      <a:pt x="58" y="56"/>
                      <a:pt x="56" y="58"/>
                    </a:cubicBezTo>
                    <a:cubicBezTo>
                      <a:pt x="55" y="61"/>
                      <a:pt x="58" y="63"/>
                      <a:pt x="59" y="63"/>
                    </a:cubicBezTo>
                    <a:cubicBezTo>
                      <a:pt x="61" y="63"/>
                      <a:pt x="58" y="66"/>
                      <a:pt x="61" y="67"/>
                    </a:cubicBezTo>
                    <a:cubicBezTo>
                      <a:pt x="64" y="69"/>
                      <a:pt x="61" y="72"/>
                      <a:pt x="62" y="74"/>
                    </a:cubicBezTo>
                    <a:cubicBezTo>
                      <a:pt x="65" y="74"/>
                      <a:pt x="62" y="75"/>
                      <a:pt x="62" y="74"/>
                    </a:cubicBezTo>
                    <a:cubicBezTo>
                      <a:pt x="61" y="74"/>
                      <a:pt x="58" y="75"/>
                      <a:pt x="56" y="74"/>
                    </a:cubicBezTo>
                    <a:cubicBezTo>
                      <a:pt x="55" y="72"/>
                      <a:pt x="53" y="74"/>
                      <a:pt x="55" y="75"/>
                    </a:cubicBezTo>
                    <a:cubicBezTo>
                      <a:pt x="56" y="78"/>
                      <a:pt x="50" y="81"/>
                      <a:pt x="52" y="83"/>
                    </a:cubicBezTo>
                    <a:cubicBezTo>
                      <a:pt x="52" y="84"/>
                      <a:pt x="50" y="84"/>
                      <a:pt x="49" y="84"/>
                    </a:cubicBezTo>
                    <a:cubicBezTo>
                      <a:pt x="52" y="88"/>
                      <a:pt x="53" y="88"/>
                      <a:pt x="53" y="88"/>
                    </a:cubicBezTo>
                    <a:cubicBezTo>
                      <a:pt x="53" y="86"/>
                      <a:pt x="55" y="88"/>
                      <a:pt x="56" y="86"/>
                    </a:cubicBezTo>
                    <a:cubicBezTo>
                      <a:pt x="56" y="84"/>
                      <a:pt x="59" y="84"/>
                      <a:pt x="61" y="88"/>
                    </a:cubicBezTo>
                    <a:cubicBezTo>
                      <a:pt x="61" y="84"/>
                      <a:pt x="61" y="86"/>
                      <a:pt x="59" y="83"/>
                    </a:cubicBezTo>
                    <a:cubicBezTo>
                      <a:pt x="59" y="80"/>
                      <a:pt x="61" y="83"/>
                      <a:pt x="64" y="81"/>
                    </a:cubicBezTo>
                    <a:cubicBezTo>
                      <a:pt x="67" y="78"/>
                      <a:pt x="68" y="77"/>
                      <a:pt x="68" y="74"/>
                    </a:cubicBezTo>
                    <a:cubicBezTo>
                      <a:pt x="68" y="70"/>
                      <a:pt x="73" y="72"/>
                      <a:pt x="75" y="70"/>
                    </a:cubicBezTo>
                    <a:cubicBezTo>
                      <a:pt x="76" y="70"/>
                      <a:pt x="78" y="72"/>
                      <a:pt x="78" y="70"/>
                    </a:cubicBezTo>
                    <a:cubicBezTo>
                      <a:pt x="78" y="67"/>
                      <a:pt x="78" y="64"/>
                      <a:pt x="79" y="67"/>
                    </a:cubicBezTo>
                    <a:cubicBezTo>
                      <a:pt x="79" y="70"/>
                      <a:pt x="78" y="72"/>
                      <a:pt x="82" y="72"/>
                    </a:cubicBezTo>
                    <a:cubicBezTo>
                      <a:pt x="79" y="74"/>
                      <a:pt x="76" y="70"/>
                      <a:pt x="76" y="72"/>
                    </a:cubicBezTo>
                    <a:cubicBezTo>
                      <a:pt x="75" y="74"/>
                      <a:pt x="81" y="75"/>
                      <a:pt x="81" y="77"/>
                    </a:cubicBezTo>
                    <a:cubicBezTo>
                      <a:pt x="81" y="78"/>
                      <a:pt x="87" y="77"/>
                      <a:pt x="88" y="77"/>
                    </a:cubicBezTo>
                    <a:cubicBezTo>
                      <a:pt x="90" y="78"/>
                      <a:pt x="91" y="75"/>
                      <a:pt x="91" y="78"/>
                    </a:cubicBezTo>
                    <a:cubicBezTo>
                      <a:pt x="93" y="81"/>
                      <a:pt x="82" y="83"/>
                      <a:pt x="82" y="86"/>
                    </a:cubicBezTo>
                    <a:cubicBezTo>
                      <a:pt x="84" y="88"/>
                      <a:pt x="91" y="86"/>
                      <a:pt x="91" y="91"/>
                    </a:cubicBezTo>
                    <a:cubicBezTo>
                      <a:pt x="91" y="95"/>
                      <a:pt x="88" y="92"/>
                      <a:pt x="91" y="95"/>
                    </a:cubicBezTo>
                    <a:cubicBezTo>
                      <a:pt x="94" y="98"/>
                      <a:pt x="97" y="94"/>
                      <a:pt x="100" y="92"/>
                    </a:cubicBezTo>
                    <a:cubicBezTo>
                      <a:pt x="103" y="91"/>
                      <a:pt x="102" y="94"/>
                      <a:pt x="105" y="91"/>
                    </a:cubicBezTo>
                    <a:cubicBezTo>
                      <a:pt x="108" y="86"/>
                      <a:pt x="108" y="91"/>
                      <a:pt x="113" y="89"/>
                    </a:cubicBezTo>
                    <a:cubicBezTo>
                      <a:pt x="117" y="88"/>
                      <a:pt x="113" y="89"/>
                      <a:pt x="114" y="86"/>
                    </a:cubicBezTo>
                    <a:cubicBezTo>
                      <a:pt x="116" y="84"/>
                      <a:pt x="114" y="83"/>
                      <a:pt x="111" y="84"/>
                    </a:cubicBezTo>
                    <a:cubicBezTo>
                      <a:pt x="106" y="86"/>
                      <a:pt x="106" y="89"/>
                      <a:pt x="103" y="83"/>
                    </a:cubicBezTo>
                    <a:cubicBezTo>
                      <a:pt x="99" y="77"/>
                      <a:pt x="100" y="77"/>
                      <a:pt x="102" y="75"/>
                    </a:cubicBezTo>
                    <a:cubicBezTo>
                      <a:pt x="106" y="74"/>
                      <a:pt x="102" y="78"/>
                      <a:pt x="105" y="77"/>
                    </a:cubicBezTo>
                    <a:cubicBezTo>
                      <a:pt x="106" y="75"/>
                      <a:pt x="110" y="70"/>
                      <a:pt x="111" y="70"/>
                    </a:cubicBezTo>
                    <a:cubicBezTo>
                      <a:pt x="116" y="72"/>
                      <a:pt x="123" y="66"/>
                      <a:pt x="125" y="66"/>
                    </a:cubicBezTo>
                    <a:cubicBezTo>
                      <a:pt x="128" y="66"/>
                      <a:pt x="126" y="67"/>
                      <a:pt x="128" y="66"/>
                    </a:cubicBezTo>
                    <a:cubicBezTo>
                      <a:pt x="126" y="56"/>
                      <a:pt x="132" y="61"/>
                      <a:pt x="132" y="58"/>
                    </a:cubicBezTo>
                    <a:cubicBezTo>
                      <a:pt x="134" y="55"/>
                      <a:pt x="140" y="58"/>
                      <a:pt x="141" y="55"/>
                    </a:cubicBezTo>
                    <a:cubicBezTo>
                      <a:pt x="143" y="53"/>
                      <a:pt x="141" y="50"/>
                      <a:pt x="140" y="49"/>
                    </a:cubicBezTo>
                    <a:cubicBezTo>
                      <a:pt x="138" y="47"/>
                      <a:pt x="140" y="46"/>
                      <a:pt x="141" y="46"/>
                    </a:cubicBezTo>
                    <a:cubicBezTo>
                      <a:pt x="144" y="46"/>
                      <a:pt x="143" y="44"/>
                      <a:pt x="141" y="44"/>
                    </a:cubicBezTo>
                    <a:cubicBezTo>
                      <a:pt x="140" y="44"/>
                      <a:pt x="140" y="42"/>
                      <a:pt x="143" y="41"/>
                    </a:cubicBezTo>
                    <a:cubicBezTo>
                      <a:pt x="144" y="39"/>
                      <a:pt x="143" y="39"/>
                      <a:pt x="143" y="36"/>
                    </a:cubicBezTo>
                    <a:cubicBezTo>
                      <a:pt x="143" y="35"/>
                      <a:pt x="140" y="38"/>
                      <a:pt x="138" y="35"/>
                    </a:cubicBezTo>
                    <a:cubicBezTo>
                      <a:pt x="137" y="32"/>
                      <a:pt x="134" y="35"/>
                      <a:pt x="132" y="33"/>
                    </a:cubicBezTo>
                    <a:cubicBezTo>
                      <a:pt x="129" y="28"/>
                      <a:pt x="128" y="33"/>
                      <a:pt x="125" y="30"/>
                    </a:cubicBezTo>
                    <a:cubicBezTo>
                      <a:pt x="122" y="28"/>
                      <a:pt x="123" y="24"/>
                      <a:pt x="119" y="27"/>
                    </a:cubicBezTo>
                    <a:cubicBezTo>
                      <a:pt x="113" y="30"/>
                      <a:pt x="113" y="25"/>
                      <a:pt x="108" y="27"/>
                    </a:cubicBezTo>
                    <a:cubicBezTo>
                      <a:pt x="105" y="28"/>
                      <a:pt x="108" y="22"/>
                      <a:pt x="105" y="19"/>
                    </a:cubicBezTo>
                    <a:cubicBezTo>
                      <a:pt x="102" y="14"/>
                      <a:pt x="102" y="17"/>
                      <a:pt x="99" y="16"/>
                    </a:cubicBezTo>
                    <a:cubicBezTo>
                      <a:pt x="96" y="16"/>
                      <a:pt x="99" y="16"/>
                      <a:pt x="96" y="13"/>
                    </a:cubicBezTo>
                    <a:cubicBezTo>
                      <a:pt x="94" y="11"/>
                      <a:pt x="100" y="10"/>
                      <a:pt x="97" y="8"/>
                    </a:cubicBezTo>
                    <a:cubicBezTo>
                      <a:pt x="93" y="7"/>
                      <a:pt x="96" y="0"/>
                      <a:pt x="93" y="3"/>
                    </a:cubicBezTo>
                    <a:cubicBezTo>
                      <a:pt x="90" y="5"/>
                      <a:pt x="91" y="0"/>
                      <a:pt x="88" y="3"/>
                    </a:cubicBezTo>
                    <a:cubicBezTo>
                      <a:pt x="85" y="5"/>
                      <a:pt x="82" y="2"/>
                      <a:pt x="82" y="5"/>
                    </a:cubicBezTo>
                    <a:cubicBezTo>
                      <a:pt x="81" y="8"/>
                      <a:pt x="78" y="7"/>
                      <a:pt x="76" y="5"/>
                    </a:cubicBezTo>
                    <a:cubicBezTo>
                      <a:pt x="70" y="5"/>
                      <a:pt x="68" y="8"/>
                      <a:pt x="68" y="13"/>
                    </a:cubicBezTo>
                    <a:cubicBezTo>
                      <a:pt x="68" y="17"/>
                      <a:pt x="67" y="17"/>
                      <a:pt x="65" y="14"/>
                    </a:cubicBezTo>
                    <a:cubicBezTo>
                      <a:pt x="64" y="14"/>
                      <a:pt x="61" y="14"/>
                      <a:pt x="59" y="14"/>
                    </a:cubicBezTo>
                    <a:cubicBezTo>
                      <a:pt x="56" y="16"/>
                      <a:pt x="58" y="10"/>
                      <a:pt x="53" y="13"/>
                    </a:cubicBezTo>
                    <a:cubicBezTo>
                      <a:pt x="50" y="16"/>
                      <a:pt x="55" y="11"/>
                      <a:pt x="46" y="11"/>
                    </a:cubicBezTo>
                    <a:cubicBezTo>
                      <a:pt x="40" y="11"/>
                      <a:pt x="43" y="10"/>
                      <a:pt x="38" y="10"/>
                    </a:cubicBezTo>
                    <a:cubicBezTo>
                      <a:pt x="35" y="11"/>
                      <a:pt x="34" y="7"/>
                      <a:pt x="23" y="8"/>
                    </a:cubicBezTo>
                    <a:cubicBezTo>
                      <a:pt x="14" y="10"/>
                      <a:pt x="18" y="13"/>
                      <a:pt x="15" y="11"/>
                    </a:cubicBezTo>
                    <a:cubicBezTo>
                      <a:pt x="14" y="11"/>
                      <a:pt x="12" y="13"/>
                      <a:pt x="12" y="1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13" name="Freeform 7"/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3913077" y="2090657"/>
                <a:ext cx="204691" cy="106437"/>
              </a:xfrm>
              <a:custGeom>
                <a:avLst/>
                <a:gdLst/>
                <a:ahLst/>
                <a:cxnLst>
                  <a:cxn ang="0">
                    <a:pos x="81" y="13"/>
                  </a:cxn>
                  <a:cxn ang="0">
                    <a:pos x="86" y="16"/>
                  </a:cxn>
                  <a:cxn ang="0">
                    <a:pos x="89" y="25"/>
                  </a:cxn>
                  <a:cxn ang="0">
                    <a:pos x="83" y="30"/>
                  </a:cxn>
                  <a:cxn ang="0">
                    <a:pos x="72" y="34"/>
                  </a:cxn>
                  <a:cxn ang="0">
                    <a:pos x="60" y="41"/>
                  </a:cxn>
                  <a:cxn ang="0">
                    <a:pos x="51" y="45"/>
                  </a:cxn>
                  <a:cxn ang="0">
                    <a:pos x="40" y="44"/>
                  </a:cxn>
                  <a:cxn ang="0">
                    <a:pos x="26" y="39"/>
                  </a:cxn>
                  <a:cxn ang="0">
                    <a:pos x="17" y="37"/>
                  </a:cxn>
                  <a:cxn ang="0">
                    <a:pos x="22" y="36"/>
                  </a:cxn>
                  <a:cxn ang="0">
                    <a:pos x="20" y="30"/>
                  </a:cxn>
                  <a:cxn ang="0">
                    <a:pos x="17" y="27"/>
                  </a:cxn>
                  <a:cxn ang="0">
                    <a:pos x="7" y="25"/>
                  </a:cxn>
                  <a:cxn ang="0">
                    <a:pos x="14" y="24"/>
                  </a:cxn>
                  <a:cxn ang="0">
                    <a:pos x="22" y="24"/>
                  </a:cxn>
                  <a:cxn ang="0">
                    <a:pos x="19" y="20"/>
                  </a:cxn>
                  <a:cxn ang="0">
                    <a:pos x="20" y="17"/>
                  </a:cxn>
                  <a:cxn ang="0">
                    <a:pos x="10" y="17"/>
                  </a:cxn>
                  <a:cxn ang="0">
                    <a:pos x="2" y="16"/>
                  </a:cxn>
                  <a:cxn ang="0">
                    <a:pos x="5" y="14"/>
                  </a:cxn>
                  <a:cxn ang="0">
                    <a:pos x="8" y="11"/>
                  </a:cxn>
                  <a:cxn ang="0">
                    <a:pos x="13" y="8"/>
                  </a:cxn>
                  <a:cxn ang="0">
                    <a:pos x="20" y="10"/>
                  </a:cxn>
                  <a:cxn ang="0">
                    <a:pos x="13" y="6"/>
                  </a:cxn>
                  <a:cxn ang="0">
                    <a:pos x="19" y="3"/>
                  </a:cxn>
                  <a:cxn ang="0">
                    <a:pos x="26" y="8"/>
                  </a:cxn>
                  <a:cxn ang="0">
                    <a:pos x="28" y="16"/>
                  </a:cxn>
                  <a:cxn ang="0">
                    <a:pos x="34" y="14"/>
                  </a:cxn>
                  <a:cxn ang="0">
                    <a:pos x="36" y="11"/>
                  </a:cxn>
                  <a:cxn ang="0">
                    <a:pos x="39" y="10"/>
                  </a:cxn>
                  <a:cxn ang="0">
                    <a:pos x="43" y="11"/>
                  </a:cxn>
                  <a:cxn ang="0">
                    <a:pos x="49" y="8"/>
                  </a:cxn>
                  <a:cxn ang="0">
                    <a:pos x="52" y="10"/>
                  </a:cxn>
                  <a:cxn ang="0">
                    <a:pos x="57" y="10"/>
                  </a:cxn>
                  <a:cxn ang="0">
                    <a:pos x="63" y="6"/>
                  </a:cxn>
                  <a:cxn ang="0">
                    <a:pos x="66" y="5"/>
                  </a:cxn>
                  <a:cxn ang="0">
                    <a:pos x="72" y="3"/>
                  </a:cxn>
                  <a:cxn ang="0">
                    <a:pos x="78" y="5"/>
                  </a:cxn>
                  <a:cxn ang="0">
                    <a:pos x="80" y="6"/>
                  </a:cxn>
                  <a:cxn ang="0">
                    <a:pos x="81" y="11"/>
                  </a:cxn>
                  <a:cxn ang="0">
                    <a:pos x="81" y="13"/>
                  </a:cxn>
                </a:cxnLst>
                <a:rect l="0" t="0" r="r" b="b"/>
                <a:pathLst>
                  <a:path w="90" h="47">
                    <a:moveTo>
                      <a:pt x="81" y="13"/>
                    </a:moveTo>
                    <a:cubicBezTo>
                      <a:pt x="84" y="13"/>
                      <a:pt x="83" y="14"/>
                      <a:pt x="86" y="16"/>
                    </a:cubicBezTo>
                    <a:cubicBezTo>
                      <a:pt x="90" y="16"/>
                      <a:pt x="90" y="22"/>
                      <a:pt x="89" y="25"/>
                    </a:cubicBezTo>
                    <a:cubicBezTo>
                      <a:pt x="86" y="28"/>
                      <a:pt x="86" y="25"/>
                      <a:pt x="83" y="30"/>
                    </a:cubicBezTo>
                    <a:cubicBezTo>
                      <a:pt x="80" y="34"/>
                      <a:pt x="77" y="31"/>
                      <a:pt x="72" y="34"/>
                    </a:cubicBezTo>
                    <a:cubicBezTo>
                      <a:pt x="66" y="37"/>
                      <a:pt x="64" y="41"/>
                      <a:pt x="60" y="41"/>
                    </a:cubicBezTo>
                    <a:cubicBezTo>
                      <a:pt x="54" y="41"/>
                      <a:pt x="57" y="44"/>
                      <a:pt x="51" y="45"/>
                    </a:cubicBezTo>
                    <a:cubicBezTo>
                      <a:pt x="45" y="47"/>
                      <a:pt x="46" y="44"/>
                      <a:pt x="40" y="44"/>
                    </a:cubicBezTo>
                    <a:cubicBezTo>
                      <a:pt x="34" y="44"/>
                      <a:pt x="34" y="39"/>
                      <a:pt x="26" y="39"/>
                    </a:cubicBezTo>
                    <a:cubicBezTo>
                      <a:pt x="19" y="39"/>
                      <a:pt x="17" y="41"/>
                      <a:pt x="17" y="37"/>
                    </a:cubicBezTo>
                    <a:cubicBezTo>
                      <a:pt x="16" y="34"/>
                      <a:pt x="20" y="39"/>
                      <a:pt x="22" y="36"/>
                    </a:cubicBezTo>
                    <a:cubicBezTo>
                      <a:pt x="23" y="34"/>
                      <a:pt x="23" y="31"/>
                      <a:pt x="20" y="30"/>
                    </a:cubicBezTo>
                    <a:cubicBezTo>
                      <a:pt x="19" y="30"/>
                      <a:pt x="22" y="27"/>
                      <a:pt x="17" y="27"/>
                    </a:cubicBezTo>
                    <a:cubicBezTo>
                      <a:pt x="10" y="25"/>
                      <a:pt x="7" y="28"/>
                      <a:pt x="7" y="25"/>
                    </a:cubicBezTo>
                    <a:cubicBezTo>
                      <a:pt x="7" y="24"/>
                      <a:pt x="11" y="25"/>
                      <a:pt x="14" y="24"/>
                    </a:cubicBezTo>
                    <a:cubicBezTo>
                      <a:pt x="16" y="22"/>
                      <a:pt x="17" y="25"/>
                      <a:pt x="22" y="24"/>
                    </a:cubicBezTo>
                    <a:cubicBezTo>
                      <a:pt x="26" y="20"/>
                      <a:pt x="19" y="24"/>
                      <a:pt x="19" y="20"/>
                    </a:cubicBezTo>
                    <a:cubicBezTo>
                      <a:pt x="19" y="19"/>
                      <a:pt x="26" y="17"/>
                      <a:pt x="20" y="17"/>
                    </a:cubicBezTo>
                    <a:cubicBezTo>
                      <a:pt x="14" y="16"/>
                      <a:pt x="14" y="16"/>
                      <a:pt x="10" y="17"/>
                    </a:cubicBezTo>
                    <a:cubicBezTo>
                      <a:pt x="5" y="19"/>
                      <a:pt x="0" y="16"/>
                      <a:pt x="2" y="16"/>
                    </a:cubicBezTo>
                    <a:cubicBezTo>
                      <a:pt x="4" y="14"/>
                      <a:pt x="7" y="16"/>
                      <a:pt x="5" y="14"/>
                    </a:cubicBezTo>
                    <a:cubicBezTo>
                      <a:pt x="5" y="11"/>
                      <a:pt x="8" y="14"/>
                      <a:pt x="8" y="11"/>
                    </a:cubicBezTo>
                    <a:cubicBezTo>
                      <a:pt x="8" y="8"/>
                      <a:pt x="10" y="5"/>
                      <a:pt x="13" y="8"/>
                    </a:cubicBezTo>
                    <a:cubicBezTo>
                      <a:pt x="16" y="10"/>
                      <a:pt x="22" y="13"/>
                      <a:pt x="20" y="10"/>
                    </a:cubicBezTo>
                    <a:cubicBezTo>
                      <a:pt x="19" y="8"/>
                      <a:pt x="14" y="8"/>
                      <a:pt x="13" y="6"/>
                    </a:cubicBezTo>
                    <a:cubicBezTo>
                      <a:pt x="11" y="5"/>
                      <a:pt x="14" y="2"/>
                      <a:pt x="19" y="3"/>
                    </a:cubicBezTo>
                    <a:cubicBezTo>
                      <a:pt x="23" y="5"/>
                      <a:pt x="20" y="5"/>
                      <a:pt x="26" y="8"/>
                    </a:cubicBezTo>
                    <a:cubicBezTo>
                      <a:pt x="31" y="11"/>
                      <a:pt x="26" y="11"/>
                      <a:pt x="28" y="16"/>
                    </a:cubicBezTo>
                    <a:cubicBezTo>
                      <a:pt x="31" y="22"/>
                      <a:pt x="31" y="11"/>
                      <a:pt x="34" y="14"/>
                    </a:cubicBezTo>
                    <a:cubicBezTo>
                      <a:pt x="36" y="17"/>
                      <a:pt x="37" y="14"/>
                      <a:pt x="36" y="11"/>
                    </a:cubicBezTo>
                    <a:cubicBezTo>
                      <a:pt x="34" y="10"/>
                      <a:pt x="37" y="5"/>
                      <a:pt x="39" y="10"/>
                    </a:cubicBezTo>
                    <a:cubicBezTo>
                      <a:pt x="42" y="14"/>
                      <a:pt x="43" y="14"/>
                      <a:pt x="43" y="11"/>
                    </a:cubicBezTo>
                    <a:cubicBezTo>
                      <a:pt x="43" y="8"/>
                      <a:pt x="49" y="5"/>
                      <a:pt x="49" y="8"/>
                    </a:cubicBezTo>
                    <a:cubicBezTo>
                      <a:pt x="51" y="11"/>
                      <a:pt x="52" y="13"/>
                      <a:pt x="52" y="10"/>
                    </a:cubicBezTo>
                    <a:cubicBezTo>
                      <a:pt x="52" y="6"/>
                      <a:pt x="54" y="5"/>
                      <a:pt x="57" y="10"/>
                    </a:cubicBezTo>
                    <a:cubicBezTo>
                      <a:pt x="60" y="13"/>
                      <a:pt x="60" y="5"/>
                      <a:pt x="63" y="6"/>
                    </a:cubicBezTo>
                    <a:cubicBezTo>
                      <a:pt x="66" y="8"/>
                      <a:pt x="68" y="6"/>
                      <a:pt x="66" y="5"/>
                    </a:cubicBezTo>
                    <a:cubicBezTo>
                      <a:pt x="64" y="2"/>
                      <a:pt x="71" y="0"/>
                      <a:pt x="72" y="3"/>
                    </a:cubicBezTo>
                    <a:cubicBezTo>
                      <a:pt x="75" y="10"/>
                      <a:pt x="75" y="5"/>
                      <a:pt x="78" y="5"/>
                    </a:cubicBezTo>
                    <a:cubicBezTo>
                      <a:pt x="81" y="3"/>
                      <a:pt x="83" y="3"/>
                      <a:pt x="80" y="6"/>
                    </a:cubicBezTo>
                    <a:cubicBezTo>
                      <a:pt x="75" y="10"/>
                      <a:pt x="84" y="6"/>
                      <a:pt x="81" y="11"/>
                    </a:cubicBezTo>
                    <a:cubicBezTo>
                      <a:pt x="80" y="11"/>
                      <a:pt x="80" y="13"/>
                      <a:pt x="81" y="1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14" name="Freeform 8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168063" y="2426342"/>
                <a:ext cx="83046" cy="115794"/>
              </a:xfrm>
              <a:custGeom>
                <a:avLst/>
                <a:gdLst/>
                <a:ahLst/>
                <a:cxnLst>
                  <a:cxn ang="0">
                    <a:pos x="24" y="9"/>
                  </a:cxn>
                  <a:cxn ang="0">
                    <a:pos x="22" y="12"/>
                  </a:cxn>
                  <a:cxn ang="0">
                    <a:pos x="28" y="16"/>
                  </a:cxn>
                  <a:cxn ang="0">
                    <a:pos x="30" y="14"/>
                  </a:cxn>
                  <a:cxn ang="0">
                    <a:pos x="31" y="17"/>
                  </a:cxn>
                  <a:cxn ang="0">
                    <a:pos x="34" y="17"/>
                  </a:cxn>
                  <a:cxn ang="0">
                    <a:pos x="34" y="19"/>
                  </a:cxn>
                  <a:cxn ang="0">
                    <a:pos x="36" y="23"/>
                  </a:cxn>
                  <a:cxn ang="0">
                    <a:pos x="36" y="36"/>
                  </a:cxn>
                  <a:cxn ang="0">
                    <a:pos x="33" y="40"/>
                  </a:cxn>
                  <a:cxn ang="0">
                    <a:pos x="28" y="40"/>
                  </a:cxn>
                  <a:cxn ang="0">
                    <a:pos x="19" y="45"/>
                  </a:cxn>
                  <a:cxn ang="0">
                    <a:pos x="18" y="47"/>
                  </a:cxn>
                  <a:cxn ang="0">
                    <a:pos x="7" y="48"/>
                  </a:cxn>
                  <a:cxn ang="0">
                    <a:pos x="6" y="47"/>
                  </a:cxn>
                  <a:cxn ang="0">
                    <a:pos x="4" y="44"/>
                  </a:cxn>
                  <a:cxn ang="0">
                    <a:pos x="3" y="40"/>
                  </a:cxn>
                  <a:cxn ang="0">
                    <a:pos x="7" y="39"/>
                  </a:cxn>
                  <a:cxn ang="0">
                    <a:pos x="12" y="36"/>
                  </a:cxn>
                  <a:cxn ang="0">
                    <a:pos x="13" y="34"/>
                  </a:cxn>
                  <a:cxn ang="0">
                    <a:pos x="7" y="34"/>
                  </a:cxn>
                  <a:cxn ang="0">
                    <a:pos x="12" y="30"/>
                  </a:cxn>
                  <a:cxn ang="0">
                    <a:pos x="10" y="28"/>
                  </a:cxn>
                  <a:cxn ang="0">
                    <a:pos x="6" y="23"/>
                  </a:cxn>
                  <a:cxn ang="0">
                    <a:pos x="9" y="20"/>
                  </a:cxn>
                  <a:cxn ang="0">
                    <a:pos x="6" y="17"/>
                  </a:cxn>
                  <a:cxn ang="0">
                    <a:pos x="4" y="16"/>
                  </a:cxn>
                  <a:cxn ang="0">
                    <a:pos x="12" y="16"/>
                  </a:cxn>
                  <a:cxn ang="0">
                    <a:pos x="15" y="16"/>
                  </a:cxn>
                  <a:cxn ang="0">
                    <a:pos x="19" y="12"/>
                  </a:cxn>
                  <a:cxn ang="0">
                    <a:pos x="15" y="11"/>
                  </a:cxn>
                  <a:cxn ang="0">
                    <a:pos x="18" y="6"/>
                  </a:cxn>
                  <a:cxn ang="0">
                    <a:pos x="24" y="3"/>
                  </a:cxn>
                  <a:cxn ang="0">
                    <a:pos x="28" y="1"/>
                  </a:cxn>
                  <a:cxn ang="0">
                    <a:pos x="28" y="5"/>
                  </a:cxn>
                  <a:cxn ang="0">
                    <a:pos x="24" y="9"/>
                  </a:cxn>
                </a:cxnLst>
                <a:rect l="0" t="0" r="r" b="b"/>
                <a:pathLst>
                  <a:path w="37" h="51">
                    <a:moveTo>
                      <a:pt x="24" y="9"/>
                    </a:moveTo>
                    <a:cubicBezTo>
                      <a:pt x="21" y="9"/>
                      <a:pt x="25" y="11"/>
                      <a:pt x="22" y="12"/>
                    </a:cubicBezTo>
                    <a:cubicBezTo>
                      <a:pt x="18" y="14"/>
                      <a:pt x="28" y="19"/>
                      <a:pt x="28" y="16"/>
                    </a:cubicBezTo>
                    <a:cubicBezTo>
                      <a:pt x="28" y="14"/>
                      <a:pt x="30" y="12"/>
                      <a:pt x="30" y="14"/>
                    </a:cubicBezTo>
                    <a:cubicBezTo>
                      <a:pt x="31" y="17"/>
                      <a:pt x="31" y="16"/>
                      <a:pt x="31" y="17"/>
                    </a:cubicBezTo>
                    <a:cubicBezTo>
                      <a:pt x="33" y="19"/>
                      <a:pt x="33" y="17"/>
                      <a:pt x="34" y="17"/>
                    </a:cubicBezTo>
                    <a:cubicBezTo>
                      <a:pt x="36" y="17"/>
                      <a:pt x="36" y="19"/>
                      <a:pt x="34" y="19"/>
                    </a:cubicBezTo>
                    <a:cubicBezTo>
                      <a:pt x="34" y="19"/>
                      <a:pt x="34" y="20"/>
                      <a:pt x="36" y="23"/>
                    </a:cubicBezTo>
                    <a:cubicBezTo>
                      <a:pt x="37" y="26"/>
                      <a:pt x="37" y="31"/>
                      <a:pt x="36" y="36"/>
                    </a:cubicBezTo>
                    <a:cubicBezTo>
                      <a:pt x="33" y="40"/>
                      <a:pt x="36" y="40"/>
                      <a:pt x="33" y="40"/>
                    </a:cubicBezTo>
                    <a:cubicBezTo>
                      <a:pt x="30" y="40"/>
                      <a:pt x="31" y="40"/>
                      <a:pt x="28" y="40"/>
                    </a:cubicBezTo>
                    <a:cubicBezTo>
                      <a:pt x="24" y="42"/>
                      <a:pt x="21" y="47"/>
                      <a:pt x="19" y="45"/>
                    </a:cubicBezTo>
                    <a:cubicBezTo>
                      <a:pt x="19" y="42"/>
                      <a:pt x="19" y="45"/>
                      <a:pt x="18" y="47"/>
                    </a:cubicBezTo>
                    <a:cubicBezTo>
                      <a:pt x="18" y="48"/>
                      <a:pt x="4" y="51"/>
                      <a:pt x="7" y="48"/>
                    </a:cubicBezTo>
                    <a:cubicBezTo>
                      <a:pt x="12" y="44"/>
                      <a:pt x="3" y="50"/>
                      <a:pt x="6" y="47"/>
                    </a:cubicBezTo>
                    <a:cubicBezTo>
                      <a:pt x="7" y="44"/>
                      <a:pt x="0" y="47"/>
                      <a:pt x="4" y="44"/>
                    </a:cubicBezTo>
                    <a:cubicBezTo>
                      <a:pt x="7" y="39"/>
                      <a:pt x="0" y="44"/>
                      <a:pt x="3" y="40"/>
                    </a:cubicBezTo>
                    <a:cubicBezTo>
                      <a:pt x="6" y="37"/>
                      <a:pt x="9" y="40"/>
                      <a:pt x="7" y="39"/>
                    </a:cubicBezTo>
                    <a:cubicBezTo>
                      <a:pt x="6" y="37"/>
                      <a:pt x="7" y="36"/>
                      <a:pt x="12" y="36"/>
                    </a:cubicBezTo>
                    <a:cubicBezTo>
                      <a:pt x="16" y="36"/>
                      <a:pt x="15" y="34"/>
                      <a:pt x="13" y="34"/>
                    </a:cubicBezTo>
                    <a:cubicBezTo>
                      <a:pt x="12" y="34"/>
                      <a:pt x="3" y="37"/>
                      <a:pt x="7" y="34"/>
                    </a:cubicBezTo>
                    <a:cubicBezTo>
                      <a:pt x="12" y="31"/>
                      <a:pt x="7" y="30"/>
                      <a:pt x="12" y="30"/>
                    </a:cubicBezTo>
                    <a:cubicBezTo>
                      <a:pt x="16" y="28"/>
                      <a:pt x="12" y="26"/>
                      <a:pt x="10" y="28"/>
                    </a:cubicBezTo>
                    <a:cubicBezTo>
                      <a:pt x="9" y="28"/>
                      <a:pt x="3" y="25"/>
                      <a:pt x="6" y="23"/>
                    </a:cubicBezTo>
                    <a:cubicBezTo>
                      <a:pt x="7" y="22"/>
                      <a:pt x="6" y="22"/>
                      <a:pt x="9" y="20"/>
                    </a:cubicBezTo>
                    <a:cubicBezTo>
                      <a:pt x="12" y="19"/>
                      <a:pt x="3" y="20"/>
                      <a:pt x="6" y="17"/>
                    </a:cubicBezTo>
                    <a:cubicBezTo>
                      <a:pt x="7" y="16"/>
                      <a:pt x="4" y="17"/>
                      <a:pt x="4" y="16"/>
                    </a:cubicBezTo>
                    <a:cubicBezTo>
                      <a:pt x="6" y="14"/>
                      <a:pt x="9" y="14"/>
                      <a:pt x="12" y="16"/>
                    </a:cubicBezTo>
                    <a:cubicBezTo>
                      <a:pt x="13" y="16"/>
                      <a:pt x="13" y="14"/>
                      <a:pt x="15" y="16"/>
                    </a:cubicBezTo>
                    <a:cubicBezTo>
                      <a:pt x="18" y="16"/>
                      <a:pt x="16" y="14"/>
                      <a:pt x="19" y="12"/>
                    </a:cubicBezTo>
                    <a:cubicBezTo>
                      <a:pt x="22" y="9"/>
                      <a:pt x="16" y="11"/>
                      <a:pt x="15" y="11"/>
                    </a:cubicBezTo>
                    <a:cubicBezTo>
                      <a:pt x="15" y="9"/>
                      <a:pt x="19" y="9"/>
                      <a:pt x="18" y="6"/>
                    </a:cubicBezTo>
                    <a:cubicBezTo>
                      <a:pt x="18" y="5"/>
                      <a:pt x="22" y="3"/>
                      <a:pt x="24" y="3"/>
                    </a:cubicBezTo>
                    <a:cubicBezTo>
                      <a:pt x="27" y="3"/>
                      <a:pt x="25" y="0"/>
                      <a:pt x="28" y="1"/>
                    </a:cubicBezTo>
                    <a:cubicBezTo>
                      <a:pt x="31" y="3"/>
                      <a:pt x="28" y="3"/>
                      <a:pt x="28" y="5"/>
                    </a:cubicBezTo>
                    <a:cubicBezTo>
                      <a:pt x="25" y="6"/>
                      <a:pt x="27" y="9"/>
                      <a:pt x="24" y="9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15" name="Freeform 9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940096" y="2517574"/>
                <a:ext cx="582490" cy="280713"/>
              </a:xfrm>
              <a:custGeom>
                <a:avLst/>
                <a:gdLst/>
                <a:ahLst/>
                <a:cxnLst>
                  <a:cxn ang="0">
                    <a:pos x="230" y="28"/>
                  </a:cxn>
                  <a:cxn ang="0">
                    <a:pos x="222" y="48"/>
                  </a:cxn>
                  <a:cxn ang="0">
                    <a:pos x="225" y="53"/>
                  </a:cxn>
                  <a:cxn ang="0">
                    <a:pos x="234" y="53"/>
                  </a:cxn>
                  <a:cxn ang="0">
                    <a:pos x="240" y="50"/>
                  </a:cxn>
                  <a:cxn ang="0">
                    <a:pos x="251" y="56"/>
                  </a:cxn>
                  <a:cxn ang="0">
                    <a:pos x="255" y="65"/>
                  </a:cxn>
                  <a:cxn ang="0">
                    <a:pos x="246" y="65"/>
                  </a:cxn>
                  <a:cxn ang="0">
                    <a:pos x="239" y="65"/>
                  </a:cxn>
                  <a:cxn ang="0">
                    <a:pos x="228" y="70"/>
                  </a:cxn>
                  <a:cxn ang="0">
                    <a:pos x="225" y="76"/>
                  </a:cxn>
                  <a:cxn ang="0">
                    <a:pos x="216" y="80"/>
                  </a:cxn>
                  <a:cxn ang="0">
                    <a:pos x="207" y="87"/>
                  </a:cxn>
                  <a:cxn ang="0">
                    <a:pos x="192" y="84"/>
                  </a:cxn>
                  <a:cxn ang="0">
                    <a:pos x="189" y="92"/>
                  </a:cxn>
                  <a:cxn ang="0">
                    <a:pos x="192" y="100"/>
                  </a:cxn>
                  <a:cxn ang="0">
                    <a:pos x="181" y="107"/>
                  </a:cxn>
                  <a:cxn ang="0">
                    <a:pos x="173" y="114"/>
                  </a:cxn>
                  <a:cxn ang="0">
                    <a:pos x="169" y="114"/>
                  </a:cxn>
                  <a:cxn ang="0">
                    <a:pos x="160" y="114"/>
                  </a:cxn>
                  <a:cxn ang="0">
                    <a:pos x="154" y="115"/>
                  </a:cxn>
                  <a:cxn ang="0">
                    <a:pos x="138" y="123"/>
                  </a:cxn>
                  <a:cxn ang="0">
                    <a:pos x="134" y="123"/>
                  </a:cxn>
                  <a:cxn ang="0">
                    <a:pos x="131" y="120"/>
                  </a:cxn>
                  <a:cxn ang="0">
                    <a:pos x="117" y="117"/>
                  </a:cxn>
                  <a:cxn ang="0">
                    <a:pos x="100" y="111"/>
                  </a:cxn>
                  <a:cxn ang="0">
                    <a:pos x="75" y="111"/>
                  </a:cxn>
                  <a:cxn ang="0">
                    <a:pos x="69" y="109"/>
                  </a:cxn>
                  <a:cxn ang="0">
                    <a:pos x="64" y="100"/>
                  </a:cxn>
                  <a:cxn ang="0">
                    <a:pos x="55" y="92"/>
                  </a:cxn>
                  <a:cxn ang="0">
                    <a:pos x="38" y="84"/>
                  </a:cxn>
                  <a:cxn ang="0">
                    <a:pos x="27" y="83"/>
                  </a:cxn>
                  <a:cxn ang="0">
                    <a:pos x="24" y="76"/>
                  </a:cxn>
                  <a:cxn ang="0">
                    <a:pos x="26" y="67"/>
                  </a:cxn>
                  <a:cxn ang="0">
                    <a:pos x="18" y="52"/>
                  </a:cxn>
                  <a:cxn ang="0">
                    <a:pos x="15" y="50"/>
                  </a:cxn>
                  <a:cxn ang="0">
                    <a:pos x="9" y="48"/>
                  </a:cxn>
                  <a:cxn ang="0">
                    <a:pos x="2" y="36"/>
                  </a:cxn>
                  <a:cxn ang="0">
                    <a:pos x="12" y="31"/>
                  </a:cxn>
                  <a:cxn ang="0">
                    <a:pos x="21" y="24"/>
                  </a:cxn>
                  <a:cxn ang="0">
                    <a:pos x="41" y="19"/>
                  </a:cxn>
                  <a:cxn ang="0">
                    <a:pos x="53" y="22"/>
                  </a:cxn>
                  <a:cxn ang="0">
                    <a:pos x="84" y="24"/>
                  </a:cxn>
                  <a:cxn ang="0">
                    <a:pos x="82" y="10"/>
                  </a:cxn>
                  <a:cxn ang="0">
                    <a:pos x="99" y="5"/>
                  </a:cxn>
                  <a:cxn ang="0">
                    <a:pos x="116" y="13"/>
                  </a:cxn>
                  <a:cxn ang="0">
                    <a:pos x="131" y="24"/>
                  </a:cxn>
                  <a:cxn ang="0">
                    <a:pos x="152" y="25"/>
                  </a:cxn>
                  <a:cxn ang="0">
                    <a:pos x="170" y="35"/>
                  </a:cxn>
                  <a:cxn ang="0">
                    <a:pos x="195" y="33"/>
                  </a:cxn>
                  <a:cxn ang="0">
                    <a:pos x="214" y="24"/>
                  </a:cxn>
                  <a:cxn ang="0">
                    <a:pos x="230" y="28"/>
                  </a:cxn>
                </a:cxnLst>
                <a:rect l="0" t="0" r="r" b="b"/>
                <a:pathLst>
                  <a:path w="257" h="124">
                    <a:moveTo>
                      <a:pt x="230" y="28"/>
                    </a:moveTo>
                    <a:cubicBezTo>
                      <a:pt x="219" y="50"/>
                      <a:pt x="225" y="45"/>
                      <a:pt x="222" y="48"/>
                    </a:cubicBezTo>
                    <a:cubicBezTo>
                      <a:pt x="219" y="50"/>
                      <a:pt x="223" y="55"/>
                      <a:pt x="225" y="53"/>
                    </a:cubicBezTo>
                    <a:cubicBezTo>
                      <a:pt x="227" y="52"/>
                      <a:pt x="231" y="52"/>
                      <a:pt x="234" y="53"/>
                    </a:cubicBezTo>
                    <a:cubicBezTo>
                      <a:pt x="237" y="56"/>
                      <a:pt x="234" y="50"/>
                      <a:pt x="240" y="50"/>
                    </a:cubicBezTo>
                    <a:cubicBezTo>
                      <a:pt x="246" y="50"/>
                      <a:pt x="248" y="53"/>
                      <a:pt x="251" y="56"/>
                    </a:cubicBezTo>
                    <a:cubicBezTo>
                      <a:pt x="254" y="59"/>
                      <a:pt x="257" y="64"/>
                      <a:pt x="255" y="65"/>
                    </a:cubicBezTo>
                    <a:cubicBezTo>
                      <a:pt x="252" y="67"/>
                      <a:pt x="248" y="64"/>
                      <a:pt x="246" y="65"/>
                    </a:cubicBezTo>
                    <a:cubicBezTo>
                      <a:pt x="245" y="67"/>
                      <a:pt x="243" y="64"/>
                      <a:pt x="239" y="65"/>
                    </a:cubicBezTo>
                    <a:cubicBezTo>
                      <a:pt x="236" y="69"/>
                      <a:pt x="231" y="67"/>
                      <a:pt x="228" y="70"/>
                    </a:cubicBezTo>
                    <a:cubicBezTo>
                      <a:pt x="225" y="75"/>
                      <a:pt x="228" y="75"/>
                      <a:pt x="225" y="76"/>
                    </a:cubicBezTo>
                    <a:cubicBezTo>
                      <a:pt x="222" y="80"/>
                      <a:pt x="219" y="81"/>
                      <a:pt x="216" y="80"/>
                    </a:cubicBezTo>
                    <a:cubicBezTo>
                      <a:pt x="211" y="80"/>
                      <a:pt x="213" y="84"/>
                      <a:pt x="207" y="87"/>
                    </a:cubicBezTo>
                    <a:cubicBezTo>
                      <a:pt x="199" y="90"/>
                      <a:pt x="196" y="83"/>
                      <a:pt x="192" y="84"/>
                    </a:cubicBezTo>
                    <a:cubicBezTo>
                      <a:pt x="189" y="84"/>
                      <a:pt x="189" y="87"/>
                      <a:pt x="189" y="92"/>
                    </a:cubicBezTo>
                    <a:cubicBezTo>
                      <a:pt x="189" y="95"/>
                      <a:pt x="195" y="98"/>
                      <a:pt x="192" y="100"/>
                    </a:cubicBezTo>
                    <a:cubicBezTo>
                      <a:pt x="187" y="103"/>
                      <a:pt x="185" y="103"/>
                      <a:pt x="181" y="107"/>
                    </a:cubicBezTo>
                    <a:cubicBezTo>
                      <a:pt x="178" y="112"/>
                      <a:pt x="175" y="111"/>
                      <a:pt x="173" y="114"/>
                    </a:cubicBezTo>
                    <a:cubicBezTo>
                      <a:pt x="172" y="115"/>
                      <a:pt x="170" y="112"/>
                      <a:pt x="169" y="114"/>
                    </a:cubicBezTo>
                    <a:cubicBezTo>
                      <a:pt x="166" y="115"/>
                      <a:pt x="166" y="114"/>
                      <a:pt x="160" y="114"/>
                    </a:cubicBezTo>
                    <a:cubicBezTo>
                      <a:pt x="155" y="114"/>
                      <a:pt x="158" y="112"/>
                      <a:pt x="154" y="115"/>
                    </a:cubicBezTo>
                    <a:cubicBezTo>
                      <a:pt x="151" y="118"/>
                      <a:pt x="151" y="115"/>
                      <a:pt x="138" y="123"/>
                    </a:cubicBezTo>
                    <a:cubicBezTo>
                      <a:pt x="137" y="124"/>
                      <a:pt x="137" y="121"/>
                      <a:pt x="134" y="123"/>
                    </a:cubicBezTo>
                    <a:cubicBezTo>
                      <a:pt x="132" y="123"/>
                      <a:pt x="135" y="118"/>
                      <a:pt x="131" y="120"/>
                    </a:cubicBezTo>
                    <a:cubicBezTo>
                      <a:pt x="126" y="123"/>
                      <a:pt x="120" y="117"/>
                      <a:pt x="117" y="117"/>
                    </a:cubicBezTo>
                    <a:cubicBezTo>
                      <a:pt x="114" y="117"/>
                      <a:pt x="111" y="111"/>
                      <a:pt x="100" y="111"/>
                    </a:cubicBezTo>
                    <a:cubicBezTo>
                      <a:pt x="90" y="112"/>
                      <a:pt x="88" y="112"/>
                      <a:pt x="75" y="111"/>
                    </a:cubicBezTo>
                    <a:cubicBezTo>
                      <a:pt x="72" y="109"/>
                      <a:pt x="69" y="112"/>
                      <a:pt x="69" y="109"/>
                    </a:cubicBezTo>
                    <a:cubicBezTo>
                      <a:pt x="67" y="104"/>
                      <a:pt x="65" y="107"/>
                      <a:pt x="64" y="100"/>
                    </a:cubicBezTo>
                    <a:cubicBezTo>
                      <a:pt x="62" y="93"/>
                      <a:pt x="64" y="100"/>
                      <a:pt x="55" y="92"/>
                    </a:cubicBezTo>
                    <a:cubicBezTo>
                      <a:pt x="47" y="84"/>
                      <a:pt x="43" y="84"/>
                      <a:pt x="38" y="84"/>
                    </a:cubicBezTo>
                    <a:cubicBezTo>
                      <a:pt x="34" y="84"/>
                      <a:pt x="31" y="83"/>
                      <a:pt x="27" y="83"/>
                    </a:cubicBezTo>
                    <a:cubicBezTo>
                      <a:pt x="23" y="83"/>
                      <a:pt x="23" y="78"/>
                      <a:pt x="24" y="76"/>
                    </a:cubicBezTo>
                    <a:cubicBezTo>
                      <a:pt x="27" y="72"/>
                      <a:pt x="24" y="73"/>
                      <a:pt x="26" y="67"/>
                    </a:cubicBezTo>
                    <a:cubicBezTo>
                      <a:pt x="27" y="61"/>
                      <a:pt x="20" y="55"/>
                      <a:pt x="18" y="52"/>
                    </a:cubicBezTo>
                    <a:cubicBezTo>
                      <a:pt x="18" y="50"/>
                      <a:pt x="17" y="53"/>
                      <a:pt x="15" y="50"/>
                    </a:cubicBezTo>
                    <a:cubicBezTo>
                      <a:pt x="14" y="47"/>
                      <a:pt x="12" y="52"/>
                      <a:pt x="9" y="48"/>
                    </a:cubicBezTo>
                    <a:cubicBezTo>
                      <a:pt x="5" y="47"/>
                      <a:pt x="0" y="41"/>
                      <a:pt x="2" y="36"/>
                    </a:cubicBezTo>
                    <a:cubicBezTo>
                      <a:pt x="6" y="30"/>
                      <a:pt x="5" y="35"/>
                      <a:pt x="12" y="31"/>
                    </a:cubicBezTo>
                    <a:cubicBezTo>
                      <a:pt x="18" y="30"/>
                      <a:pt x="12" y="28"/>
                      <a:pt x="21" y="24"/>
                    </a:cubicBezTo>
                    <a:cubicBezTo>
                      <a:pt x="31" y="19"/>
                      <a:pt x="37" y="16"/>
                      <a:pt x="41" y="19"/>
                    </a:cubicBezTo>
                    <a:cubicBezTo>
                      <a:pt x="46" y="22"/>
                      <a:pt x="52" y="16"/>
                      <a:pt x="53" y="22"/>
                    </a:cubicBezTo>
                    <a:cubicBezTo>
                      <a:pt x="55" y="27"/>
                      <a:pt x="81" y="31"/>
                      <a:pt x="84" y="24"/>
                    </a:cubicBezTo>
                    <a:cubicBezTo>
                      <a:pt x="85" y="17"/>
                      <a:pt x="76" y="17"/>
                      <a:pt x="82" y="10"/>
                    </a:cubicBezTo>
                    <a:cubicBezTo>
                      <a:pt x="88" y="0"/>
                      <a:pt x="85" y="0"/>
                      <a:pt x="99" y="5"/>
                    </a:cubicBezTo>
                    <a:cubicBezTo>
                      <a:pt x="111" y="11"/>
                      <a:pt x="116" y="5"/>
                      <a:pt x="116" y="13"/>
                    </a:cubicBezTo>
                    <a:cubicBezTo>
                      <a:pt x="116" y="21"/>
                      <a:pt x="123" y="27"/>
                      <a:pt x="131" y="24"/>
                    </a:cubicBezTo>
                    <a:cubicBezTo>
                      <a:pt x="140" y="21"/>
                      <a:pt x="141" y="21"/>
                      <a:pt x="152" y="25"/>
                    </a:cubicBezTo>
                    <a:cubicBezTo>
                      <a:pt x="163" y="28"/>
                      <a:pt x="157" y="31"/>
                      <a:pt x="170" y="35"/>
                    </a:cubicBezTo>
                    <a:cubicBezTo>
                      <a:pt x="190" y="39"/>
                      <a:pt x="182" y="31"/>
                      <a:pt x="195" y="33"/>
                    </a:cubicBezTo>
                    <a:cubicBezTo>
                      <a:pt x="207" y="33"/>
                      <a:pt x="204" y="17"/>
                      <a:pt x="214" y="24"/>
                    </a:cubicBezTo>
                    <a:cubicBezTo>
                      <a:pt x="223" y="30"/>
                      <a:pt x="223" y="24"/>
                      <a:pt x="230" y="28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16" name="Freeform 10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5680432" y="2478976"/>
                <a:ext cx="1112346" cy="831612"/>
              </a:xfrm>
              <a:custGeom>
                <a:avLst/>
                <a:gdLst/>
                <a:ahLst/>
                <a:cxnLst>
                  <a:cxn ang="0">
                    <a:pos x="441" y="136"/>
                  </a:cxn>
                  <a:cxn ang="0">
                    <a:pos x="427" y="142"/>
                  </a:cxn>
                  <a:cxn ang="0">
                    <a:pos x="414" y="150"/>
                  </a:cxn>
                  <a:cxn ang="0">
                    <a:pos x="398" y="160"/>
                  </a:cxn>
                  <a:cxn ang="0">
                    <a:pos x="383" y="171"/>
                  </a:cxn>
                  <a:cxn ang="0">
                    <a:pos x="382" y="160"/>
                  </a:cxn>
                  <a:cxn ang="0">
                    <a:pos x="376" y="151"/>
                  </a:cxn>
                  <a:cxn ang="0">
                    <a:pos x="351" y="168"/>
                  </a:cxn>
                  <a:cxn ang="0">
                    <a:pos x="365" y="190"/>
                  </a:cxn>
                  <a:cxn ang="0">
                    <a:pos x="383" y="187"/>
                  </a:cxn>
                  <a:cxn ang="0">
                    <a:pos x="385" y="193"/>
                  </a:cxn>
                  <a:cxn ang="0">
                    <a:pos x="371" y="204"/>
                  </a:cxn>
                  <a:cxn ang="0">
                    <a:pos x="379" y="240"/>
                  </a:cxn>
                  <a:cxn ang="0">
                    <a:pos x="371" y="246"/>
                  </a:cxn>
                  <a:cxn ang="0">
                    <a:pos x="383" y="257"/>
                  </a:cxn>
                  <a:cxn ang="0">
                    <a:pos x="386" y="268"/>
                  </a:cxn>
                  <a:cxn ang="0">
                    <a:pos x="380" y="285"/>
                  </a:cxn>
                  <a:cxn ang="0">
                    <a:pos x="368" y="300"/>
                  </a:cxn>
                  <a:cxn ang="0">
                    <a:pos x="365" y="313"/>
                  </a:cxn>
                  <a:cxn ang="0">
                    <a:pos x="357" y="322"/>
                  </a:cxn>
                  <a:cxn ang="0">
                    <a:pos x="345" y="333"/>
                  </a:cxn>
                  <a:cxn ang="0">
                    <a:pos x="335" y="342"/>
                  </a:cxn>
                  <a:cxn ang="0">
                    <a:pos x="325" y="345"/>
                  </a:cxn>
                  <a:cxn ang="0">
                    <a:pos x="316" y="347"/>
                  </a:cxn>
                  <a:cxn ang="0">
                    <a:pos x="303" y="353"/>
                  </a:cxn>
                  <a:cxn ang="0">
                    <a:pos x="290" y="364"/>
                  </a:cxn>
                  <a:cxn ang="0">
                    <a:pos x="287" y="353"/>
                  </a:cxn>
                  <a:cxn ang="0">
                    <a:pos x="277" y="353"/>
                  </a:cxn>
                  <a:cxn ang="0">
                    <a:pos x="265" y="342"/>
                  </a:cxn>
                  <a:cxn ang="0">
                    <a:pos x="245" y="341"/>
                  </a:cxn>
                  <a:cxn ang="0">
                    <a:pos x="233" y="341"/>
                  </a:cxn>
                  <a:cxn ang="0">
                    <a:pos x="220" y="353"/>
                  </a:cxn>
                  <a:cxn ang="0">
                    <a:pos x="205" y="345"/>
                  </a:cxn>
                  <a:cxn ang="0">
                    <a:pos x="195" y="328"/>
                  </a:cxn>
                  <a:cxn ang="0">
                    <a:pos x="201" y="310"/>
                  </a:cxn>
                  <a:cxn ang="0">
                    <a:pos x="190" y="285"/>
                  </a:cxn>
                  <a:cxn ang="0">
                    <a:pos x="176" y="274"/>
                  </a:cxn>
                  <a:cxn ang="0">
                    <a:pos x="144" y="289"/>
                  </a:cxn>
                  <a:cxn ang="0">
                    <a:pos x="126" y="289"/>
                  </a:cxn>
                  <a:cxn ang="0">
                    <a:pos x="105" y="286"/>
                  </a:cxn>
                  <a:cxn ang="0">
                    <a:pos x="93" y="280"/>
                  </a:cxn>
                  <a:cxn ang="0">
                    <a:pos x="67" y="261"/>
                  </a:cxn>
                  <a:cxn ang="0">
                    <a:pos x="41" y="241"/>
                  </a:cxn>
                  <a:cxn ang="0">
                    <a:pos x="47" y="223"/>
                  </a:cxn>
                  <a:cxn ang="0">
                    <a:pos x="45" y="202"/>
                  </a:cxn>
                  <a:cxn ang="0">
                    <a:pos x="21" y="196"/>
                  </a:cxn>
                  <a:cxn ang="0">
                    <a:pos x="12" y="179"/>
                  </a:cxn>
                  <a:cxn ang="0">
                    <a:pos x="7" y="157"/>
                  </a:cxn>
                  <a:cxn ang="0">
                    <a:pos x="39" y="143"/>
                  </a:cxn>
                  <a:cxn ang="0">
                    <a:pos x="56" y="106"/>
                  </a:cxn>
                  <a:cxn ang="0">
                    <a:pos x="76" y="78"/>
                  </a:cxn>
                  <a:cxn ang="0">
                    <a:pos x="111" y="55"/>
                  </a:cxn>
                  <a:cxn ang="0">
                    <a:pos x="140" y="84"/>
                  </a:cxn>
                  <a:cxn ang="0">
                    <a:pos x="178" y="117"/>
                  </a:cxn>
                  <a:cxn ang="0">
                    <a:pos x="245" y="137"/>
                  </a:cxn>
                  <a:cxn ang="0">
                    <a:pos x="283" y="131"/>
                  </a:cxn>
                  <a:cxn ang="0">
                    <a:pos x="306" y="101"/>
                  </a:cxn>
                  <a:cxn ang="0">
                    <a:pos x="353" y="83"/>
                  </a:cxn>
                  <a:cxn ang="0">
                    <a:pos x="348" y="70"/>
                  </a:cxn>
                  <a:cxn ang="0">
                    <a:pos x="373" y="24"/>
                  </a:cxn>
                  <a:cxn ang="0">
                    <a:pos x="441" y="50"/>
                  </a:cxn>
                  <a:cxn ang="0">
                    <a:pos x="481" y="64"/>
                  </a:cxn>
                  <a:cxn ang="0">
                    <a:pos x="458" y="123"/>
                  </a:cxn>
                </a:cxnLst>
                <a:rect l="0" t="0" r="r" b="b"/>
                <a:pathLst>
                  <a:path w="490" h="367">
                    <a:moveTo>
                      <a:pt x="453" y="131"/>
                    </a:moveTo>
                    <a:cubicBezTo>
                      <a:pt x="453" y="128"/>
                      <a:pt x="453" y="131"/>
                      <a:pt x="452" y="129"/>
                    </a:cubicBezTo>
                    <a:cubicBezTo>
                      <a:pt x="450" y="128"/>
                      <a:pt x="452" y="126"/>
                      <a:pt x="449" y="125"/>
                    </a:cubicBezTo>
                    <a:cubicBezTo>
                      <a:pt x="446" y="125"/>
                      <a:pt x="449" y="132"/>
                      <a:pt x="446" y="131"/>
                    </a:cubicBezTo>
                    <a:cubicBezTo>
                      <a:pt x="443" y="131"/>
                      <a:pt x="444" y="134"/>
                      <a:pt x="441" y="136"/>
                    </a:cubicBezTo>
                    <a:cubicBezTo>
                      <a:pt x="440" y="137"/>
                      <a:pt x="441" y="136"/>
                      <a:pt x="438" y="136"/>
                    </a:cubicBezTo>
                    <a:cubicBezTo>
                      <a:pt x="436" y="137"/>
                      <a:pt x="433" y="134"/>
                      <a:pt x="433" y="137"/>
                    </a:cubicBezTo>
                    <a:cubicBezTo>
                      <a:pt x="433" y="140"/>
                      <a:pt x="436" y="140"/>
                      <a:pt x="435" y="142"/>
                    </a:cubicBezTo>
                    <a:cubicBezTo>
                      <a:pt x="433" y="143"/>
                      <a:pt x="433" y="142"/>
                      <a:pt x="432" y="142"/>
                    </a:cubicBezTo>
                    <a:cubicBezTo>
                      <a:pt x="430" y="143"/>
                      <a:pt x="429" y="142"/>
                      <a:pt x="427" y="142"/>
                    </a:cubicBezTo>
                    <a:cubicBezTo>
                      <a:pt x="426" y="142"/>
                      <a:pt x="426" y="137"/>
                      <a:pt x="424" y="139"/>
                    </a:cubicBezTo>
                    <a:cubicBezTo>
                      <a:pt x="423" y="140"/>
                      <a:pt x="424" y="139"/>
                      <a:pt x="423" y="140"/>
                    </a:cubicBezTo>
                    <a:cubicBezTo>
                      <a:pt x="421" y="142"/>
                      <a:pt x="423" y="142"/>
                      <a:pt x="421" y="143"/>
                    </a:cubicBezTo>
                    <a:cubicBezTo>
                      <a:pt x="420" y="145"/>
                      <a:pt x="418" y="148"/>
                      <a:pt x="417" y="148"/>
                    </a:cubicBezTo>
                    <a:cubicBezTo>
                      <a:pt x="414" y="148"/>
                      <a:pt x="415" y="150"/>
                      <a:pt x="414" y="150"/>
                    </a:cubicBezTo>
                    <a:cubicBezTo>
                      <a:pt x="412" y="150"/>
                      <a:pt x="414" y="151"/>
                      <a:pt x="412" y="151"/>
                    </a:cubicBezTo>
                    <a:cubicBezTo>
                      <a:pt x="409" y="153"/>
                      <a:pt x="411" y="153"/>
                      <a:pt x="409" y="153"/>
                    </a:cubicBezTo>
                    <a:cubicBezTo>
                      <a:pt x="408" y="153"/>
                      <a:pt x="406" y="156"/>
                      <a:pt x="405" y="157"/>
                    </a:cubicBezTo>
                    <a:cubicBezTo>
                      <a:pt x="405" y="159"/>
                      <a:pt x="405" y="159"/>
                      <a:pt x="405" y="159"/>
                    </a:cubicBezTo>
                    <a:cubicBezTo>
                      <a:pt x="401" y="162"/>
                      <a:pt x="400" y="159"/>
                      <a:pt x="398" y="160"/>
                    </a:cubicBezTo>
                    <a:cubicBezTo>
                      <a:pt x="397" y="162"/>
                      <a:pt x="397" y="159"/>
                      <a:pt x="395" y="162"/>
                    </a:cubicBezTo>
                    <a:cubicBezTo>
                      <a:pt x="395" y="164"/>
                      <a:pt x="392" y="162"/>
                      <a:pt x="391" y="164"/>
                    </a:cubicBezTo>
                    <a:cubicBezTo>
                      <a:pt x="389" y="165"/>
                      <a:pt x="388" y="165"/>
                      <a:pt x="386" y="168"/>
                    </a:cubicBezTo>
                    <a:cubicBezTo>
                      <a:pt x="386" y="171"/>
                      <a:pt x="383" y="170"/>
                      <a:pt x="383" y="170"/>
                    </a:cubicBezTo>
                    <a:cubicBezTo>
                      <a:pt x="383" y="170"/>
                      <a:pt x="385" y="171"/>
                      <a:pt x="383" y="171"/>
                    </a:cubicBezTo>
                    <a:cubicBezTo>
                      <a:pt x="380" y="171"/>
                      <a:pt x="379" y="174"/>
                      <a:pt x="379" y="171"/>
                    </a:cubicBezTo>
                    <a:cubicBezTo>
                      <a:pt x="379" y="168"/>
                      <a:pt x="379" y="171"/>
                      <a:pt x="380" y="170"/>
                    </a:cubicBezTo>
                    <a:cubicBezTo>
                      <a:pt x="382" y="167"/>
                      <a:pt x="382" y="170"/>
                      <a:pt x="383" y="168"/>
                    </a:cubicBezTo>
                    <a:cubicBezTo>
                      <a:pt x="383" y="165"/>
                      <a:pt x="380" y="164"/>
                      <a:pt x="380" y="164"/>
                    </a:cubicBezTo>
                    <a:cubicBezTo>
                      <a:pt x="379" y="164"/>
                      <a:pt x="382" y="162"/>
                      <a:pt x="382" y="160"/>
                    </a:cubicBezTo>
                    <a:cubicBezTo>
                      <a:pt x="380" y="160"/>
                      <a:pt x="383" y="160"/>
                      <a:pt x="386" y="156"/>
                    </a:cubicBezTo>
                    <a:cubicBezTo>
                      <a:pt x="388" y="153"/>
                      <a:pt x="388" y="153"/>
                      <a:pt x="386" y="151"/>
                    </a:cubicBezTo>
                    <a:cubicBezTo>
                      <a:pt x="383" y="148"/>
                      <a:pt x="385" y="148"/>
                      <a:pt x="383" y="148"/>
                    </a:cubicBezTo>
                    <a:cubicBezTo>
                      <a:pt x="382" y="150"/>
                      <a:pt x="380" y="146"/>
                      <a:pt x="379" y="148"/>
                    </a:cubicBezTo>
                    <a:cubicBezTo>
                      <a:pt x="376" y="150"/>
                      <a:pt x="379" y="150"/>
                      <a:pt x="376" y="151"/>
                    </a:cubicBezTo>
                    <a:cubicBezTo>
                      <a:pt x="374" y="154"/>
                      <a:pt x="376" y="156"/>
                      <a:pt x="373" y="156"/>
                    </a:cubicBezTo>
                    <a:cubicBezTo>
                      <a:pt x="371" y="157"/>
                      <a:pt x="363" y="160"/>
                      <a:pt x="363" y="164"/>
                    </a:cubicBezTo>
                    <a:cubicBezTo>
                      <a:pt x="363" y="167"/>
                      <a:pt x="362" y="168"/>
                      <a:pt x="359" y="168"/>
                    </a:cubicBezTo>
                    <a:cubicBezTo>
                      <a:pt x="357" y="167"/>
                      <a:pt x="357" y="171"/>
                      <a:pt x="356" y="168"/>
                    </a:cubicBezTo>
                    <a:cubicBezTo>
                      <a:pt x="354" y="167"/>
                      <a:pt x="351" y="167"/>
                      <a:pt x="351" y="168"/>
                    </a:cubicBezTo>
                    <a:cubicBezTo>
                      <a:pt x="351" y="170"/>
                      <a:pt x="350" y="171"/>
                      <a:pt x="351" y="174"/>
                    </a:cubicBezTo>
                    <a:cubicBezTo>
                      <a:pt x="351" y="178"/>
                      <a:pt x="353" y="178"/>
                      <a:pt x="354" y="178"/>
                    </a:cubicBezTo>
                    <a:cubicBezTo>
                      <a:pt x="354" y="179"/>
                      <a:pt x="357" y="179"/>
                      <a:pt x="359" y="179"/>
                    </a:cubicBezTo>
                    <a:cubicBezTo>
                      <a:pt x="360" y="178"/>
                      <a:pt x="363" y="182"/>
                      <a:pt x="362" y="184"/>
                    </a:cubicBezTo>
                    <a:cubicBezTo>
                      <a:pt x="360" y="185"/>
                      <a:pt x="362" y="190"/>
                      <a:pt x="365" y="190"/>
                    </a:cubicBezTo>
                    <a:cubicBezTo>
                      <a:pt x="370" y="190"/>
                      <a:pt x="370" y="190"/>
                      <a:pt x="370" y="188"/>
                    </a:cubicBezTo>
                    <a:cubicBezTo>
                      <a:pt x="368" y="187"/>
                      <a:pt x="371" y="187"/>
                      <a:pt x="373" y="185"/>
                    </a:cubicBezTo>
                    <a:cubicBezTo>
                      <a:pt x="373" y="182"/>
                      <a:pt x="377" y="182"/>
                      <a:pt x="379" y="184"/>
                    </a:cubicBezTo>
                    <a:cubicBezTo>
                      <a:pt x="379" y="184"/>
                      <a:pt x="379" y="185"/>
                      <a:pt x="380" y="185"/>
                    </a:cubicBezTo>
                    <a:cubicBezTo>
                      <a:pt x="382" y="184"/>
                      <a:pt x="380" y="185"/>
                      <a:pt x="383" y="187"/>
                    </a:cubicBezTo>
                    <a:cubicBezTo>
                      <a:pt x="388" y="187"/>
                      <a:pt x="385" y="184"/>
                      <a:pt x="388" y="185"/>
                    </a:cubicBezTo>
                    <a:cubicBezTo>
                      <a:pt x="388" y="187"/>
                      <a:pt x="392" y="187"/>
                      <a:pt x="391" y="188"/>
                    </a:cubicBezTo>
                    <a:cubicBezTo>
                      <a:pt x="388" y="192"/>
                      <a:pt x="392" y="192"/>
                      <a:pt x="389" y="193"/>
                    </a:cubicBezTo>
                    <a:cubicBezTo>
                      <a:pt x="386" y="195"/>
                      <a:pt x="388" y="192"/>
                      <a:pt x="386" y="192"/>
                    </a:cubicBezTo>
                    <a:cubicBezTo>
                      <a:pt x="385" y="193"/>
                      <a:pt x="386" y="190"/>
                      <a:pt x="385" y="193"/>
                    </a:cubicBezTo>
                    <a:cubicBezTo>
                      <a:pt x="382" y="195"/>
                      <a:pt x="382" y="193"/>
                      <a:pt x="380" y="195"/>
                    </a:cubicBezTo>
                    <a:cubicBezTo>
                      <a:pt x="377" y="196"/>
                      <a:pt x="377" y="198"/>
                      <a:pt x="377" y="198"/>
                    </a:cubicBezTo>
                    <a:cubicBezTo>
                      <a:pt x="376" y="198"/>
                      <a:pt x="376" y="201"/>
                      <a:pt x="374" y="201"/>
                    </a:cubicBezTo>
                    <a:cubicBezTo>
                      <a:pt x="371" y="202"/>
                      <a:pt x="373" y="199"/>
                      <a:pt x="371" y="199"/>
                    </a:cubicBezTo>
                    <a:cubicBezTo>
                      <a:pt x="370" y="201"/>
                      <a:pt x="373" y="202"/>
                      <a:pt x="371" y="204"/>
                    </a:cubicBezTo>
                    <a:cubicBezTo>
                      <a:pt x="370" y="204"/>
                      <a:pt x="371" y="206"/>
                      <a:pt x="368" y="206"/>
                    </a:cubicBezTo>
                    <a:cubicBezTo>
                      <a:pt x="366" y="207"/>
                      <a:pt x="360" y="216"/>
                      <a:pt x="363" y="215"/>
                    </a:cubicBezTo>
                    <a:cubicBezTo>
                      <a:pt x="368" y="215"/>
                      <a:pt x="365" y="218"/>
                      <a:pt x="370" y="220"/>
                    </a:cubicBezTo>
                    <a:cubicBezTo>
                      <a:pt x="374" y="221"/>
                      <a:pt x="373" y="227"/>
                      <a:pt x="376" y="232"/>
                    </a:cubicBezTo>
                    <a:cubicBezTo>
                      <a:pt x="379" y="237"/>
                      <a:pt x="376" y="237"/>
                      <a:pt x="379" y="240"/>
                    </a:cubicBezTo>
                    <a:cubicBezTo>
                      <a:pt x="382" y="241"/>
                      <a:pt x="380" y="241"/>
                      <a:pt x="382" y="244"/>
                    </a:cubicBezTo>
                    <a:cubicBezTo>
                      <a:pt x="385" y="246"/>
                      <a:pt x="386" y="249"/>
                      <a:pt x="383" y="247"/>
                    </a:cubicBezTo>
                    <a:cubicBezTo>
                      <a:pt x="379" y="246"/>
                      <a:pt x="379" y="247"/>
                      <a:pt x="377" y="246"/>
                    </a:cubicBezTo>
                    <a:cubicBezTo>
                      <a:pt x="376" y="246"/>
                      <a:pt x="377" y="244"/>
                      <a:pt x="376" y="244"/>
                    </a:cubicBezTo>
                    <a:cubicBezTo>
                      <a:pt x="374" y="243"/>
                      <a:pt x="373" y="246"/>
                      <a:pt x="371" y="246"/>
                    </a:cubicBezTo>
                    <a:cubicBezTo>
                      <a:pt x="370" y="244"/>
                      <a:pt x="368" y="240"/>
                      <a:pt x="368" y="241"/>
                    </a:cubicBezTo>
                    <a:cubicBezTo>
                      <a:pt x="366" y="243"/>
                      <a:pt x="371" y="247"/>
                      <a:pt x="374" y="244"/>
                    </a:cubicBezTo>
                    <a:cubicBezTo>
                      <a:pt x="374" y="244"/>
                      <a:pt x="377" y="246"/>
                      <a:pt x="376" y="246"/>
                    </a:cubicBezTo>
                    <a:cubicBezTo>
                      <a:pt x="376" y="247"/>
                      <a:pt x="377" y="247"/>
                      <a:pt x="380" y="251"/>
                    </a:cubicBezTo>
                    <a:cubicBezTo>
                      <a:pt x="383" y="254"/>
                      <a:pt x="386" y="257"/>
                      <a:pt x="383" y="257"/>
                    </a:cubicBezTo>
                    <a:cubicBezTo>
                      <a:pt x="382" y="257"/>
                      <a:pt x="377" y="260"/>
                      <a:pt x="377" y="261"/>
                    </a:cubicBezTo>
                    <a:cubicBezTo>
                      <a:pt x="377" y="263"/>
                      <a:pt x="374" y="260"/>
                      <a:pt x="373" y="263"/>
                    </a:cubicBezTo>
                    <a:cubicBezTo>
                      <a:pt x="373" y="265"/>
                      <a:pt x="374" y="261"/>
                      <a:pt x="374" y="263"/>
                    </a:cubicBezTo>
                    <a:cubicBezTo>
                      <a:pt x="376" y="268"/>
                      <a:pt x="379" y="260"/>
                      <a:pt x="382" y="265"/>
                    </a:cubicBezTo>
                    <a:cubicBezTo>
                      <a:pt x="385" y="268"/>
                      <a:pt x="388" y="266"/>
                      <a:pt x="386" y="268"/>
                    </a:cubicBezTo>
                    <a:cubicBezTo>
                      <a:pt x="382" y="271"/>
                      <a:pt x="385" y="268"/>
                      <a:pt x="385" y="272"/>
                    </a:cubicBezTo>
                    <a:cubicBezTo>
                      <a:pt x="386" y="277"/>
                      <a:pt x="380" y="274"/>
                      <a:pt x="383" y="275"/>
                    </a:cubicBezTo>
                    <a:cubicBezTo>
                      <a:pt x="385" y="277"/>
                      <a:pt x="382" y="277"/>
                      <a:pt x="383" y="279"/>
                    </a:cubicBezTo>
                    <a:cubicBezTo>
                      <a:pt x="383" y="280"/>
                      <a:pt x="380" y="279"/>
                      <a:pt x="382" y="282"/>
                    </a:cubicBezTo>
                    <a:cubicBezTo>
                      <a:pt x="383" y="285"/>
                      <a:pt x="382" y="283"/>
                      <a:pt x="380" y="285"/>
                    </a:cubicBezTo>
                    <a:cubicBezTo>
                      <a:pt x="380" y="286"/>
                      <a:pt x="380" y="280"/>
                      <a:pt x="379" y="285"/>
                    </a:cubicBezTo>
                    <a:cubicBezTo>
                      <a:pt x="377" y="289"/>
                      <a:pt x="374" y="289"/>
                      <a:pt x="374" y="291"/>
                    </a:cubicBezTo>
                    <a:cubicBezTo>
                      <a:pt x="376" y="293"/>
                      <a:pt x="373" y="297"/>
                      <a:pt x="371" y="299"/>
                    </a:cubicBezTo>
                    <a:cubicBezTo>
                      <a:pt x="370" y="299"/>
                      <a:pt x="373" y="300"/>
                      <a:pt x="370" y="302"/>
                    </a:cubicBezTo>
                    <a:cubicBezTo>
                      <a:pt x="368" y="302"/>
                      <a:pt x="370" y="299"/>
                      <a:pt x="368" y="300"/>
                    </a:cubicBezTo>
                    <a:cubicBezTo>
                      <a:pt x="365" y="300"/>
                      <a:pt x="368" y="300"/>
                      <a:pt x="368" y="302"/>
                    </a:cubicBezTo>
                    <a:cubicBezTo>
                      <a:pt x="370" y="305"/>
                      <a:pt x="371" y="303"/>
                      <a:pt x="368" y="303"/>
                    </a:cubicBezTo>
                    <a:cubicBezTo>
                      <a:pt x="366" y="305"/>
                      <a:pt x="365" y="308"/>
                      <a:pt x="366" y="307"/>
                    </a:cubicBezTo>
                    <a:cubicBezTo>
                      <a:pt x="370" y="307"/>
                      <a:pt x="365" y="310"/>
                      <a:pt x="366" y="313"/>
                    </a:cubicBezTo>
                    <a:cubicBezTo>
                      <a:pt x="368" y="314"/>
                      <a:pt x="366" y="316"/>
                      <a:pt x="365" y="313"/>
                    </a:cubicBezTo>
                    <a:cubicBezTo>
                      <a:pt x="363" y="311"/>
                      <a:pt x="362" y="313"/>
                      <a:pt x="363" y="314"/>
                    </a:cubicBezTo>
                    <a:cubicBezTo>
                      <a:pt x="363" y="314"/>
                      <a:pt x="366" y="314"/>
                      <a:pt x="363" y="316"/>
                    </a:cubicBezTo>
                    <a:cubicBezTo>
                      <a:pt x="362" y="317"/>
                      <a:pt x="362" y="314"/>
                      <a:pt x="360" y="316"/>
                    </a:cubicBezTo>
                    <a:cubicBezTo>
                      <a:pt x="360" y="317"/>
                      <a:pt x="363" y="317"/>
                      <a:pt x="362" y="319"/>
                    </a:cubicBezTo>
                    <a:cubicBezTo>
                      <a:pt x="359" y="320"/>
                      <a:pt x="359" y="324"/>
                      <a:pt x="357" y="322"/>
                    </a:cubicBezTo>
                    <a:cubicBezTo>
                      <a:pt x="356" y="320"/>
                      <a:pt x="356" y="324"/>
                      <a:pt x="356" y="322"/>
                    </a:cubicBezTo>
                    <a:cubicBezTo>
                      <a:pt x="354" y="320"/>
                      <a:pt x="354" y="324"/>
                      <a:pt x="354" y="324"/>
                    </a:cubicBezTo>
                    <a:cubicBezTo>
                      <a:pt x="356" y="325"/>
                      <a:pt x="353" y="328"/>
                      <a:pt x="351" y="330"/>
                    </a:cubicBezTo>
                    <a:cubicBezTo>
                      <a:pt x="350" y="331"/>
                      <a:pt x="351" y="328"/>
                      <a:pt x="348" y="330"/>
                    </a:cubicBezTo>
                    <a:cubicBezTo>
                      <a:pt x="347" y="333"/>
                      <a:pt x="347" y="330"/>
                      <a:pt x="345" y="333"/>
                    </a:cubicBezTo>
                    <a:cubicBezTo>
                      <a:pt x="344" y="335"/>
                      <a:pt x="342" y="335"/>
                      <a:pt x="344" y="335"/>
                    </a:cubicBezTo>
                    <a:cubicBezTo>
                      <a:pt x="345" y="336"/>
                      <a:pt x="342" y="336"/>
                      <a:pt x="342" y="338"/>
                    </a:cubicBezTo>
                    <a:cubicBezTo>
                      <a:pt x="342" y="339"/>
                      <a:pt x="341" y="339"/>
                      <a:pt x="338" y="341"/>
                    </a:cubicBezTo>
                    <a:cubicBezTo>
                      <a:pt x="336" y="342"/>
                      <a:pt x="336" y="339"/>
                      <a:pt x="335" y="339"/>
                    </a:cubicBezTo>
                    <a:cubicBezTo>
                      <a:pt x="335" y="339"/>
                      <a:pt x="336" y="342"/>
                      <a:pt x="335" y="342"/>
                    </a:cubicBezTo>
                    <a:cubicBezTo>
                      <a:pt x="333" y="341"/>
                      <a:pt x="331" y="339"/>
                      <a:pt x="330" y="342"/>
                    </a:cubicBezTo>
                    <a:cubicBezTo>
                      <a:pt x="328" y="344"/>
                      <a:pt x="328" y="339"/>
                      <a:pt x="327" y="341"/>
                    </a:cubicBezTo>
                    <a:cubicBezTo>
                      <a:pt x="325" y="341"/>
                      <a:pt x="328" y="342"/>
                      <a:pt x="327" y="344"/>
                    </a:cubicBezTo>
                    <a:cubicBezTo>
                      <a:pt x="325" y="344"/>
                      <a:pt x="325" y="341"/>
                      <a:pt x="325" y="342"/>
                    </a:cubicBezTo>
                    <a:cubicBezTo>
                      <a:pt x="324" y="344"/>
                      <a:pt x="325" y="344"/>
                      <a:pt x="325" y="345"/>
                    </a:cubicBezTo>
                    <a:cubicBezTo>
                      <a:pt x="324" y="345"/>
                      <a:pt x="324" y="345"/>
                      <a:pt x="322" y="345"/>
                    </a:cubicBezTo>
                    <a:cubicBezTo>
                      <a:pt x="321" y="344"/>
                      <a:pt x="322" y="344"/>
                      <a:pt x="321" y="342"/>
                    </a:cubicBezTo>
                    <a:cubicBezTo>
                      <a:pt x="319" y="341"/>
                      <a:pt x="319" y="338"/>
                      <a:pt x="318" y="339"/>
                    </a:cubicBezTo>
                    <a:cubicBezTo>
                      <a:pt x="318" y="339"/>
                      <a:pt x="319" y="344"/>
                      <a:pt x="319" y="345"/>
                    </a:cubicBezTo>
                    <a:cubicBezTo>
                      <a:pt x="318" y="348"/>
                      <a:pt x="318" y="345"/>
                      <a:pt x="316" y="347"/>
                    </a:cubicBezTo>
                    <a:cubicBezTo>
                      <a:pt x="316" y="348"/>
                      <a:pt x="315" y="345"/>
                      <a:pt x="315" y="348"/>
                    </a:cubicBezTo>
                    <a:cubicBezTo>
                      <a:pt x="315" y="352"/>
                      <a:pt x="313" y="347"/>
                      <a:pt x="312" y="350"/>
                    </a:cubicBezTo>
                    <a:cubicBezTo>
                      <a:pt x="310" y="352"/>
                      <a:pt x="310" y="348"/>
                      <a:pt x="309" y="350"/>
                    </a:cubicBezTo>
                    <a:cubicBezTo>
                      <a:pt x="307" y="353"/>
                      <a:pt x="309" y="352"/>
                      <a:pt x="307" y="350"/>
                    </a:cubicBezTo>
                    <a:cubicBezTo>
                      <a:pt x="304" y="350"/>
                      <a:pt x="307" y="352"/>
                      <a:pt x="303" y="353"/>
                    </a:cubicBezTo>
                    <a:cubicBezTo>
                      <a:pt x="298" y="355"/>
                      <a:pt x="300" y="353"/>
                      <a:pt x="296" y="355"/>
                    </a:cubicBezTo>
                    <a:cubicBezTo>
                      <a:pt x="293" y="356"/>
                      <a:pt x="292" y="358"/>
                      <a:pt x="292" y="359"/>
                    </a:cubicBezTo>
                    <a:cubicBezTo>
                      <a:pt x="292" y="361"/>
                      <a:pt x="293" y="358"/>
                      <a:pt x="293" y="361"/>
                    </a:cubicBezTo>
                    <a:cubicBezTo>
                      <a:pt x="293" y="364"/>
                      <a:pt x="296" y="364"/>
                      <a:pt x="292" y="366"/>
                    </a:cubicBezTo>
                    <a:cubicBezTo>
                      <a:pt x="289" y="367"/>
                      <a:pt x="290" y="366"/>
                      <a:pt x="290" y="364"/>
                    </a:cubicBezTo>
                    <a:cubicBezTo>
                      <a:pt x="289" y="363"/>
                      <a:pt x="287" y="363"/>
                      <a:pt x="289" y="361"/>
                    </a:cubicBezTo>
                    <a:cubicBezTo>
                      <a:pt x="289" y="359"/>
                      <a:pt x="287" y="361"/>
                      <a:pt x="287" y="358"/>
                    </a:cubicBezTo>
                    <a:cubicBezTo>
                      <a:pt x="289" y="355"/>
                      <a:pt x="290" y="355"/>
                      <a:pt x="289" y="353"/>
                    </a:cubicBezTo>
                    <a:cubicBezTo>
                      <a:pt x="289" y="353"/>
                      <a:pt x="289" y="355"/>
                      <a:pt x="287" y="353"/>
                    </a:cubicBezTo>
                    <a:cubicBezTo>
                      <a:pt x="286" y="350"/>
                      <a:pt x="286" y="352"/>
                      <a:pt x="287" y="353"/>
                    </a:cubicBezTo>
                    <a:cubicBezTo>
                      <a:pt x="287" y="355"/>
                      <a:pt x="286" y="353"/>
                      <a:pt x="284" y="355"/>
                    </a:cubicBezTo>
                    <a:cubicBezTo>
                      <a:pt x="281" y="355"/>
                      <a:pt x="286" y="352"/>
                      <a:pt x="283" y="352"/>
                    </a:cubicBezTo>
                    <a:cubicBezTo>
                      <a:pt x="280" y="352"/>
                      <a:pt x="280" y="348"/>
                      <a:pt x="278" y="350"/>
                    </a:cubicBezTo>
                    <a:cubicBezTo>
                      <a:pt x="278" y="352"/>
                      <a:pt x="280" y="352"/>
                      <a:pt x="278" y="353"/>
                    </a:cubicBezTo>
                    <a:cubicBezTo>
                      <a:pt x="278" y="353"/>
                      <a:pt x="277" y="350"/>
                      <a:pt x="277" y="353"/>
                    </a:cubicBezTo>
                    <a:cubicBezTo>
                      <a:pt x="277" y="355"/>
                      <a:pt x="275" y="353"/>
                      <a:pt x="275" y="353"/>
                    </a:cubicBezTo>
                    <a:cubicBezTo>
                      <a:pt x="272" y="352"/>
                      <a:pt x="271" y="353"/>
                      <a:pt x="269" y="352"/>
                    </a:cubicBezTo>
                    <a:cubicBezTo>
                      <a:pt x="269" y="350"/>
                      <a:pt x="268" y="352"/>
                      <a:pt x="268" y="350"/>
                    </a:cubicBezTo>
                    <a:cubicBezTo>
                      <a:pt x="266" y="347"/>
                      <a:pt x="265" y="348"/>
                      <a:pt x="265" y="347"/>
                    </a:cubicBezTo>
                    <a:cubicBezTo>
                      <a:pt x="265" y="344"/>
                      <a:pt x="262" y="345"/>
                      <a:pt x="265" y="342"/>
                    </a:cubicBezTo>
                    <a:cubicBezTo>
                      <a:pt x="266" y="339"/>
                      <a:pt x="265" y="339"/>
                      <a:pt x="263" y="339"/>
                    </a:cubicBezTo>
                    <a:cubicBezTo>
                      <a:pt x="260" y="341"/>
                      <a:pt x="262" y="338"/>
                      <a:pt x="258" y="339"/>
                    </a:cubicBezTo>
                    <a:cubicBezTo>
                      <a:pt x="255" y="339"/>
                      <a:pt x="254" y="333"/>
                      <a:pt x="252" y="335"/>
                    </a:cubicBezTo>
                    <a:cubicBezTo>
                      <a:pt x="251" y="338"/>
                      <a:pt x="249" y="336"/>
                      <a:pt x="249" y="338"/>
                    </a:cubicBezTo>
                    <a:cubicBezTo>
                      <a:pt x="251" y="339"/>
                      <a:pt x="246" y="342"/>
                      <a:pt x="245" y="341"/>
                    </a:cubicBezTo>
                    <a:cubicBezTo>
                      <a:pt x="245" y="339"/>
                      <a:pt x="243" y="339"/>
                      <a:pt x="243" y="342"/>
                    </a:cubicBezTo>
                    <a:cubicBezTo>
                      <a:pt x="243" y="345"/>
                      <a:pt x="242" y="342"/>
                      <a:pt x="240" y="341"/>
                    </a:cubicBezTo>
                    <a:cubicBezTo>
                      <a:pt x="240" y="341"/>
                      <a:pt x="240" y="342"/>
                      <a:pt x="239" y="341"/>
                    </a:cubicBezTo>
                    <a:cubicBezTo>
                      <a:pt x="237" y="338"/>
                      <a:pt x="237" y="344"/>
                      <a:pt x="236" y="344"/>
                    </a:cubicBezTo>
                    <a:cubicBezTo>
                      <a:pt x="234" y="344"/>
                      <a:pt x="236" y="342"/>
                      <a:pt x="233" y="341"/>
                    </a:cubicBezTo>
                    <a:cubicBezTo>
                      <a:pt x="230" y="339"/>
                      <a:pt x="231" y="344"/>
                      <a:pt x="228" y="344"/>
                    </a:cubicBezTo>
                    <a:cubicBezTo>
                      <a:pt x="227" y="344"/>
                      <a:pt x="222" y="344"/>
                      <a:pt x="225" y="348"/>
                    </a:cubicBezTo>
                    <a:cubicBezTo>
                      <a:pt x="227" y="355"/>
                      <a:pt x="225" y="353"/>
                      <a:pt x="225" y="355"/>
                    </a:cubicBezTo>
                    <a:cubicBezTo>
                      <a:pt x="227" y="356"/>
                      <a:pt x="225" y="358"/>
                      <a:pt x="225" y="356"/>
                    </a:cubicBezTo>
                    <a:cubicBezTo>
                      <a:pt x="223" y="355"/>
                      <a:pt x="222" y="359"/>
                      <a:pt x="220" y="353"/>
                    </a:cubicBezTo>
                    <a:cubicBezTo>
                      <a:pt x="220" y="352"/>
                      <a:pt x="220" y="348"/>
                      <a:pt x="217" y="352"/>
                    </a:cubicBezTo>
                    <a:cubicBezTo>
                      <a:pt x="214" y="356"/>
                      <a:pt x="214" y="353"/>
                      <a:pt x="213" y="353"/>
                    </a:cubicBezTo>
                    <a:cubicBezTo>
                      <a:pt x="211" y="355"/>
                      <a:pt x="213" y="352"/>
                      <a:pt x="211" y="352"/>
                    </a:cubicBezTo>
                    <a:cubicBezTo>
                      <a:pt x="210" y="350"/>
                      <a:pt x="211" y="348"/>
                      <a:pt x="210" y="347"/>
                    </a:cubicBezTo>
                    <a:cubicBezTo>
                      <a:pt x="208" y="347"/>
                      <a:pt x="204" y="348"/>
                      <a:pt x="205" y="345"/>
                    </a:cubicBezTo>
                    <a:cubicBezTo>
                      <a:pt x="207" y="341"/>
                      <a:pt x="205" y="342"/>
                      <a:pt x="205" y="339"/>
                    </a:cubicBezTo>
                    <a:cubicBezTo>
                      <a:pt x="207" y="338"/>
                      <a:pt x="210" y="338"/>
                      <a:pt x="205" y="338"/>
                    </a:cubicBezTo>
                    <a:cubicBezTo>
                      <a:pt x="201" y="338"/>
                      <a:pt x="202" y="335"/>
                      <a:pt x="201" y="331"/>
                    </a:cubicBezTo>
                    <a:cubicBezTo>
                      <a:pt x="199" y="328"/>
                      <a:pt x="204" y="325"/>
                      <a:pt x="201" y="327"/>
                    </a:cubicBezTo>
                    <a:cubicBezTo>
                      <a:pt x="199" y="328"/>
                      <a:pt x="198" y="325"/>
                      <a:pt x="195" y="328"/>
                    </a:cubicBezTo>
                    <a:cubicBezTo>
                      <a:pt x="192" y="330"/>
                      <a:pt x="192" y="328"/>
                      <a:pt x="193" y="327"/>
                    </a:cubicBezTo>
                    <a:cubicBezTo>
                      <a:pt x="195" y="325"/>
                      <a:pt x="188" y="322"/>
                      <a:pt x="193" y="320"/>
                    </a:cubicBezTo>
                    <a:cubicBezTo>
                      <a:pt x="195" y="319"/>
                      <a:pt x="192" y="316"/>
                      <a:pt x="195" y="314"/>
                    </a:cubicBezTo>
                    <a:cubicBezTo>
                      <a:pt x="198" y="314"/>
                      <a:pt x="196" y="311"/>
                      <a:pt x="198" y="311"/>
                    </a:cubicBezTo>
                    <a:cubicBezTo>
                      <a:pt x="199" y="313"/>
                      <a:pt x="198" y="310"/>
                      <a:pt x="201" y="310"/>
                    </a:cubicBezTo>
                    <a:cubicBezTo>
                      <a:pt x="202" y="310"/>
                      <a:pt x="199" y="307"/>
                      <a:pt x="201" y="302"/>
                    </a:cubicBezTo>
                    <a:cubicBezTo>
                      <a:pt x="202" y="297"/>
                      <a:pt x="199" y="296"/>
                      <a:pt x="201" y="294"/>
                    </a:cubicBezTo>
                    <a:cubicBezTo>
                      <a:pt x="202" y="293"/>
                      <a:pt x="201" y="289"/>
                      <a:pt x="199" y="291"/>
                    </a:cubicBezTo>
                    <a:cubicBezTo>
                      <a:pt x="196" y="293"/>
                      <a:pt x="199" y="286"/>
                      <a:pt x="195" y="283"/>
                    </a:cubicBezTo>
                    <a:cubicBezTo>
                      <a:pt x="190" y="279"/>
                      <a:pt x="192" y="283"/>
                      <a:pt x="190" y="285"/>
                    </a:cubicBezTo>
                    <a:cubicBezTo>
                      <a:pt x="188" y="283"/>
                      <a:pt x="188" y="282"/>
                      <a:pt x="184" y="283"/>
                    </a:cubicBezTo>
                    <a:cubicBezTo>
                      <a:pt x="178" y="283"/>
                      <a:pt x="185" y="282"/>
                      <a:pt x="184" y="277"/>
                    </a:cubicBezTo>
                    <a:cubicBezTo>
                      <a:pt x="184" y="274"/>
                      <a:pt x="179" y="279"/>
                      <a:pt x="182" y="275"/>
                    </a:cubicBezTo>
                    <a:cubicBezTo>
                      <a:pt x="184" y="272"/>
                      <a:pt x="182" y="275"/>
                      <a:pt x="181" y="272"/>
                    </a:cubicBezTo>
                    <a:cubicBezTo>
                      <a:pt x="181" y="271"/>
                      <a:pt x="176" y="272"/>
                      <a:pt x="176" y="274"/>
                    </a:cubicBezTo>
                    <a:cubicBezTo>
                      <a:pt x="175" y="275"/>
                      <a:pt x="173" y="275"/>
                      <a:pt x="170" y="274"/>
                    </a:cubicBezTo>
                    <a:cubicBezTo>
                      <a:pt x="169" y="272"/>
                      <a:pt x="167" y="274"/>
                      <a:pt x="164" y="277"/>
                    </a:cubicBezTo>
                    <a:cubicBezTo>
                      <a:pt x="161" y="280"/>
                      <a:pt x="158" y="279"/>
                      <a:pt x="157" y="282"/>
                    </a:cubicBezTo>
                    <a:cubicBezTo>
                      <a:pt x="157" y="285"/>
                      <a:pt x="153" y="283"/>
                      <a:pt x="153" y="286"/>
                    </a:cubicBezTo>
                    <a:cubicBezTo>
                      <a:pt x="153" y="288"/>
                      <a:pt x="150" y="289"/>
                      <a:pt x="144" y="289"/>
                    </a:cubicBezTo>
                    <a:cubicBezTo>
                      <a:pt x="146" y="286"/>
                      <a:pt x="144" y="286"/>
                      <a:pt x="143" y="286"/>
                    </a:cubicBezTo>
                    <a:cubicBezTo>
                      <a:pt x="141" y="285"/>
                      <a:pt x="141" y="288"/>
                      <a:pt x="140" y="286"/>
                    </a:cubicBezTo>
                    <a:cubicBezTo>
                      <a:pt x="138" y="285"/>
                      <a:pt x="134" y="286"/>
                      <a:pt x="135" y="285"/>
                    </a:cubicBezTo>
                    <a:cubicBezTo>
                      <a:pt x="137" y="283"/>
                      <a:pt x="131" y="282"/>
                      <a:pt x="129" y="286"/>
                    </a:cubicBezTo>
                    <a:cubicBezTo>
                      <a:pt x="128" y="289"/>
                      <a:pt x="126" y="286"/>
                      <a:pt x="126" y="289"/>
                    </a:cubicBezTo>
                    <a:cubicBezTo>
                      <a:pt x="125" y="293"/>
                      <a:pt x="125" y="291"/>
                      <a:pt x="123" y="294"/>
                    </a:cubicBezTo>
                    <a:cubicBezTo>
                      <a:pt x="122" y="289"/>
                      <a:pt x="128" y="282"/>
                      <a:pt x="117" y="288"/>
                    </a:cubicBezTo>
                    <a:cubicBezTo>
                      <a:pt x="117" y="288"/>
                      <a:pt x="115" y="288"/>
                      <a:pt x="114" y="288"/>
                    </a:cubicBezTo>
                    <a:cubicBezTo>
                      <a:pt x="114" y="289"/>
                      <a:pt x="114" y="288"/>
                      <a:pt x="111" y="288"/>
                    </a:cubicBezTo>
                    <a:cubicBezTo>
                      <a:pt x="109" y="289"/>
                      <a:pt x="106" y="283"/>
                      <a:pt x="105" y="286"/>
                    </a:cubicBezTo>
                    <a:cubicBezTo>
                      <a:pt x="105" y="288"/>
                      <a:pt x="103" y="288"/>
                      <a:pt x="102" y="286"/>
                    </a:cubicBezTo>
                    <a:cubicBezTo>
                      <a:pt x="100" y="283"/>
                      <a:pt x="102" y="288"/>
                      <a:pt x="100" y="288"/>
                    </a:cubicBezTo>
                    <a:cubicBezTo>
                      <a:pt x="99" y="288"/>
                      <a:pt x="99" y="283"/>
                      <a:pt x="97" y="283"/>
                    </a:cubicBezTo>
                    <a:cubicBezTo>
                      <a:pt x="94" y="283"/>
                      <a:pt x="93" y="285"/>
                      <a:pt x="94" y="282"/>
                    </a:cubicBezTo>
                    <a:cubicBezTo>
                      <a:pt x="94" y="280"/>
                      <a:pt x="94" y="280"/>
                      <a:pt x="93" y="280"/>
                    </a:cubicBezTo>
                    <a:cubicBezTo>
                      <a:pt x="91" y="282"/>
                      <a:pt x="87" y="279"/>
                      <a:pt x="87" y="275"/>
                    </a:cubicBezTo>
                    <a:cubicBezTo>
                      <a:pt x="87" y="272"/>
                      <a:pt x="85" y="274"/>
                      <a:pt x="82" y="274"/>
                    </a:cubicBezTo>
                    <a:cubicBezTo>
                      <a:pt x="80" y="275"/>
                      <a:pt x="79" y="269"/>
                      <a:pt x="77" y="269"/>
                    </a:cubicBezTo>
                    <a:cubicBezTo>
                      <a:pt x="74" y="269"/>
                      <a:pt x="74" y="266"/>
                      <a:pt x="71" y="266"/>
                    </a:cubicBezTo>
                    <a:cubicBezTo>
                      <a:pt x="68" y="265"/>
                      <a:pt x="73" y="263"/>
                      <a:pt x="67" y="261"/>
                    </a:cubicBezTo>
                    <a:cubicBezTo>
                      <a:pt x="62" y="260"/>
                      <a:pt x="64" y="269"/>
                      <a:pt x="61" y="263"/>
                    </a:cubicBezTo>
                    <a:cubicBezTo>
                      <a:pt x="61" y="261"/>
                      <a:pt x="56" y="260"/>
                      <a:pt x="53" y="257"/>
                    </a:cubicBezTo>
                    <a:cubicBezTo>
                      <a:pt x="50" y="254"/>
                      <a:pt x="50" y="258"/>
                      <a:pt x="47" y="252"/>
                    </a:cubicBezTo>
                    <a:cubicBezTo>
                      <a:pt x="45" y="249"/>
                      <a:pt x="42" y="255"/>
                      <a:pt x="42" y="251"/>
                    </a:cubicBezTo>
                    <a:cubicBezTo>
                      <a:pt x="44" y="246"/>
                      <a:pt x="42" y="243"/>
                      <a:pt x="41" y="241"/>
                    </a:cubicBezTo>
                    <a:cubicBezTo>
                      <a:pt x="39" y="238"/>
                      <a:pt x="42" y="238"/>
                      <a:pt x="44" y="240"/>
                    </a:cubicBezTo>
                    <a:cubicBezTo>
                      <a:pt x="45" y="243"/>
                      <a:pt x="45" y="240"/>
                      <a:pt x="47" y="240"/>
                    </a:cubicBezTo>
                    <a:cubicBezTo>
                      <a:pt x="52" y="238"/>
                      <a:pt x="47" y="235"/>
                      <a:pt x="48" y="234"/>
                    </a:cubicBezTo>
                    <a:cubicBezTo>
                      <a:pt x="48" y="232"/>
                      <a:pt x="42" y="232"/>
                      <a:pt x="44" y="227"/>
                    </a:cubicBezTo>
                    <a:cubicBezTo>
                      <a:pt x="45" y="226"/>
                      <a:pt x="41" y="224"/>
                      <a:pt x="47" y="223"/>
                    </a:cubicBezTo>
                    <a:cubicBezTo>
                      <a:pt x="52" y="223"/>
                      <a:pt x="47" y="221"/>
                      <a:pt x="53" y="216"/>
                    </a:cubicBezTo>
                    <a:cubicBezTo>
                      <a:pt x="56" y="213"/>
                      <a:pt x="53" y="213"/>
                      <a:pt x="55" y="210"/>
                    </a:cubicBezTo>
                    <a:cubicBezTo>
                      <a:pt x="58" y="207"/>
                      <a:pt x="55" y="206"/>
                      <a:pt x="55" y="207"/>
                    </a:cubicBezTo>
                    <a:cubicBezTo>
                      <a:pt x="53" y="210"/>
                      <a:pt x="53" y="206"/>
                      <a:pt x="52" y="207"/>
                    </a:cubicBezTo>
                    <a:cubicBezTo>
                      <a:pt x="50" y="207"/>
                      <a:pt x="52" y="202"/>
                      <a:pt x="45" y="202"/>
                    </a:cubicBezTo>
                    <a:cubicBezTo>
                      <a:pt x="39" y="204"/>
                      <a:pt x="41" y="206"/>
                      <a:pt x="36" y="207"/>
                    </a:cubicBezTo>
                    <a:cubicBezTo>
                      <a:pt x="35" y="207"/>
                      <a:pt x="35" y="207"/>
                      <a:pt x="35" y="207"/>
                    </a:cubicBezTo>
                    <a:cubicBezTo>
                      <a:pt x="32" y="207"/>
                      <a:pt x="27" y="206"/>
                      <a:pt x="26" y="204"/>
                    </a:cubicBezTo>
                    <a:cubicBezTo>
                      <a:pt x="26" y="202"/>
                      <a:pt x="24" y="206"/>
                      <a:pt x="21" y="202"/>
                    </a:cubicBezTo>
                    <a:cubicBezTo>
                      <a:pt x="20" y="199"/>
                      <a:pt x="23" y="201"/>
                      <a:pt x="21" y="196"/>
                    </a:cubicBezTo>
                    <a:cubicBezTo>
                      <a:pt x="18" y="192"/>
                      <a:pt x="17" y="196"/>
                      <a:pt x="17" y="193"/>
                    </a:cubicBezTo>
                    <a:cubicBezTo>
                      <a:pt x="15" y="190"/>
                      <a:pt x="12" y="193"/>
                      <a:pt x="9" y="190"/>
                    </a:cubicBezTo>
                    <a:cubicBezTo>
                      <a:pt x="7" y="190"/>
                      <a:pt x="7" y="188"/>
                      <a:pt x="10" y="188"/>
                    </a:cubicBezTo>
                    <a:cubicBezTo>
                      <a:pt x="13" y="188"/>
                      <a:pt x="15" y="187"/>
                      <a:pt x="13" y="185"/>
                    </a:cubicBezTo>
                    <a:cubicBezTo>
                      <a:pt x="10" y="184"/>
                      <a:pt x="13" y="181"/>
                      <a:pt x="12" y="179"/>
                    </a:cubicBezTo>
                    <a:cubicBezTo>
                      <a:pt x="10" y="178"/>
                      <a:pt x="12" y="176"/>
                      <a:pt x="12" y="174"/>
                    </a:cubicBezTo>
                    <a:cubicBezTo>
                      <a:pt x="10" y="173"/>
                      <a:pt x="6" y="171"/>
                      <a:pt x="6" y="174"/>
                    </a:cubicBezTo>
                    <a:cubicBezTo>
                      <a:pt x="6" y="176"/>
                      <a:pt x="3" y="173"/>
                      <a:pt x="4" y="170"/>
                    </a:cubicBezTo>
                    <a:cubicBezTo>
                      <a:pt x="4" y="168"/>
                      <a:pt x="1" y="168"/>
                      <a:pt x="3" y="165"/>
                    </a:cubicBezTo>
                    <a:cubicBezTo>
                      <a:pt x="9" y="164"/>
                      <a:pt x="0" y="159"/>
                      <a:pt x="7" y="157"/>
                    </a:cubicBezTo>
                    <a:cubicBezTo>
                      <a:pt x="13" y="156"/>
                      <a:pt x="10" y="153"/>
                      <a:pt x="13" y="153"/>
                    </a:cubicBezTo>
                    <a:cubicBezTo>
                      <a:pt x="18" y="154"/>
                      <a:pt x="17" y="148"/>
                      <a:pt x="18" y="153"/>
                    </a:cubicBezTo>
                    <a:cubicBezTo>
                      <a:pt x="20" y="157"/>
                      <a:pt x="21" y="153"/>
                      <a:pt x="23" y="154"/>
                    </a:cubicBezTo>
                    <a:cubicBezTo>
                      <a:pt x="26" y="156"/>
                      <a:pt x="26" y="153"/>
                      <a:pt x="27" y="148"/>
                    </a:cubicBezTo>
                    <a:cubicBezTo>
                      <a:pt x="29" y="145"/>
                      <a:pt x="38" y="150"/>
                      <a:pt x="39" y="143"/>
                    </a:cubicBezTo>
                    <a:cubicBezTo>
                      <a:pt x="41" y="140"/>
                      <a:pt x="48" y="139"/>
                      <a:pt x="52" y="137"/>
                    </a:cubicBezTo>
                    <a:cubicBezTo>
                      <a:pt x="53" y="136"/>
                      <a:pt x="53" y="137"/>
                      <a:pt x="56" y="134"/>
                    </a:cubicBezTo>
                    <a:cubicBezTo>
                      <a:pt x="56" y="132"/>
                      <a:pt x="53" y="128"/>
                      <a:pt x="56" y="126"/>
                    </a:cubicBezTo>
                    <a:cubicBezTo>
                      <a:pt x="59" y="126"/>
                      <a:pt x="55" y="125"/>
                      <a:pt x="58" y="123"/>
                    </a:cubicBezTo>
                    <a:cubicBezTo>
                      <a:pt x="62" y="122"/>
                      <a:pt x="55" y="109"/>
                      <a:pt x="56" y="106"/>
                    </a:cubicBezTo>
                    <a:cubicBezTo>
                      <a:pt x="58" y="103"/>
                      <a:pt x="47" y="103"/>
                      <a:pt x="55" y="101"/>
                    </a:cubicBezTo>
                    <a:cubicBezTo>
                      <a:pt x="59" y="100"/>
                      <a:pt x="65" y="98"/>
                      <a:pt x="67" y="98"/>
                    </a:cubicBezTo>
                    <a:cubicBezTo>
                      <a:pt x="70" y="100"/>
                      <a:pt x="73" y="101"/>
                      <a:pt x="74" y="98"/>
                    </a:cubicBezTo>
                    <a:cubicBezTo>
                      <a:pt x="74" y="95"/>
                      <a:pt x="70" y="97"/>
                      <a:pt x="71" y="94"/>
                    </a:cubicBezTo>
                    <a:cubicBezTo>
                      <a:pt x="74" y="91"/>
                      <a:pt x="76" y="81"/>
                      <a:pt x="76" y="78"/>
                    </a:cubicBezTo>
                    <a:cubicBezTo>
                      <a:pt x="77" y="73"/>
                      <a:pt x="82" y="80"/>
                      <a:pt x="87" y="80"/>
                    </a:cubicBezTo>
                    <a:cubicBezTo>
                      <a:pt x="91" y="78"/>
                      <a:pt x="90" y="81"/>
                      <a:pt x="93" y="80"/>
                    </a:cubicBezTo>
                    <a:cubicBezTo>
                      <a:pt x="97" y="78"/>
                      <a:pt x="99" y="76"/>
                      <a:pt x="97" y="73"/>
                    </a:cubicBezTo>
                    <a:cubicBezTo>
                      <a:pt x="96" y="70"/>
                      <a:pt x="94" y="64"/>
                      <a:pt x="103" y="61"/>
                    </a:cubicBezTo>
                    <a:cubicBezTo>
                      <a:pt x="111" y="59"/>
                      <a:pt x="102" y="53"/>
                      <a:pt x="111" y="55"/>
                    </a:cubicBezTo>
                    <a:cubicBezTo>
                      <a:pt x="115" y="53"/>
                      <a:pt x="115" y="53"/>
                      <a:pt x="115" y="53"/>
                    </a:cubicBezTo>
                    <a:cubicBezTo>
                      <a:pt x="114" y="58"/>
                      <a:pt x="118" y="64"/>
                      <a:pt x="123" y="66"/>
                    </a:cubicBezTo>
                    <a:cubicBezTo>
                      <a:pt x="126" y="69"/>
                      <a:pt x="128" y="64"/>
                      <a:pt x="129" y="67"/>
                    </a:cubicBezTo>
                    <a:cubicBezTo>
                      <a:pt x="131" y="70"/>
                      <a:pt x="132" y="67"/>
                      <a:pt x="132" y="69"/>
                    </a:cubicBezTo>
                    <a:cubicBezTo>
                      <a:pt x="134" y="72"/>
                      <a:pt x="141" y="78"/>
                      <a:pt x="140" y="84"/>
                    </a:cubicBezTo>
                    <a:cubicBezTo>
                      <a:pt x="138" y="91"/>
                      <a:pt x="141" y="89"/>
                      <a:pt x="138" y="94"/>
                    </a:cubicBezTo>
                    <a:cubicBezTo>
                      <a:pt x="137" y="95"/>
                      <a:pt x="137" y="100"/>
                      <a:pt x="141" y="100"/>
                    </a:cubicBezTo>
                    <a:cubicBezTo>
                      <a:pt x="144" y="100"/>
                      <a:pt x="147" y="101"/>
                      <a:pt x="152" y="101"/>
                    </a:cubicBezTo>
                    <a:cubicBezTo>
                      <a:pt x="157" y="101"/>
                      <a:pt x="161" y="101"/>
                      <a:pt x="169" y="109"/>
                    </a:cubicBezTo>
                    <a:cubicBezTo>
                      <a:pt x="178" y="117"/>
                      <a:pt x="176" y="111"/>
                      <a:pt x="178" y="117"/>
                    </a:cubicBezTo>
                    <a:cubicBezTo>
                      <a:pt x="179" y="125"/>
                      <a:pt x="181" y="122"/>
                      <a:pt x="182" y="126"/>
                    </a:cubicBezTo>
                    <a:cubicBezTo>
                      <a:pt x="182" y="129"/>
                      <a:pt x="185" y="126"/>
                      <a:pt x="188" y="128"/>
                    </a:cubicBezTo>
                    <a:cubicBezTo>
                      <a:pt x="202" y="129"/>
                      <a:pt x="204" y="129"/>
                      <a:pt x="214" y="128"/>
                    </a:cubicBezTo>
                    <a:cubicBezTo>
                      <a:pt x="225" y="128"/>
                      <a:pt x="228" y="134"/>
                      <a:pt x="231" y="134"/>
                    </a:cubicBezTo>
                    <a:cubicBezTo>
                      <a:pt x="234" y="134"/>
                      <a:pt x="240" y="140"/>
                      <a:pt x="245" y="137"/>
                    </a:cubicBezTo>
                    <a:cubicBezTo>
                      <a:pt x="249" y="136"/>
                      <a:pt x="246" y="140"/>
                      <a:pt x="248" y="140"/>
                    </a:cubicBezTo>
                    <a:cubicBezTo>
                      <a:pt x="251" y="139"/>
                      <a:pt x="251" y="142"/>
                      <a:pt x="252" y="140"/>
                    </a:cubicBezTo>
                    <a:cubicBezTo>
                      <a:pt x="265" y="132"/>
                      <a:pt x="265" y="136"/>
                      <a:pt x="268" y="132"/>
                    </a:cubicBezTo>
                    <a:cubicBezTo>
                      <a:pt x="272" y="129"/>
                      <a:pt x="269" y="131"/>
                      <a:pt x="274" y="131"/>
                    </a:cubicBezTo>
                    <a:cubicBezTo>
                      <a:pt x="280" y="131"/>
                      <a:pt x="280" y="132"/>
                      <a:pt x="283" y="131"/>
                    </a:cubicBezTo>
                    <a:cubicBezTo>
                      <a:pt x="284" y="129"/>
                      <a:pt x="286" y="132"/>
                      <a:pt x="287" y="131"/>
                    </a:cubicBezTo>
                    <a:cubicBezTo>
                      <a:pt x="289" y="128"/>
                      <a:pt x="292" y="129"/>
                      <a:pt x="295" y="125"/>
                    </a:cubicBezTo>
                    <a:cubicBezTo>
                      <a:pt x="300" y="120"/>
                      <a:pt x="301" y="120"/>
                      <a:pt x="306" y="117"/>
                    </a:cubicBezTo>
                    <a:cubicBezTo>
                      <a:pt x="309" y="115"/>
                      <a:pt x="303" y="112"/>
                      <a:pt x="303" y="109"/>
                    </a:cubicBezTo>
                    <a:cubicBezTo>
                      <a:pt x="303" y="104"/>
                      <a:pt x="303" y="101"/>
                      <a:pt x="306" y="101"/>
                    </a:cubicBezTo>
                    <a:cubicBezTo>
                      <a:pt x="310" y="100"/>
                      <a:pt x="313" y="108"/>
                      <a:pt x="321" y="104"/>
                    </a:cubicBezTo>
                    <a:cubicBezTo>
                      <a:pt x="327" y="101"/>
                      <a:pt x="325" y="97"/>
                      <a:pt x="330" y="97"/>
                    </a:cubicBezTo>
                    <a:cubicBezTo>
                      <a:pt x="333" y="98"/>
                      <a:pt x="336" y="97"/>
                      <a:pt x="339" y="94"/>
                    </a:cubicBezTo>
                    <a:cubicBezTo>
                      <a:pt x="342" y="92"/>
                      <a:pt x="339" y="92"/>
                      <a:pt x="342" y="87"/>
                    </a:cubicBezTo>
                    <a:cubicBezTo>
                      <a:pt x="345" y="84"/>
                      <a:pt x="350" y="86"/>
                      <a:pt x="353" y="83"/>
                    </a:cubicBezTo>
                    <a:cubicBezTo>
                      <a:pt x="357" y="81"/>
                      <a:pt x="359" y="84"/>
                      <a:pt x="360" y="83"/>
                    </a:cubicBezTo>
                    <a:cubicBezTo>
                      <a:pt x="362" y="81"/>
                      <a:pt x="366" y="84"/>
                      <a:pt x="370" y="83"/>
                    </a:cubicBezTo>
                    <a:cubicBezTo>
                      <a:pt x="371" y="81"/>
                      <a:pt x="368" y="76"/>
                      <a:pt x="365" y="73"/>
                    </a:cubicBezTo>
                    <a:cubicBezTo>
                      <a:pt x="362" y="70"/>
                      <a:pt x="360" y="67"/>
                      <a:pt x="354" y="67"/>
                    </a:cubicBezTo>
                    <a:cubicBezTo>
                      <a:pt x="348" y="67"/>
                      <a:pt x="351" y="73"/>
                      <a:pt x="348" y="70"/>
                    </a:cubicBezTo>
                    <a:cubicBezTo>
                      <a:pt x="345" y="69"/>
                      <a:pt x="341" y="69"/>
                      <a:pt x="339" y="70"/>
                    </a:cubicBezTo>
                    <a:cubicBezTo>
                      <a:pt x="338" y="72"/>
                      <a:pt x="333" y="67"/>
                      <a:pt x="336" y="66"/>
                    </a:cubicBezTo>
                    <a:cubicBezTo>
                      <a:pt x="339" y="63"/>
                      <a:pt x="333" y="67"/>
                      <a:pt x="344" y="46"/>
                    </a:cubicBezTo>
                    <a:cubicBezTo>
                      <a:pt x="351" y="50"/>
                      <a:pt x="354" y="50"/>
                      <a:pt x="360" y="44"/>
                    </a:cubicBezTo>
                    <a:cubicBezTo>
                      <a:pt x="366" y="38"/>
                      <a:pt x="365" y="33"/>
                      <a:pt x="373" y="24"/>
                    </a:cubicBezTo>
                    <a:cubicBezTo>
                      <a:pt x="379" y="16"/>
                      <a:pt x="376" y="13"/>
                      <a:pt x="371" y="13"/>
                    </a:cubicBezTo>
                    <a:cubicBezTo>
                      <a:pt x="366" y="13"/>
                      <a:pt x="373" y="3"/>
                      <a:pt x="388" y="2"/>
                    </a:cubicBezTo>
                    <a:cubicBezTo>
                      <a:pt x="401" y="0"/>
                      <a:pt x="406" y="5"/>
                      <a:pt x="411" y="5"/>
                    </a:cubicBezTo>
                    <a:cubicBezTo>
                      <a:pt x="415" y="5"/>
                      <a:pt x="424" y="18"/>
                      <a:pt x="427" y="33"/>
                    </a:cubicBezTo>
                    <a:cubicBezTo>
                      <a:pt x="429" y="50"/>
                      <a:pt x="432" y="49"/>
                      <a:pt x="441" y="50"/>
                    </a:cubicBezTo>
                    <a:cubicBezTo>
                      <a:pt x="450" y="52"/>
                      <a:pt x="447" y="56"/>
                      <a:pt x="452" y="56"/>
                    </a:cubicBezTo>
                    <a:cubicBezTo>
                      <a:pt x="456" y="58"/>
                      <a:pt x="452" y="61"/>
                      <a:pt x="455" y="63"/>
                    </a:cubicBezTo>
                    <a:cubicBezTo>
                      <a:pt x="458" y="64"/>
                      <a:pt x="452" y="66"/>
                      <a:pt x="456" y="69"/>
                    </a:cubicBezTo>
                    <a:cubicBezTo>
                      <a:pt x="461" y="73"/>
                      <a:pt x="467" y="72"/>
                      <a:pt x="471" y="67"/>
                    </a:cubicBezTo>
                    <a:cubicBezTo>
                      <a:pt x="476" y="64"/>
                      <a:pt x="476" y="69"/>
                      <a:pt x="481" y="64"/>
                    </a:cubicBezTo>
                    <a:cubicBezTo>
                      <a:pt x="485" y="59"/>
                      <a:pt x="490" y="67"/>
                      <a:pt x="485" y="73"/>
                    </a:cubicBezTo>
                    <a:cubicBezTo>
                      <a:pt x="481" y="81"/>
                      <a:pt x="478" y="104"/>
                      <a:pt x="471" y="101"/>
                    </a:cubicBezTo>
                    <a:cubicBezTo>
                      <a:pt x="465" y="98"/>
                      <a:pt x="464" y="97"/>
                      <a:pt x="462" y="100"/>
                    </a:cubicBezTo>
                    <a:cubicBezTo>
                      <a:pt x="461" y="104"/>
                      <a:pt x="455" y="100"/>
                      <a:pt x="458" y="106"/>
                    </a:cubicBezTo>
                    <a:cubicBezTo>
                      <a:pt x="459" y="112"/>
                      <a:pt x="461" y="119"/>
                      <a:pt x="458" y="123"/>
                    </a:cubicBezTo>
                    <a:cubicBezTo>
                      <a:pt x="456" y="129"/>
                      <a:pt x="455" y="123"/>
                      <a:pt x="453" y="129"/>
                    </a:cubicBezTo>
                    <a:cubicBezTo>
                      <a:pt x="453" y="131"/>
                      <a:pt x="453" y="131"/>
                      <a:pt x="453" y="131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17" name="Freeform 11"/>
              <p:cNvSpPr>
                <a:spLocks noEditPoint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7353045" y="4549234"/>
                <a:ext cx="222235" cy="311123"/>
              </a:xfrm>
              <a:custGeom>
                <a:avLst/>
                <a:gdLst/>
                <a:ahLst/>
                <a:cxnLst>
                  <a:cxn ang="0">
                    <a:pos x="47" y="68"/>
                  </a:cxn>
                  <a:cxn ang="0">
                    <a:pos x="53" y="68"/>
                  </a:cxn>
                  <a:cxn ang="0">
                    <a:pos x="53" y="70"/>
                  </a:cxn>
                  <a:cxn ang="0">
                    <a:pos x="56" y="74"/>
                  </a:cxn>
                  <a:cxn ang="0">
                    <a:pos x="62" y="76"/>
                  </a:cxn>
                  <a:cxn ang="0">
                    <a:pos x="62" y="82"/>
                  </a:cxn>
                  <a:cxn ang="0">
                    <a:pos x="53" y="95"/>
                  </a:cxn>
                  <a:cxn ang="0">
                    <a:pos x="53" y="101"/>
                  </a:cxn>
                  <a:cxn ang="0">
                    <a:pos x="51" y="104"/>
                  </a:cxn>
                  <a:cxn ang="0">
                    <a:pos x="39" y="113"/>
                  </a:cxn>
                  <a:cxn ang="0">
                    <a:pos x="36" y="126"/>
                  </a:cxn>
                  <a:cxn ang="0">
                    <a:pos x="30" y="132"/>
                  </a:cxn>
                  <a:cxn ang="0">
                    <a:pos x="18" y="135"/>
                  </a:cxn>
                  <a:cxn ang="0">
                    <a:pos x="13" y="132"/>
                  </a:cxn>
                  <a:cxn ang="0">
                    <a:pos x="9" y="130"/>
                  </a:cxn>
                  <a:cxn ang="0">
                    <a:pos x="1" y="129"/>
                  </a:cxn>
                  <a:cxn ang="0">
                    <a:pos x="4" y="124"/>
                  </a:cxn>
                  <a:cxn ang="0">
                    <a:pos x="9" y="115"/>
                  </a:cxn>
                  <a:cxn ang="0">
                    <a:pos x="19" y="105"/>
                  </a:cxn>
                  <a:cxn ang="0">
                    <a:pos x="24" y="101"/>
                  </a:cxn>
                  <a:cxn ang="0">
                    <a:pos x="35" y="95"/>
                  </a:cxn>
                  <a:cxn ang="0">
                    <a:pos x="44" y="79"/>
                  </a:cxn>
                  <a:cxn ang="0">
                    <a:pos x="47" y="68"/>
                  </a:cxn>
                  <a:cxn ang="0">
                    <a:pos x="74" y="78"/>
                  </a:cxn>
                  <a:cxn ang="0">
                    <a:pos x="85" y="56"/>
                  </a:cxn>
                  <a:cxn ang="0">
                    <a:pos x="91" y="53"/>
                  </a:cxn>
                  <a:cxn ang="0">
                    <a:pos x="94" y="47"/>
                  </a:cxn>
                  <a:cxn ang="0">
                    <a:pos x="97" y="37"/>
                  </a:cxn>
                  <a:cxn ang="0">
                    <a:pos x="91" y="36"/>
                  </a:cxn>
                  <a:cxn ang="0">
                    <a:pos x="80" y="36"/>
                  </a:cxn>
                  <a:cxn ang="0">
                    <a:pos x="74" y="23"/>
                  </a:cxn>
                  <a:cxn ang="0">
                    <a:pos x="74" y="28"/>
                  </a:cxn>
                  <a:cxn ang="0">
                    <a:pos x="68" y="22"/>
                  </a:cxn>
                  <a:cxn ang="0">
                    <a:pos x="65" y="16"/>
                  </a:cxn>
                  <a:cxn ang="0">
                    <a:pos x="63" y="9"/>
                  </a:cxn>
                  <a:cxn ang="0">
                    <a:pos x="57" y="5"/>
                  </a:cxn>
                  <a:cxn ang="0">
                    <a:pos x="51" y="0"/>
                  </a:cxn>
                  <a:cxn ang="0">
                    <a:pos x="53" y="5"/>
                  </a:cxn>
                  <a:cxn ang="0">
                    <a:pos x="56" y="9"/>
                  </a:cxn>
                  <a:cxn ang="0">
                    <a:pos x="62" y="20"/>
                  </a:cxn>
                  <a:cxn ang="0">
                    <a:pos x="63" y="23"/>
                  </a:cxn>
                  <a:cxn ang="0">
                    <a:pos x="66" y="31"/>
                  </a:cxn>
                  <a:cxn ang="0">
                    <a:pos x="66" y="43"/>
                  </a:cxn>
                  <a:cxn ang="0">
                    <a:pos x="59" y="53"/>
                  </a:cxn>
                  <a:cxn ang="0">
                    <a:pos x="68" y="60"/>
                  </a:cxn>
                  <a:cxn ang="0">
                    <a:pos x="68" y="73"/>
                  </a:cxn>
                  <a:cxn ang="0">
                    <a:pos x="68" y="76"/>
                  </a:cxn>
                  <a:cxn ang="0">
                    <a:pos x="74" y="78"/>
                  </a:cxn>
                </a:cxnLst>
                <a:rect l="0" t="0" r="r" b="b"/>
                <a:pathLst>
                  <a:path w="98" h="137">
                    <a:moveTo>
                      <a:pt x="47" y="68"/>
                    </a:moveTo>
                    <a:cubicBezTo>
                      <a:pt x="51" y="64"/>
                      <a:pt x="54" y="67"/>
                      <a:pt x="53" y="68"/>
                    </a:cubicBezTo>
                    <a:cubicBezTo>
                      <a:pt x="50" y="68"/>
                      <a:pt x="51" y="70"/>
                      <a:pt x="53" y="70"/>
                    </a:cubicBezTo>
                    <a:cubicBezTo>
                      <a:pt x="54" y="70"/>
                      <a:pt x="51" y="79"/>
                      <a:pt x="56" y="74"/>
                    </a:cubicBezTo>
                    <a:cubicBezTo>
                      <a:pt x="62" y="70"/>
                      <a:pt x="65" y="71"/>
                      <a:pt x="62" y="76"/>
                    </a:cubicBezTo>
                    <a:cubicBezTo>
                      <a:pt x="60" y="79"/>
                      <a:pt x="66" y="78"/>
                      <a:pt x="62" y="82"/>
                    </a:cubicBezTo>
                    <a:cubicBezTo>
                      <a:pt x="57" y="88"/>
                      <a:pt x="56" y="95"/>
                      <a:pt x="53" y="95"/>
                    </a:cubicBezTo>
                    <a:cubicBezTo>
                      <a:pt x="51" y="95"/>
                      <a:pt x="50" y="101"/>
                      <a:pt x="53" y="101"/>
                    </a:cubicBezTo>
                    <a:cubicBezTo>
                      <a:pt x="56" y="102"/>
                      <a:pt x="54" y="105"/>
                      <a:pt x="51" y="104"/>
                    </a:cubicBezTo>
                    <a:cubicBezTo>
                      <a:pt x="50" y="104"/>
                      <a:pt x="39" y="105"/>
                      <a:pt x="39" y="113"/>
                    </a:cubicBezTo>
                    <a:cubicBezTo>
                      <a:pt x="39" y="120"/>
                      <a:pt x="33" y="123"/>
                      <a:pt x="36" y="126"/>
                    </a:cubicBezTo>
                    <a:cubicBezTo>
                      <a:pt x="38" y="129"/>
                      <a:pt x="33" y="126"/>
                      <a:pt x="30" y="132"/>
                    </a:cubicBezTo>
                    <a:cubicBezTo>
                      <a:pt x="25" y="137"/>
                      <a:pt x="22" y="137"/>
                      <a:pt x="18" y="135"/>
                    </a:cubicBezTo>
                    <a:cubicBezTo>
                      <a:pt x="13" y="135"/>
                      <a:pt x="16" y="132"/>
                      <a:pt x="13" y="132"/>
                    </a:cubicBezTo>
                    <a:cubicBezTo>
                      <a:pt x="10" y="133"/>
                      <a:pt x="12" y="129"/>
                      <a:pt x="9" y="130"/>
                    </a:cubicBezTo>
                    <a:cubicBezTo>
                      <a:pt x="6" y="133"/>
                      <a:pt x="3" y="132"/>
                      <a:pt x="1" y="129"/>
                    </a:cubicBezTo>
                    <a:cubicBezTo>
                      <a:pt x="0" y="126"/>
                      <a:pt x="6" y="127"/>
                      <a:pt x="4" y="124"/>
                    </a:cubicBezTo>
                    <a:cubicBezTo>
                      <a:pt x="3" y="121"/>
                      <a:pt x="6" y="118"/>
                      <a:pt x="9" y="115"/>
                    </a:cubicBezTo>
                    <a:cubicBezTo>
                      <a:pt x="13" y="112"/>
                      <a:pt x="15" y="105"/>
                      <a:pt x="19" y="105"/>
                    </a:cubicBezTo>
                    <a:cubicBezTo>
                      <a:pt x="22" y="105"/>
                      <a:pt x="22" y="102"/>
                      <a:pt x="24" y="101"/>
                    </a:cubicBezTo>
                    <a:cubicBezTo>
                      <a:pt x="27" y="101"/>
                      <a:pt x="30" y="96"/>
                      <a:pt x="35" y="95"/>
                    </a:cubicBezTo>
                    <a:cubicBezTo>
                      <a:pt x="38" y="92"/>
                      <a:pt x="39" y="81"/>
                      <a:pt x="44" y="79"/>
                    </a:cubicBezTo>
                    <a:cubicBezTo>
                      <a:pt x="48" y="78"/>
                      <a:pt x="44" y="71"/>
                      <a:pt x="47" y="68"/>
                    </a:cubicBezTo>
                    <a:close/>
                    <a:moveTo>
                      <a:pt x="74" y="78"/>
                    </a:moveTo>
                    <a:cubicBezTo>
                      <a:pt x="76" y="76"/>
                      <a:pt x="88" y="59"/>
                      <a:pt x="85" y="56"/>
                    </a:cubicBezTo>
                    <a:cubicBezTo>
                      <a:pt x="83" y="54"/>
                      <a:pt x="86" y="48"/>
                      <a:pt x="91" y="53"/>
                    </a:cubicBezTo>
                    <a:cubicBezTo>
                      <a:pt x="95" y="56"/>
                      <a:pt x="89" y="47"/>
                      <a:pt x="94" y="47"/>
                    </a:cubicBezTo>
                    <a:cubicBezTo>
                      <a:pt x="97" y="45"/>
                      <a:pt x="95" y="39"/>
                      <a:pt x="97" y="37"/>
                    </a:cubicBezTo>
                    <a:cubicBezTo>
                      <a:pt x="98" y="34"/>
                      <a:pt x="92" y="33"/>
                      <a:pt x="91" y="36"/>
                    </a:cubicBezTo>
                    <a:cubicBezTo>
                      <a:pt x="89" y="40"/>
                      <a:pt x="85" y="39"/>
                      <a:pt x="80" y="36"/>
                    </a:cubicBezTo>
                    <a:cubicBezTo>
                      <a:pt x="76" y="33"/>
                      <a:pt x="77" y="26"/>
                      <a:pt x="74" y="23"/>
                    </a:cubicBezTo>
                    <a:cubicBezTo>
                      <a:pt x="71" y="19"/>
                      <a:pt x="71" y="23"/>
                      <a:pt x="74" y="28"/>
                    </a:cubicBezTo>
                    <a:cubicBezTo>
                      <a:pt x="76" y="33"/>
                      <a:pt x="66" y="26"/>
                      <a:pt x="68" y="22"/>
                    </a:cubicBezTo>
                    <a:cubicBezTo>
                      <a:pt x="68" y="19"/>
                      <a:pt x="65" y="19"/>
                      <a:pt x="65" y="16"/>
                    </a:cubicBezTo>
                    <a:cubicBezTo>
                      <a:pt x="65" y="12"/>
                      <a:pt x="65" y="12"/>
                      <a:pt x="63" y="9"/>
                    </a:cubicBezTo>
                    <a:cubicBezTo>
                      <a:pt x="62" y="6"/>
                      <a:pt x="60" y="6"/>
                      <a:pt x="57" y="5"/>
                    </a:cubicBezTo>
                    <a:cubicBezTo>
                      <a:pt x="54" y="5"/>
                      <a:pt x="56" y="0"/>
                      <a:pt x="51" y="0"/>
                    </a:cubicBezTo>
                    <a:cubicBezTo>
                      <a:pt x="48" y="0"/>
                      <a:pt x="50" y="0"/>
                      <a:pt x="53" y="5"/>
                    </a:cubicBezTo>
                    <a:cubicBezTo>
                      <a:pt x="56" y="8"/>
                      <a:pt x="53" y="6"/>
                      <a:pt x="56" y="9"/>
                    </a:cubicBezTo>
                    <a:cubicBezTo>
                      <a:pt x="57" y="14"/>
                      <a:pt x="60" y="23"/>
                      <a:pt x="62" y="20"/>
                    </a:cubicBezTo>
                    <a:cubicBezTo>
                      <a:pt x="63" y="17"/>
                      <a:pt x="65" y="25"/>
                      <a:pt x="63" y="23"/>
                    </a:cubicBezTo>
                    <a:cubicBezTo>
                      <a:pt x="62" y="22"/>
                      <a:pt x="62" y="23"/>
                      <a:pt x="66" y="31"/>
                    </a:cubicBezTo>
                    <a:cubicBezTo>
                      <a:pt x="70" y="39"/>
                      <a:pt x="66" y="39"/>
                      <a:pt x="66" y="43"/>
                    </a:cubicBezTo>
                    <a:cubicBezTo>
                      <a:pt x="66" y="50"/>
                      <a:pt x="60" y="50"/>
                      <a:pt x="59" y="53"/>
                    </a:cubicBezTo>
                    <a:cubicBezTo>
                      <a:pt x="59" y="56"/>
                      <a:pt x="65" y="59"/>
                      <a:pt x="68" y="60"/>
                    </a:cubicBezTo>
                    <a:cubicBezTo>
                      <a:pt x="73" y="62"/>
                      <a:pt x="70" y="71"/>
                      <a:pt x="68" y="73"/>
                    </a:cubicBezTo>
                    <a:cubicBezTo>
                      <a:pt x="66" y="74"/>
                      <a:pt x="63" y="74"/>
                      <a:pt x="68" y="76"/>
                    </a:cubicBezTo>
                    <a:cubicBezTo>
                      <a:pt x="71" y="76"/>
                      <a:pt x="70" y="81"/>
                      <a:pt x="74" y="78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18" name="Freeform 12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3044020" y="1484784"/>
                <a:ext cx="1110006" cy="814068"/>
              </a:xfrm>
              <a:custGeom>
                <a:avLst/>
                <a:gdLst/>
                <a:ahLst/>
                <a:cxnLst>
                  <a:cxn ang="0">
                    <a:pos x="394" y="224"/>
                  </a:cxn>
                  <a:cxn ang="0">
                    <a:pos x="343" y="245"/>
                  </a:cxn>
                  <a:cxn ang="0">
                    <a:pos x="315" y="259"/>
                  </a:cxn>
                  <a:cxn ang="0">
                    <a:pos x="291" y="276"/>
                  </a:cxn>
                  <a:cxn ang="0">
                    <a:pos x="280" y="283"/>
                  </a:cxn>
                  <a:cxn ang="0">
                    <a:pos x="279" y="272"/>
                  </a:cxn>
                  <a:cxn ang="0">
                    <a:pos x="273" y="283"/>
                  </a:cxn>
                  <a:cxn ang="0">
                    <a:pos x="260" y="290"/>
                  </a:cxn>
                  <a:cxn ang="0">
                    <a:pos x="256" y="303"/>
                  </a:cxn>
                  <a:cxn ang="0">
                    <a:pos x="244" y="321"/>
                  </a:cxn>
                  <a:cxn ang="0">
                    <a:pos x="241" y="346"/>
                  </a:cxn>
                  <a:cxn ang="0">
                    <a:pos x="227" y="356"/>
                  </a:cxn>
                  <a:cxn ang="0">
                    <a:pos x="215" y="342"/>
                  </a:cxn>
                  <a:cxn ang="0">
                    <a:pos x="198" y="343"/>
                  </a:cxn>
                  <a:cxn ang="0">
                    <a:pos x="187" y="331"/>
                  </a:cxn>
                  <a:cxn ang="0">
                    <a:pos x="175" y="314"/>
                  </a:cxn>
                  <a:cxn ang="0">
                    <a:pos x="178" y="298"/>
                  </a:cxn>
                  <a:cxn ang="0">
                    <a:pos x="172" y="297"/>
                  </a:cxn>
                  <a:cxn ang="0">
                    <a:pos x="160" y="281"/>
                  </a:cxn>
                  <a:cxn ang="0">
                    <a:pos x="155" y="252"/>
                  </a:cxn>
                  <a:cxn ang="0">
                    <a:pos x="174" y="241"/>
                  </a:cxn>
                  <a:cxn ang="0">
                    <a:pos x="169" y="220"/>
                  </a:cxn>
                  <a:cxn ang="0">
                    <a:pos x="175" y="213"/>
                  </a:cxn>
                  <a:cxn ang="0">
                    <a:pos x="152" y="197"/>
                  </a:cxn>
                  <a:cxn ang="0">
                    <a:pos x="142" y="183"/>
                  </a:cxn>
                  <a:cxn ang="0">
                    <a:pos x="129" y="158"/>
                  </a:cxn>
                  <a:cxn ang="0">
                    <a:pos x="97" y="127"/>
                  </a:cxn>
                  <a:cxn ang="0">
                    <a:pos x="56" y="126"/>
                  </a:cxn>
                  <a:cxn ang="0">
                    <a:pos x="17" y="115"/>
                  </a:cxn>
                  <a:cxn ang="0">
                    <a:pos x="21" y="102"/>
                  </a:cxn>
                  <a:cxn ang="0">
                    <a:pos x="39" y="79"/>
                  </a:cxn>
                  <a:cxn ang="0">
                    <a:pos x="62" y="49"/>
                  </a:cxn>
                  <a:cxn ang="0">
                    <a:pos x="154" y="26"/>
                  </a:cxn>
                  <a:cxn ang="0">
                    <a:pos x="183" y="21"/>
                  </a:cxn>
                  <a:cxn ang="0">
                    <a:pos x="221" y="17"/>
                  </a:cxn>
                  <a:cxn ang="0">
                    <a:pos x="209" y="14"/>
                  </a:cxn>
                  <a:cxn ang="0">
                    <a:pos x="279" y="10"/>
                  </a:cxn>
                  <a:cxn ang="0">
                    <a:pos x="343" y="3"/>
                  </a:cxn>
                  <a:cxn ang="0">
                    <a:pos x="355" y="10"/>
                  </a:cxn>
                  <a:cxn ang="0">
                    <a:pos x="393" y="26"/>
                  </a:cxn>
                  <a:cxn ang="0">
                    <a:pos x="375" y="35"/>
                  </a:cxn>
                  <a:cxn ang="0">
                    <a:pos x="407" y="43"/>
                  </a:cxn>
                  <a:cxn ang="0">
                    <a:pos x="483" y="38"/>
                  </a:cxn>
                  <a:cxn ang="0">
                    <a:pos x="426" y="54"/>
                  </a:cxn>
                  <a:cxn ang="0">
                    <a:pos x="420" y="65"/>
                  </a:cxn>
                  <a:cxn ang="0">
                    <a:pos x="422" y="82"/>
                  </a:cxn>
                  <a:cxn ang="0">
                    <a:pos x="425" y="102"/>
                  </a:cxn>
                  <a:cxn ang="0">
                    <a:pos x="413" y="116"/>
                  </a:cxn>
                  <a:cxn ang="0">
                    <a:pos x="425" y="132"/>
                  </a:cxn>
                  <a:cxn ang="0">
                    <a:pos x="426" y="155"/>
                  </a:cxn>
                  <a:cxn ang="0">
                    <a:pos x="408" y="169"/>
                  </a:cxn>
                  <a:cxn ang="0">
                    <a:pos x="391" y="188"/>
                  </a:cxn>
                  <a:cxn ang="0">
                    <a:pos x="408" y="199"/>
                  </a:cxn>
                  <a:cxn ang="0">
                    <a:pos x="382" y="199"/>
                  </a:cxn>
                  <a:cxn ang="0">
                    <a:pos x="362" y="205"/>
                  </a:cxn>
                  <a:cxn ang="0">
                    <a:pos x="362" y="216"/>
                  </a:cxn>
                </a:cxnLst>
                <a:rect l="0" t="0" r="r" b="b"/>
                <a:pathLst>
                  <a:path w="489" h="359">
                    <a:moveTo>
                      <a:pt x="375" y="216"/>
                    </a:moveTo>
                    <a:cubicBezTo>
                      <a:pt x="382" y="210"/>
                      <a:pt x="387" y="219"/>
                      <a:pt x="396" y="219"/>
                    </a:cubicBezTo>
                    <a:cubicBezTo>
                      <a:pt x="405" y="217"/>
                      <a:pt x="408" y="217"/>
                      <a:pt x="402" y="220"/>
                    </a:cubicBezTo>
                    <a:cubicBezTo>
                      <a:pt x="396" y="222"/>
                      <a:pt x="401" y="224"/>
                      <a:pt x="394" y="224"/>
                    </a:cubicBezTo>
                    <a:cubicBezTo>
                      <a:pt x="390" y="224"/>
                      <a:pt x="396" y="227"/>
                      <a:pt x="390" y="228"/>
                    </a:cubicBezTo>
                    <a:cubicBezTo>
                      <a:pt x="384" y="228"/>
                      <a:pt x="381" y="231"/>
                      <a:pt x="378" y="236"/>
                    </a:cubicBezTo>
                    <a:cubicBezTo>
                      <a:pt x="375" y="239"/>
                      <a:pt x="362" y="239"/>
                      <a:pt x="353" y="242"/>
                    </a:cubicBezTo>
                    <a:cubicBezTo>
                      <a:pt x="344" y="247"/>
                      <a:pt x="344" y="241"/>
                      <a:pt x="343" y="245"/>
                    </a:cubicBezTo>
                    <a:cubicBezTo>
                      <a:pt x="341" y="248"/>
                      <a:pt x="335" y="248"/>
                      <a:pt x="332" y="247"/>
                    </a:cubicBezTo>
                    <a:cubicBezTo>
                      <a:pt x="327" y="245"/>
                      <a:pt x="318" y="238"/>
                      <a:pt x="324" y="244"/>
                    </a:cubicBezTo>
                    <a:cubicBezTo>
                      <a:pt x="329" y="248"/>
                      <a:pt x="327" y="250"/>
                      <a:pt x="324" y="250"/>
                    </a:cubicBezTo>
                    <a:cubicBezTo>
                      <a:pt x="321" y="250"/>
                      <a:pt x="317" y="253"/>
                      <a:pt x="315" y="259"/>
                    </a:cubicBezTo>
                    <a:cubicBezTo>
                      <a:pt x="315" y="264"/>
                      <a:pt x="305" y="273"/>
                      <a:pt x="300" y="273"/>
                    </a:cubicBezTo>
                    <a:cubicBezTo>
                      <a:pt x="300" y="273"/>
                      <a:pt x="300" y="272"/>
                      <a:pt x="298" y="272"/>
                    </a:cubicBezTo>
                    <a:cubicBezTo>
                      <a:pt x="297" y="272"/>
                      <a:pt x="298" y="275"/>
                      <a:pt x="297" y="275"/>
                    </a:cubicBezTo>
                    <a:cubicBezTo>
                      <a:pt x="295" y="275"/>
                      <a:pt x="292" y="278"/>
                      <a:pt x="291" y="276"/>
                    </a:cubicBezTo>
                    <a:cubicBezTo>
                      <a:pt x="288" y="278"/>
                      <a:pt x="288" y="278"/>
                      <a:pt x="288" y="278"/>
                    </a:cubicBezTo>
                    <a:cubicBezTo>
                      <a:pt x="289" y="280"/>
                      <a:pt x="289" y="281"/>
                      <a:pt x="288" y="280"/>
                    </a:cubicBezTo>
                    <a:cubicBezTo>
                      <a:pt x="286" y="278"/>
                      <a:pt x="286" y="280"/>
                      <a:pt x="285" y="281"/>
                    </a:cubicBezTo>
                    <a:cubicBezTo>
                      <a:pt x="283" y="283"/>
                      <a:pt x="282" y="283"/>
                      <a:pt x="280" y="283"/>
                    </a:cubicBezTo>
                    <a:cubicBezTo>
                      <a:pt x="279" y="281"/>
                      <a:pt x="280" y="278"/>
                      <a:pt x="280" y="276"/>
                    </a:cubicBezTo>
                    <a:cubicBezTo>
                      <a:pt x="280" y="275"/>
                      <a:pt x="283" y="275"/>
                      <a:pt x="283" y="273"/>
                    </a:cubicBezTo>
                    <a:cubicBezTo>
                      <a:pt x="283" y="272"/>
                      <a:pt x="286" y="272"/>
                      <a:pt x="283" y="272"/>
                    </a:cubicBezTo>
                    <a:cubicBezTo>
                      <a:pt x="280" y="272"/>
                      <a:pt x="280" y="270"/>
                      <a:pt x="279" y="272"/>
                    </a:cubicBezTo>
                    <a:cubicBezTo>
                      <a:pt x="279" y="272"/>
                      <a:pt x="283" y="273"/>
                      <a:pt x="280" y="275"/>
                    </a:cubicBezTo>
                    <a:cubicBezTo>
                      <a:pt x="277" y="276"/>
                      <a:pt x="280" y="276"/>
                      <a:pt x="279" y="278"/>
                    </a:cubicBezTo>
                    <a:cubicBezTo>
                      <a:pt x="276" y="280"/>
                      <a:pt x="279" y="280"/>
                      <a:pt x="277" y="281"/>
                    </a:cubicBezTo>
                    <a:cubicBezTo>
                      <a:pt x="277" y="283"/>
                      <a:pt x="276" y="281"/>
                      <a:pt x="273" y="283"/>
                    </a:cubicBezTo>
                    <a:cubicBezTo>
                      <a:pt x="270" y="283"/>
                      <a:pt x="268" y="281"/>
                      <a:pt x="266" y="283"/>
                    </a:cubicBezTo>
                    <a:cubicBezTo>
                      <a:pt x="263" y="284"/>
                      <a:pt x="262" y="283"/>
                      <a:pt x="265" y="284"/>
                    </a:cubicBezTo>
                    <a:cubicBezTo>
                      <a:pt x="268" y="286"/>
                      <a:pt x="268" y="287"/>
                      <a:pt x="266" y="286"/>
                    </a:cubicBezTo>
                    <a:cubicBezTo>
                      <a:pt x="263" y="286"/>
                      <a:pt x="263" y="292"/>
                      <a:pt x="260" y="290"/>
                    </a:cubicBezTo>
                    <a:cubicBezTo>
                      <a:pt x="257" y="289"/>
                      <a:pt x="251" y="289"/>
                      <a:pt x="256" y="293"/>
                    </a:cubicBezTo>
                    <a:cubicBezTo>
                      <a:pt x="260" y="298"/>
                      <a:pt x="260" y="300"/>
                      <a:pt x="259" y="300"/>
                    </a:cubicBezTo>
                    <a:cubicBezTo>
                      <a:pt x="256" y="298"/>
                      <a:pt x="256" y="301"/>
                      <a:pt x="253" y="300"/>
                    </a:cubicBezTo>
                    <a:cubicBezTo>
                      <a:pt x="250" y="298"/>
                      <a:pt x="251" y="303"/>
                      <a:pt x="256" y="303"/>
                    </a:cubicBezTo>
                    <a:cubicBezTo>
                      <a:pt x="260" y="303"/>
                      <a:pt x="257" y="303"/>
                      <a:pt x="259" y="306"/>
                    </a:cubicBezTo>
                    <a:cubicBezTo>
                      <a:pt x="259" y="311"/>
                      <a:pt x="254" y="311"/>
                      <a:pt x="254" y="314"/>
                    </a:cubicBezTo>
                    <a:cubicBezTo>
                      <a:pt x="254" y="318"/>
                      <a:pt x="251" y="311"/>
                      <a:pt x="251" y="315"/>
                    </a:cubicBezTo>
                    <a:cubicBezTo>
                      <a:pt x="250" y="321"/>
                      <a:pt x="244" y="318"/>
                      <a:pt x="244" y="321"/>
                    </a:cubicBezTo>
                    <a:cubicBezTo>
                      <a:pt x="242" y="323"/>
                      <a:pt x="245" y="321"/>
                      <a:pt x="245" y="325"/>
                    </a:cubicBezTo>
                    <a:cubicBezTo>
                      <a:pt x="247" y="328"/>
                      <a:pt x="239" y="321"/>
                      <a:pt x="242" y="326"/>
                    </a:cubicBezTo>
                    <a:cubicBezTo>
                      <a:pt x="244" y="329"/>
                      <a:pt x="245" y="325"/>
                      <a:pt x="245" y="329"/>
                    </a:cubicBezTo>
                    <a:cubicBezTo>
                      <a:pt x="247" y="334"/>
                      <a:pt x="239" y="343"/>
                      <a:pt x="241" y="346"/>
                    </a:cubicBezTo>
                    <a:cubicBezTo>
                      <a:pt x="242" y="350"/>
                      <a:pt x="237" y="350"/>
                      <a:pt x="236" y="351"/>
                    </a:cubicBezTo>
                    <a:cubicBezTo>
                      <a:pt x="234" y="354"/>
                      <a:pt x="239" y="350"/>
                      <a:pt x="239" y="354"/>
                    </a:cubicBezTo>
                    <a:cubicBezTo>
                      <a:pt x="239" y="359"/>
                      <a:pt x="236" y="359"/>
                      <a:pt x="233" y="357"/>
                    </a:cubicBezTo>
                    <a:cubicBezTo>
                      <a:pt x="230" y="354"/>
                      <a:pt x="230" y="353"/>
                      <a:pt x="227" y="356"/>
                    </a:cubicBezTo>
                    <a:cubicBezTo>
                      <a:pt x="225" y="357"/>
                      <a:pt x="221" y="357"/>
                      <a:pt x="222" y="353"/>
                    </a:cubicBezTo>
                    <a:cubicBezTo>
                      <a:pt x="227" y="348"/>
                      <a:pt x="221" y="353"/>
                      <a:pt x="218" y="351"/>
                    </a:cubicBezTo>
                    <a:cubicBezTo>
                      <a:pt x="213" y="348"/>
                      <a:pt x="213" y="348"/>
                      <a:pt x="216" y="345"/>
                    </a:cubicBezTo>
                    <a:cubicBezTo>
                      <a:pt x="219" y="342"/>
                      <a:pt x="215" y="339"/>
                      <a:pt x="215" y="342"/>
                    </a:cubicBezTo>
                    <a:cubicBezTo>
                      <a:pt x="216" y="343"/>
                      <a:pt x="212" y="343"/>
                      <a:pt x="210" y="346"/>
                    </a:cubicBezTo>
                    <a:cubicBezTo>
                      <a:pt x="207" y="348"/>
                      <a:pt x="209" y="343"/>
                      <a:pt x="204" y="346"/>
                    </a:cubicBezTo>
                    <a:cubicBezTo>
                      <a:pt x="199" y="350"/>
                      <a:pt x="198" y="348"/>
                      <a:pt x="198" y="345"/>
                    </a:cubicBezTo>
                    <a:cubicBezTo>
                      <a:pt x="196" y="343"/>
                      <a:pt x="199" y="345"/>
                      <a:pt x="198" y="343"/>
                    </a:cubicBezTo>
                    <a:cubicBezTo>
                      <a:pt x="198" y="340"/>
                      <a:pt x="193" y="343"/>
                      <a:pt x="195" y="340"/>
                    </a:cubicBezTo>
                    <a:cubicBezTo>
                      <a:pt x="196" y="337"/>
                      <a:pt x="189" y="340"/>
                      <a:pt x="190" y="337"/>
                    </a:cubicBezTo>
                    <a:cubicBezTo>
                      <a:pt x="192" y="334"/>
                      <a:pt x="192" y="334"/>
                      <a:pt x="189" y="334"/>
                    </a:cubicBezTo>
                    <a:cubicBezTo>
                      <a:pt x="187" y="336"/>
                      <a:pt x="190" y="329"/>
                      <a:pt x="187" y="331"/>
                    </a:cubicBezTo>
                    <a:cubicBezTo>
                      <a:pt x="184" y="332"/>
                      <a:pt x="189" y="328"/>
                      <a:pt x="184" y="326"/>
                    </a:cubicBezTo>
                    <a:cubicBezTo>
                      <a:pt x="181" y="325"/>
                      <a:pt x="181" y="325"/>
                      <a:pt x="181" y="323"/>
                    </a:cubicBezTo>
                    <a:cubicBezTo>
                      <a:pt x="181" y="320"/>
                      <a:pt x="178" y="318"/>
                      <a:pt x="180" y="317"/>
                    </a:cubicBezTo>
                    <a:cubicBezTo>
                      <a:pt x="180" y="314"/>
                      <a:pt x="177" y="317"/>
                      <a:pt x="175" y="314"/>
                    </a:cubicBezTo>
                    <a:cubicBezTo>
                      <a:pt x="174" y="311"/>
                      <a:pt x="170" y="307"/>
                      <a:pt x="172" y="306"/>
                    </a:cubicBezTo>
                    <a:cubicBezTo>
                      <a:pt x="174" y="304"/>
                      <a:pt x="169" y="304"/>
                      <a:pt x="172" y="303"/>
                    </a:cubicBezTo>
                    <a:cubicBezTo>
                      <a:pt x="174" y="303"/>
                      <a:pt x="167" y="301"/>
                      <a:pt x="174" y="301"/>
                    </a:cubicBezTo>
                    <a:cubicBezTo>
                      <a:pt x="178" y="301"/>
                      <a:pt x="172" y="298"/>
                      <a:pt x="178" y="298"/>
                    </a:cubicBezTo>
                    <a:cubicBezTo>
                      <a:pt x="183" y="298"/>
                      <a:pt x="175" y="297"/>
                      <a:pt x="178" y="295"/>
                    </a:cubicBezTo>
                    <a:cubicBezTo>
                      <a:pt x="181" y="293"/>
                      <a:pt x="184" y="300"/>
                      <a:pt x="184" y="297"/>
                    </a:cubicBezTo>
                    <a:cubicBezTo>
                      <a:pt x="183" y="293"/>
                      <a:pt x="180" y="292"/>
                      <a:pt x="177" y="295"/>
                    </a:cubicBezTo>
                    <a:cubicBezTo>
                      <a:pt x="174" y="297"/>
                      <a:pt x="177" y="289"/>
                      <a:pt x="172" y="297"/>
                    </a:cubicBezTo>
                    <a:cubicBezTo>
                      <a:pt x="167" y="304"/>
                      <a:pt x="166" y="298"/>
                      <a:pt x="167" y="295"/>
                    </a:cubicBezTo>
                    <a:cubicBezTo>
                      <a:pt x="167" y="292"/>
                      <a:pt x="166" y="295"/>
                      <a:pt x="166" y="290"/>
                    </a:cubicBezTo>
                    <a:cubicBezTo>
                      <a:pt x="166" y="287"/>
                      <a:pt x="163" y="289"/>
                      <a:pt x="163" y="286"/>
                    </a:cubicBezTo>
                    <a:cubicBezTo>
                      <a:pt x="164" y="283"/>
                      <a:pt x="161" y="281"/>
                      <a:pt x="160" y="281"/>
                    </a:cubicBezTo>
                    <a:cubicBezTo>
                      <a:pt x="157" y="281"/>
                      <a:pt x="160" y="280"/>
                      <a:pt x="155" y="276"/>
                    </a:cubicBezTo>
                    <a:cubicBezTo>
                      <a:pt x="152" y="273"/>
                      <a:pt x="155" y="267"/>
                      <a:pt x="161" y="264"/>
                    </a:cubicBezTo>
                    <a:cubicBezTo>
                      <a:pt x="155" y="264"/>
                      <a:pt x="151" y="264"/>
                      <a:pt x="152" y="259"/>
                    </a:cubicBezTo>
                    <a:cubicBezTo>
                      <a:pt x="154" y="255"/>
                      <a:pt x="155" y="253"/>
                      <a:pt x="155" y="252"/>
                    </a:cubicBezTo>
                    <a:cubicBezTo>
                      <a:pt x="154" y="250"/>
                      <a:pt x="161" y="248"/>
                      <a:pt x="158" y="247"/>
                    </a:cubicBezTo>
                    <a:cubicBezTo>
                      <a:pt x="155" y="244"/>
                      <a:pt x="158" y="245"/>
                      <a:pt x="157" y="244"/>
                    </a:cubicBezTo>
                    <a:cubicBezTo>
                      <a:pt x="157" y="242"/>
                      <a:pt x="161" y="244"/>
                      <a:pt x="163" y="241"/>
                    </a:cubicBezTo>
                    <a:cubicBezTo>
                      <a:pt x="166" y="239"/>
                      <a:pt x="169" y="242"/>
                      <a:pt x="174" y="241"/>
                    </a:cubicBezTo>
                    <a:cubicBezTo>
                      <a:pt x="178" y="239"/>
                      <a:pt x="174" y="239"/>
                      <a:pt x="174" y="234"/>
                    </a:cubicBezTo>
                    <a:cubicBezTo>
                      <a:pt x="175" y="231"/>
                      <a:pt x="178" y="227"/>
                      <a:pt x="178" y="224"/>
                    </a:cubicBezTo>
                    <a:cubicBezTo>
                      <a:pt x="177" y="220"/>
                      <a:pt x="175" y="228"/>
                      <a:pt x="174" y="225"/>
                    </a:cubicBezTo>
                    <a:cubicBezTo>
                      <a:pt x="172" y="224"/>
                      <a:pt x="178" y="220"/>
                      <a:pt x="169" y="220"/>
                    </a:cubicBezTo>
                    <a:cubicBezTo>
                      <a:pt x="161" y="219"/>
                      <a:pt x="164" y="214"/>
                      <a:pt x="157" y="214"/>
                    </a:cubicBezTo>
                    <a:cubicBezTo>
                      <a:pt x="152" y="214"/>
                      <a:pt x="146" y="211"/>
                      <a:pt x="148" y="210"/>
                    </a:cubicBezTo>
                    <a:cubicBezTo>
                      <a:pt x="151" y="206"/>
                      <a:pt x="163" y="208"/>
                      <a:pt x="166" y="210"/>
                    </a:cubicBezTo>
                    <a:cubicBezTo>
                      <a:pt x="170" y="213"/>
                      <a:pt x="177" y="214"/>
                      <a:pt x="175" y="213"/>
                    </a:cubicBezTo>
                    <a:cubicBezTo>
                      <a:pt x="174" y="211"/>
                      <a:pt x="172" y="210"/>
                      <a:pt x="175" y="206"/>
                    </a:cubicBezTo>
                    <a:cubicBezTo>
                      <a:pt x="175" y="206"/>
                      <a:pt x="163" y="205"/>
                      <a:pt x="164" y="202"/>
                    </a:cubicBezTo>
                    <a:cubicBezTo>
                      <a:pt x="167" y="197"/>
                      <a:pt x="158" y="200"/>
                      <a:pt x="163" y="197"/>
                    </a:cubicBezTo>
                    <a:cubicBezTo>
                      <a:pt x="166" y="196"/>
                      <a:pt x="155" y="191"/>
                      <a:pt x="152" y="197"/>
                    </a:cubicBezTo>
                    <a:cubicBezTo>
                      <a:pt x="151" y="203"/>
                      <a:pt x="145" y="197"/>
                      <a:pt x="142" y="199"/>
                    </a:cubicBezTo>
                    <a:cubicBezTo>
                      <a:pt x="140" y="200"/>
                      <a:pt x="138" y="197"/>
                      <a:pt x="137" y="196"/>
                    </a:cubicBezTo>
                    <a:cubicBezTo>
                      <a:pt x="135" y="192"/>
                      <a:pt x="145" y="194"/>
                      <a:pt x="142" y="191"/>
                    </a:cubicBezTo>
                    <a:cubicBezTo>
                      <a:pt x="137" y="186"/>
                      <a:pt x="137" y="183"/>
                      <a:pt x="142" y="183"/>
                    </a:cubicBezTo>
                    <a:cubicBezTo>
                      <a:pt x="146" y="182"/>
                      <a:pt x="149" y="175"/>
                      <a:pt x="142" y="174"/>
                    </a:cubicBezTo>
                    <a:cubicBezTo>
                      <a:pt x="135" y="172"/>
                      <a:pt x="146" y="169"/>
                      <a:pt x="140" y="166"/>
                    </a:cubicBezTo>
                    <a:cubicBezTo>
                      <a:pt x="131" y="163"/>
                      <a:pt x="142" y="163"/>
                      <a:pt x="135" y="160"/>
                    </a:cubicBezTo>
                    <a:cubicBezTo>
                      <a:pt x="132" y="158"/>
                      <a:pt x="135" y="155"/>
                      <a:pt x="129" y="158"/>
                    </a:cubicBezTo>
                    <a:cubicBezTo>
                      <a:pt x="122" y="160"/>
                      <a:pt x="129" y="155"/>
                      <a:pt x="131" y="152"/>
                    </a:cubicBezTo>
                    <a:cubicBezTo>
                      <a:pt x="132" y="149"/>
                      <a:pt x="113" y="141"/>
                      <a:pt x="116" y="138"/>
                    </a:cubicBezTo>
                    <a:cubicBezTo>
                      <a:pt x="120" y="135"/>
                      <a:pt x="116" y="135"/>
                      <a:pt x="108" y="130"/>
                    </a:cubicBezTo>
                    <a:cubicBezTo>
                      <a:pt x="100" y="127"/>
                      <a:pt x="100" y="130"/>
                      <a:pt x="97" y="127"/>
                    </a:cubicBezTo>
                    <a:cubicBezTo>
                      <a:pt x="94" y="124"/>
                      <a:pt x="87" y="127"/>
                      <a:pt x="81" y="124"/>
                    </a:cubicBezTo>
                    <a:cubicBezTo>
                      <a:pt x="75" y="122"/>
                      <a:pt x="76" y="130"/>
                      <a:pt x="71" y="126"/>
                    </a:cubicBezTo>
                    <a:cubicBezTo>
                      <a:pt x="67" y="122"/>
                      <a:pt x="68" y="129"/>
                      <a:pt x="61" y="129"/>
                    </a:cubicBezTo>
                    <a:cubicBezTo>
                      <a:pt x="55" y="127"/>
                      <a:pt x="62" y="122"/>
                      <a:pt x="56" y="126"/>
                    </a:cubicBezTo>
                    <a:cubicBezTo>
                      <a:pt x="49" y="129"/>
                      <a:pt x="52" y="122"/>
                      <a:pt x="49" y="124"/>
                    </a:cubicBezTo>
                    <a:cubicBezTo>
                      <a:pt x="44" y="126"/>
                      <a:pt x="58" y="133"/>
                      <a:pt x="47" y="129"/>
                    </a:cubicBezTo>
                    <a:cubicBezTo>
                      <a:pt x="35" y="126"/>
                      <a:pt x="23" y="124"/>
                      <a:pt x="32" y="121"/>
                    </a:cubicBezTo>
                    <a:cubicBezTo>
                      <a:pt x="41" y="118"/>
                      <a:pt x="23" y="118"/>
                      <a:pt x="17" y="115"/>
                    </a:cubicBezTo>
                    <a:cubicBezTo>
                      <a:pt x="9" y="112"/>
                      <a:pt x="24" y="108"/>
                      <a:pt x="36" y="107"/>
                    </a:cubicBezTo>
                    <a:cubicBezTo>
                      <a:pt x="49" y="107"/>
                      <a:pt x="58" y="107"/>
                      <a:pt x="56" y="104"/>
                    </a:cubicBezTo>
                    <a:cubicBezTo>
                      <a:pt x="55" y="101"/>
                      <a:pt x="46" y="105"/>
                      <a:pt x="36" y="105"/>
                    </a:cubicBezTo>
                    <a:cubicBezTo>
                      <a:pt x="27" y="105"/>
                      <a:pt x="24" y="105"/>
                      <a:pt x="21" y="102"/>
                    </a:cubicBezTo>
                    <a:cubicBezTo>
                      <a:pt x="18" y="99"/>
                      <a:pt x="17" y="102"/>
                      <a:pt x="14" y="99"/>
                    </a:cubicBezTo>
                    <a:cubicBezTo>
                      <a:pt x="10" y="98"/>
                      <a:pt x="9" y="101"/>
                      <a:pt x="4" y="96"/>
                    </a:cubicBezTo>
                    <a:cubicBezTo>
                      <a:pt x="0" y="91"/>
                      <a:pt x="1" y="88"/>
                      <a:pt x="20" y="85"/>
                    </a:cubicBezTo>
                    <a:cubicBezTo>
                      <a:pt x="36" y="82"/>
                      <a:pt x="29" y="80"/>
                      <a:pt x="39" y="79"/>
                    </a:cubicBezTo>
                    <a:cubicBezTo>
                      <a:pt x="50" y="77"/>
                      <a:pt x="56" y="82"/>
                      <a:pt x="61" y="76"/>
                    </a:cubicBezTo>
                    <a:cubicBezTo>
                      <a:pt x="67" y="70"/>
                      <a:pt x="67" y="62"/>
                      <a:pt x="62" y="63"/>
                    </a:cubicBezTo>
                    <a:cubicBezTo>
                      <a:pt x="58" y="63"/>
                      <a:pt x="49" y="63"/>
                      <a:pt x="46" y="60"/>
                    </a:cubicBezTo>
                    <a:cubicBezTo>
                      <a:pt x="44" y="57"/>
                      <a:pt x="55" y="54"/>
                      <a:pt x="62" y="49"/>
                    </a:cubicBezTo>
                    <a:cubicBezTo>
                      <a:pt x="70" y="45"/>
                      <a:pt x="79" y="42"/>
                      <a:pt x="90" y="45"/>
                    </a:cubicBezTo>
                    <a:cubicBezTo>
                      <a:pt x="97" y="46"/>
                      <a:pt x="99" y="42"/>
                      <a:pt x="94" y="37"/>
                    </a:cubicBezTo>
                    <a:cubicBezTo>
                      <a:pt x="91" y="32"/>
                      <a:pt x="97" y="29"/>
                      <a:pt x="120" y="28"/>
                    </a:cubicBezTo>
                    <a:cubicBezTo>
                      <a:pt x="145" y="24"/>
                      <a:pt x="148" y="20"/>
                      <a:pt x="154" y="26"/>
                    </a:cubicBezTo>
                    <a:cubicBezTo>
                      <a:pt x="160" y="34"/>
                      <a:pt x="149" y="46"/>
                      <a:pt x="157" y="35"/>
                    </a:cubicBezTo>
                    <a:cubicBezTo>
                      <a:pt x="163" y="24"/>
                      <a:pt x="178" y="37"/>
                      <a:pt x="177" y="34"/>
                    </a:cubicBezTo>
                    <a:cubicBezTo>
                      <a:pt x="174" y="28"/>
                      <a:pt x="192" y="35"/>
                      <a:pt x="183" y="29"/>
                    </a:cubicBezTo>
                    <a:cubicBezTo>
                      <a:pt x="172" y="23"/>
                      <a:pt x="170" y="20"/>
                      <a:pt x="183" y="21"/>
                    </a:cubicBezTo>
                    <a:cubicBezTo>
                      <a:pt x="195" y="21"/>
                      <a:pt x="199" y="26"/>
                      <a:pt x="210" y="28"/>
                    </a:cubicBezTo>
                    <a:cubicBezTo>
                      <a:pt x="221" y="29"/>
                      <a:pt x="219" y="35"/>
                      <a:pt x="225" y="34"/>
                    </a:cubicBezTo>
                    <a:cubicBezTo>
                      <a:pt x="231" y="34"/>
                      <a:pt x="221" y="26"/>
                      <a:pt x="230" y="24"/>
                    </a:cubicBezTo>
                    <a:cubicBezTo>
                      <a:pt x="244" y="23"/>
                      <a:pt x="206" y="15"/>
                      <a:pt x="221" y="17"/>
                    </a:cubicBezTo>
                    <a:cubicBezTo>
                      <a:pt x="237" y="17"/>
                      <a:pt x="248" y="17"/>
                      <a:pt x="254" y="18"/>
                    </a:cubicBezTo>
                    <a:cubicBezTo>
                      <a:pt x="262" y="21"/>
                      <a:pt x="270" y="20"/>
                      <a:pt x="260" y="18"/>
                    </a:cubicBezTo>
                    <a:cubicBezTo>
                      <a:pt x="253" y="17"/>
                      <a:pt x="244" y="15"/>
                      <a:pt x="233" y="15"/>
                    </a:cubicBezTo>
                    <a:cubicBezTo>
                      <a:pt x="222" y="14"/>
                      <a:pt x="210" y="15"/>
                      <a:pt x="209" y="14"/>
                    </a:cubicBezTo>
                    <a:cubicBezTo>
                      <a:pt x="207" y="10"/>
                      <a:pt x="219" y="10"/>
                      <a:pt x="230" y="9"/>
                    </a:cubicBezTo>
                    <a:cubicBezTo>
                      <a:pt x="241" y="7"/>
                      <a:pt x="248" y="9"/>
                      <a:pt x="254" y="12"/>
                    </a:cubicBezTo>
                    <a:cubicBezTo>
                      <a:pt x="260" y="15"/>
                      <a:pt x="271" y="14"/>
                      <a:pt x="273" y="12"/>
                    </a:cubicBezTo>
                    <a:cubicBezTo>
                      <a:pt x="274" y="12"/>
                      <a:pt x="286" y="10"/>
                      <a:pt x="279" y="10"/>
                    </a:cubicBezTo>
                    <a:cubicBezTo>
                      <a:pt x="271" y="9"/>
                      <a:pt x="270" y="4"/>
                      <a:pt x="274" y="4"/>
                    </a:cubicBezTo>
                    <a:cubicBezTo>
                      <a:pt x="280" y="4"/>
                      <a:pt x="279" y="3"/>
                      <a:pt x="286" y="4"/>
                    </a:cubicBezTo>
                    <a:cubicBezTo>
                      <a:pt x="294" y="6"/>
                      <a:pt x="283" y="1"/>
                      <a:pt x="298" y="3"/>
                    </a:cubicBezTo>
                    <a:cubicBezTo>
                      <a:pt x="314" y="3"/>
                      <a:pt x="317" y="0"/>
                      <a:pt x="343" y="3"/>
                    </a:cubicBezTo>
                    <a:cubicBezTo>
                      <a:pt x="359" y="4"/>
                      <a:pt x="384" y="7"/>
                      <a:pt x="376" y="7"/>
                    </a:cubicBezTo>
                    <a:cubicBezTo>
                      <a:pt x="369" y="9"/>
                      <a:pt x="343" y="9"/>
                      <a:pt x="335" y="10"/>
                    </a:cubicBezTo>
                    <a:cubicBezTo>
                      <a:pt x="327" y="12"/>
                      <a:pt x="314" y="12"/>
                      <a:pt x="324" y="14"/>
                    </a:cubicBezTo>
                    <a:cubicBezTo>
                      <a:pt x="337" y="15"/>
                      <a:pt x="340" y="9"/>
                      <a:pt x="355" y="10"/>
                    </a:cubicBezTo>
                    <a:cubicBezTo>
                      <a:pt x="372" y="14"/>
                      <a:pt x="378" y="7"/>
                      <a:pt x="382" y="10"/>
                    </a:cubicBezTo>
                    <a:cubicBezTo>
                      <a:pt x="388" y="14"/>
                      <a:pt x="372" y="18"/>
                      <a:pt x="382" y="15"/>
                    </a:cubicBezTo>
                    <a:cubicBezTo>
                      <a:pt x="393" y="14"/>
                      <a:pt x="401" y="17"/>
                      <a:pt x="408" y="18"/>
                    </a:cubicBezTo>
                    <a:cubicBezTo>
                      <a:pt x="416" y="20"/>
                      <a:pt x="402" y="24"/>
                      <a:pt x="393" y="26"/>
                    </a:cubicBezTo>
                    <a:cubicBezTo>
                      <a:pt x="379" y="29"/>
                      <a:pt x="361" y="26"/>
                      <a:pt x="346" y="28"/>
                    </a:cubicBezTo>
                    <a:cubicBezTo>
                      <a:pt x="330" y="31"/>
                      <a:pt x="314" y="32"/>
                      <a:pt x="318" y="37"/>
                    </a:cubicBezTo>
                    <a:cubicBezTo>
                      <a:pt x="321" y="38"/>
                      <a:pt x="346" y="29"/>
                      <a:pt x="367" y="29"/>
                    </a:cubicBezTo>
                    <a:cubicBezTo>
                      <a:pt x="387" y="31"/>
                      <a:pt x="382" y="32"/>
                      <a:pt x="375" y="35"/>
                    </a:cubicBezTo>
                    <a:cubicBezTo>
                      <a:pt x="367" y="38"/>
                      <a:pt x="376" y="38"/>
                      <a:pt x="384" y="35"/>
                    </a:cubicBezTo>
                    <a:cubicBezTo>
                      <a:pt x="393" y="34"/>
                      <a:pt x="384" y="29"/>
                      <a:pt x="397" y="29"/>
                    </a:cubicBezTo>
                    <a:cubicBezTo>
                      <a:pt x="411" y="29"/>
                      <a:pt x="408" y="37"/>
                      <a:pt x="397" y="45"/>
                    </a:cubicBezTo>
                    <a:cubicBezTo>
                      <a:pt x="387" y="52"/>
                      <a:pt x="394" y="52"/>
                      <a:pt x="407" y="43"/>
                    </a:cubicBezTo>
                    <a:cubicBezTo>
                      <a:pt x="419" y="35"/>
                      <a:pt x="425" y="34"/>
                      <a:pt x="422" y="37"/>
                    </a:cubicBezTo>
                    <a:cubicBezTo>
                      <a:pt x="419" y="40"/>
                      <a:pt x="426" y="37"/>
                      <a:pt x="432" y="38"/>
                    </a:cubicBezTo>
                    <a:cubicBezTo>
                      <a:pt x="439" y="40"/>
                      <a:pt x="436" y="32"/>
                      <a:pt x="448" y="31"/>
                    </a:cubicBezTo>
                    <a:cubicBezTo>
                      <a:pt x="460" y="31"/>
                      <a:pt x="489" y="35"/>
                      <a:pt x="483" y="38"/>
                    </a:cubicBezTo>
                    <a:cubicBezTo>
                      <a:pt x="475" y="42"/>
                      <a:pt x="472" y="45"/>
                      <a:pt x="464" y="45"/>
                    </a:cubicBezTo>
                    <a:cubicBezTo>
                      <a:pt x="454" y="45"/>
                      <a:pt x="471" y="49"/>
                      <a:pt x="461" y="49"/>
                    </a:cubicBezTo>
                    <a:cubicBezTo>
                      <a:pt x="452" y="51"/>
                      <a:pt x="448" y="52"/>
                      <a:pt x="442" y="51"/>
                    </a:cubicBezTo>
                    <a:cubicBezTo>
                      <a:pt x="436" y="49"/>
                      <a:pt x="437" y="54"/>
                      <a:pt x="426" y="54"/>
                    </a:cubicBezTo>
                    <a:cubicBezTo>
                      <a:pt x="416" y="52"/>
                      <a:pt x="434" y="56"/>
                      <a:pt x="440" y="54"/>
                    </a:cubicBezTo>
                    <a:cubicBezTo>
                      <a:pt x="445" y="52"/>
                      <a:pt x="457" y="54"/>
                      <a:pt x="451" y="57"/>
                    </a:cubicBezTo>
                    <a:cubicBezTo>
                      <a:pt x="446" y="59"/>
                      <a:pt x="437" y="62"/>
                      <a:pt x="429" y="59"/>
                    </a:cubicBezTo>
                    <a:cubicBezTo>
                      <a:pt x="422" y="57"/>
                      <a:pt x="411" y="68"/>
                      <a:pt x="420" y="65"/>
                    </a:cubicBezTo>
                    <a:cubicBezTo>
                      <a:pt x="429" y="62"/>
                      <a:pt x="445" y="60"/>
                      <a:pt x="442" y="63"/>
                    </a:cubicBezTo>
                    <a:cubicBezTo>
                      <a:pt x="437" y="68"/>
                      <a:pt x="436" y="68"/>
                      <a:pt x="429" y="68"/>
                    </a:cubicBezTo>
                    <a:cubicBezTo>
                      <a:pt x="423" y="68"/>
                      <a:pt x="423" y="74"/>
                      <a:pt x="428" y="74"/>
                    </a:cubicBezTo>
                    <a:cubicBezTo>
                      <a:pt x="432" y="76"/>
                      <a:pt x="425" y="80"/>
                      <a:pt x="422" y="82"/>
                    </a:cubicBezTo>
                    <a:cubicBezTo>
                      <a:pt x="420" y="84"/>
                      <a:pt x="416" y="79"/>
                      <a:pt x="413" y="87"/>
                    </a:cubicBezTo>
                    <a:cubicBezTo>
                      <a:pt x="411" y="94"/>
                      <a:pt x="404" y="102"/>
                      <a:pt x="408" y="102"/>
                    </a:cubicBezTo>
                    <a:cubicBezTo>
                      <a:pt x="413" y="102"/>
                      <a:pt x="407" y="93"/>
                      <a:pt x="420" y="98"/>
                    </a:cubicBezTo>
                    <a:cubicBezTo>
                      <a:pt x="432" y="102"/>
                      <a:pt x="434" y="105"/>
                      <a:pt x="425" y="102"/>
                    </a:cubicBezTo>
                    <a:cubicBezTo>
                      <a:pt x="416" y="101"/>
                      <a:pt x="413" y="101"/>
                      <a:pt x="422" y="107"/>
                    </a:cubicBezTo>
                    <a:cubicBezTo>
                      <a:pt x="431" y="112"/>
                      <a:pt x="429" y="104"/>
                      <a:pt x="434" y="107"/>
                    </a:cubicBezTo>
                    <a:cubicBezTo>
                      <a:pt x="440" y="112"/>
                      <a:pt x="437" y="119"/>
                      <a:pt x="431" y="116"/>
                    </a:cubicBezTo>
                    <a:cubicBezTo>
                      <a:pt x="426" y="115"/>
                      <a:pt x="419" y="112"/>
                      <a:pt x="413" y="116"/>
                    </a:cubicBezTo>
                    <a:cubicBezTo>
                      <a:pt x="405" y="121"/>
                      <a:pt x="407" y="112"/>
                      <a:pt x="402" y="116"/>
                    </a:cubicBezTo>
                    <a:cubicBezTo>
                      <a:pt x="397" y="119"/>
                      <a:pt x="408" y="118"/>
                      <a:pt x="408" y="122"/>
                    </a:cubicBezTo>
                    <a:cubicBezTo>
                      <a:pt x="408" y="127"/>
                      <a:pt x="422" y="122"/>
                      <a:pt x="423" y="126"/>
                    </a:cubicBezTo>
                    <a:cubicBezTo>
                      <a:pt x="426" y="129"/>
                      <a:pt x="416" y="127"/>
                      <a:pt x="425" y="132"/>
                    </a:cubicBezTo>
                    <a:cubicBezTo>
                      <a:pt x="432" y="135"/>
                      <a:pt x="423" y="130"/>
                      <a:pt x="426" y="136"/>
                    </a:cubicBezTo>
                    <a:cubicBezTo>
                      <a:pt x="431" y="141"/>
                      <a:pt x="423" y="144"/>
                      <a:pt x="422" y="141"/>
                    </a:cubicBezTo>
                    <a:cubicBezTo>
                      <a:pt x="419" y="136"/>
                      <a:pt x="411" y="149"/>
                      <a:pt x="420" y="149"/>
                    </a:cubicBezTo>
                    <a:cubicBezTo>
                      <a:pt x="428" y="150"/>
                      <a:pt x="431" y="154"/>
                      <a:pt x="426" y="155"/>
                    </a:cubicBezTo>
                    <a:cubicBezTo>
                      <a:pt x="419" y="158"/>
                      <a:pt x="422" y="154"/>
                      <a:pt x="414" y="152"/>
                    </a:cubicBezTo>
                    <a:cubicBezTo>
                      <a:pt x="407" y="152"/>
                      <a:pt x="399" y="160"/>
                      <a:pt x="407" y="160"/>
                    </a:cubicBezTo>
                    <a:cubicBezTo>
                      <a:pt x="414" y="160"/>
                      <a:pt x="422" y="160"/>
                      <a:pt x="419" y="166"/>
                    </a:cubicBezTo>
                    <a:cubicBezTo>
                      <a:pt x="414" y="171"/>
                      <a:pt x="414" y="164"/>
                      <a:pt x="408" y="169"/>
                    </a:cubicBezTo>
                    <a:cubicBezTo>
                      <a:pt x="401" y="175"/>
                      <a:pt x="393" y="163"/>
                      <a:pt x="385" y="166"/>
                    </a:cubicBezTo>
                    <a:cubicBezTo>
                      <a:pt x="379" y="168"/>
                      <a:pt x="378" y="172"/>
                      <a:pt x="372" y="171"/>
                    </a:cubicBezTo>
                    <a:cubicBezTo>
                      <a:pt x="388" y="175"/>
                      <a:pt x="376" y="175"/>
                      <a:pt x="382" y="178"/>
                    </a:cubicBezTo>
                    <a:cubicBezTo>
                      <a:pt x="390" y="183"/>
                      <a:pt x="379" y="183"/>
                      <a:pt x="391" y="188"/>
                    </a:cubicBezTo>
                    <a:cubicBezTo>
                      <a:pt x="399" y="189"/>
                      <a:pt x="404" y="189"/>
                      <a:pt x="402" y="194"/>
                    </a:cubicBezTo>
                    <a:cubicBezTo>
                      <a:pt x="401" y="197"/>
                      <a:pt x="410" y="191"/>
                      <a:pt x="407" y="194"/>
                    </a:cubicBezTo>
                    <a:cubicBezTo>
                      <a:pt x="402" y="199"/>
                      <a:pt x="401" y="196"/>
                      <a:pt x="402" y="199"/>
                    </a:cubicBezTo>
                    <a:cubicBezTo>
                      <a:pt x="404" y="203"/>
                      <a:pt x="410" y="192"/>
                      <a:pt x="408" y="199"/>
                    </a:cubicBezTo>
                    <a:cubicBezTo>
                      <a:pt x="408" y="205"/>
                      <a:pt x="413" y="214"/>
                      <a:pt x="408" y="213"/>
                    </a:cubicBezTo>
                    <a:cubicBezTo>
                      <a:pt x="404" y="213"/>
                      <a:pt x="404" y="211"/>
                      <a:pt x="401" y="213"/>
                    </a:cubicBezTo>
                    <a:cubicBezTo>
                      <a:pt x="397" y="214"/>
                      <a:pt x="388" y="211"/>
                      <a:pt x="388" y="206"/>
                    </a:cubicBezTo>
                    <a:cubicBezTo>
                      <a:pt x="388" y="202"/>
                      <a:pt x="387" y="200"/>
                      <a:pt x="382" y="199"/>
                    </a:cubicBezTo>
                    <a:cubicBezTo>
                      <a:pt x="379" y="199"/>
                      <a:pt x="378" y="196"/>
                      <a:pt x="370" y="196"/>
                    </a:cubicBezTo>
                    <a:cubicBezTo>
                      <a:pt x="364" y="196"/>
                      <a:pt x="364" y="197"/>
                      <a:pt x="372" y="197"/>
                    </a:cubicBezTo>
                    <a:cubicBezTo>
                      <a:pt x="379" y="199"/>
                      <a:pt x="381" y="202"/>
                      <a:pt x="373" y="205"/>
                    </a:cubicBezTo>
                    <a:cubicBezTo>
                      <a:pt x="365" y="206"/>
                      <a:pt x="364" y="208"/>
                      <a:pt x="362" y="205"/>
                    </a:cubicBezTo>
                    <a:cubicBezTo>
                      <a:pt x="361" y="203"/>
                      <a:pt x="361" y="205"/>
                      <a:pt x="358" y="210"/>
                    </a:cubicBezTo>
                    <a:cubicBezTo>
                      <a:pt x="353" y="216"/>
                      <a:pt x="356" y="214"/>
                      <a:pt x="365" y="213"/>
                    </a:cubicBezTo>
                    <a:cubicBezTo>
                      <a:pt x="373" y="211"/>
                      <a:pt x="373" y="213"/>
                      <a:pt x="370" y="214"/>
                    </a:cubicBezTo>
                    <a:cubicBezTo>
                      <a:pt x="369" y="216"/>
                      <a:pt x="369" y="213"/>
                      <a:pt x="362" y="216"/>
                    </a:cubicBezTo>
                    <a:cubicBezTo>
                      <a:pt x="358" y="220"/>
                      <a:pt x="361" y="222"/>
                      <a:pt x="364" y="219"/>
                    </a:cubicBezTo>
                    <a:cubicBezTo>
                      <a:pt x="369" y="214"/>
                      <a:pt x="370" y="217"/>
                      <a:pt x="375" y="216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19" name="Freeform 13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5136541" y="4020558"/>
                <a:ext cx="135680" cy="322820"/>
              </a:xfrm>
              <a:custGeom>
                <a:avLst/>
                <a:gdLst/>
                <a:ahLst/>
                <a:cxnLst>
                  <a:cxn ang="0">
                    <a:pos x="46" y="12"/>
                  </a:cxn>
                  <a:cxn ang="0">
                    <a:pos x="48" y="4"/>
                  </a:cxn>
                  <a:cxn ang="0">
                    <a:pos x="54" y="11"/>
                  </a:cxn>
                  <a:cxn ang="0">
                    <a:pos x="58" y="32"/>
                  </a:cxn>
                  <a:cxn ang="0">
                    <a:pos x="55" y="42"/>
                  </a:cxn>
                  <a:cxn ang="0">
                    <a:pos x="52" y="43"/>
                  </a:cxn>
                  <a:cxn ang="0">
                    <a:pos x="54" y="51"/>
                  </a:cxn>
                  <a:cxn ang="0">
                    <a:pos x="51" y="59"/>
                  </a:cxn>
                  <a:cxn ang="0">
                    <a:pos x="45" y="83"/>
                  </a:cxn>
                  <a:cxn ang="0">
                    <a:pos x="29" y="135"/>
                  </a:cxn>
                  <a:cxn ang="0">
                    <a:pos x="16" y="138"/>
                  </a:cxn>
                  <a:cxn ang="0">
                    <a:pos x="7" y="130"/>
                  </a:cxn>
                  <a:cxn ang="0">
                    <a:pos x="5" y="116"/>
                  </a:cxn>
                  <a:cxn ang="0">
                    <a:pos x="2" y="101"/>
                  </a:cxn>
                  <a:cxn ang="0">
                    <a:pos x="7" y="93"/>
                  </a:cxn>
                  <a:cxn ang="0">
                    <a:pos x="11" y="80"/>
                  </a:cxn>
                  <a:cxn ang="0">
                    <a:pos x="10" y="71"/>
                  </a:cxn>
                  <a:cxn ang="0">
                    <a:pos x="8" y="63"/>
                  </a:cxn>
                  <a:cxn ang="0">
                    <a:pos x="10" y="53"/>
                  </a:cxn>
                  <a:cxn ang="0">
                    <a:pos x="13" y="45"/>
                  </a:cxn>
                  <a:cxn ang="0">
                    <a:pos x="19" y="42"/>
                  </a:cxn>
                  <a:cxn ang="0">
                    <a:pos x="32" y="31"/>
                  </a:cxn>
                  <a:cxn ang="0">
                    <a:pos x="39" y="21"/>
                  </a:cxn>
                  <a:cxn ang="0">
                    <a:pos x="46" y="12"/>
                  </a:cxn>
                </a:cxnLst>
                <a:rect l="0" t="0" r="r" b="b"/>
                <a:pathLst>
                  <a:path w="60" h="142">
                    <a:moveTo>
                      <a:pt x="46" y="12"/>
                    </a:moveTo>
                    <a:cubicBezTo>
                      <a:pt x="46" y="6"/>
                      <a:pt x="46" y="8"/>
                      <a:pt x="48" y="4"/>
                    </a:cubicBezTo>
                    <a:cubicBezTo>
                      <a:pt x="51" y="0"/>
                      <a:pt x="51" y="9"/>
                      <a:pt x="54" y="11"/>
                    </a:cubicBezTo>
                    <a:cubicBezTo>
                      <a:pt x="57" y="12"/>
                      <a:pt x="57" y="29"/>
                      <a:pt x="58" y="32"/>
                    </a:cubicBezTo>
                    <a:cubicBezTo>
                      <a:pt x="60" y="37"/>
                      <a:pt x="57" y="45"/>
                      <a:pt x="55" y="42"/>
                    </a:cubicBezTo>
                    <a:cubicBezTo>
                      <a:pt x="52" y="34"/>
                      <a:pt x="51" y="39"/>
                      <a:pt x="52" y="43"/>
                    </a:cubicBezTo>
                    <a:cubicBezTo>
                      <a:pt x="55" y="46"/>
                      <a:pt x="52" y="46"/>
                      <a:pt x="54" y="51"/>
                    </a:cubicBezTo>
                    <a:cubicBezTo>
                      <a:pt x="54" y="54"/>
                      <a:pt x="49" y="51"/>
                      <a:pt x="51" y="59"/>
                    </a:cubicBezTo>
                    <a:cubicBezTo>
                      <a:pt x="52" y="66"/>
                      <a:pt x="49" y="68"/>
                      <a:pt x="45" y="83"/>
                    </a:cubicBezTo>
                    <a:cubicBezTo>
                      <a:pt x="40" y="105"/>
                      <a:pt x="34" y="135"/>
                      <a:pt x="29" y="135"/>
                    </a:cubicBezTo>
                    <a:cubicBezTo>
                      <a:pt x="26" y="135"/>
                      <a:pt x="19" y="142"/>
                      <a:pt x="16" y="138"/>
                    </a:cubicBezTo>
                    <a:cubicBezTo>
                      <a:pt x="13" y="135"/>
                      <a:pt x="10" y="138"/>
                      <a:pt x="7" y="130"/>
                    </a:cubicBezTo>
                    <a:cubicBezTo>
                      <a:pt x="2" y="121"/>
                      <a:pt x="7" y="119"/>
                      <a:pt x="5" y="116"/>
                    </a:cubicBezTo>
                    <a:cubicBezTo>
                      <a:pt x="2" y="111"/>
                      <a:pt x="0" y="110"/>
                      <a:pt x="2" y="101"/>
                    </a:cubicBezTo>
                    <a:cubicBezTo>
                      <a:pt x="3" y="93"/>
                      <a:pt x="5" y="99"/>
                      <a:pt x="7" y="93"/>
                    </a:cubicBezTo>
                    <a:cubicBezTo>
                      <a:pt x="8" y="88"/>
                      <a:pt x="13" y="87"/>
                      <a:pt x="11" y="80"/>
                    </a:cubicBezTo>
                    <a:cubicBezTo>
                      <a:pt x="10" y="74"/>
                      <a:pt x="8" y="74"/>
                      <a:pt x="10" y="71"/>
                    </a:cubicBezTo>
                    <a:cubicBezTo>
                      <a:pt x="10" y="68"/>
                      <a:pt x="7" y="68"/>
                      <a:pt x="8" y="63"/>
                    </a:cubicBezTo>
                    <a:cubicBezTo>
                      <a:pt x="10" y="57"/>
                      <a:pt x="5" y="60"/>
                      <a:pt x="10" y="53"/>
                    </a:cubicBezTo>
                    <a:cubicBezTo>
                      <a:pt x="13" y="45"/>
                      <a:pt x="8" y="43"/>
                      <a:pt x="13" y="45"/>
                    </a:cubicBezTo>
                    <a:cubicBezTo>
                      <a:pt x="17" y="45"/>
                      <a:pt x="14" y="42"/>
                      <a:pt x="19" y="42"/>
                    </a:cubicBezTo>
                    <a:cubicBezTo>
                      <a:pt x="29" y="40"/>
                      <a:pt x="26" y="37"/>
                      <a:pt x="32" y="31"/>
                    </a:cubicBezTo>
                    <a:cubicBezTo>
                      <a:pt x="39" y="25"/>
                      <a:pt x="40" y="25"/>
                      <a:pt x="39" y="21"/>
                    </a:cubicBezTo>
                    <a:cubicBezTo>
                      <a:pt x="36" y="17"/>
                      <a:pt x="45" y="23"/>
                      <a:pt x="46" y="1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20" name="Freeform 14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252161" y="3013500"/>
                <a:ext cx="549740" cy="424578"/>
              </a:xfrm>
              <a:custGeom>
                <a:avLst/>
                <a:gdLst/>
                <a:ahLst/>
                <a:cxnLst>
                  <a:cxn ang="0">
                    <a:pos x="207" y="154"/>
                  </a:cxn>
                  <a:cxn ang="0">
                    <a:pos x="204" y="161"/>
                  </a:cxn>
                  <a:cxn ang="0">
                    <a:pos x="210" y="167"/>
                  </a:cxn>
                  <a:cxn ang="0">
                    <a:pos x="201" y="172"/>
                  </a:cxn>
                  <a:cxn ang="0">
                    <a:pos x="199" y="181"/>
                  </a:cxn>
                  <a:cxn ang="0">
                    <a:pos x="198" y="187"/>
                  </a:cxn>
                  <a:cxn ang="0">
                    <a:pos x="160" y="175"/>
                  </a:cxn>
                  <a:cxn ang="0">
                    <a:pos x="106" y="147"/>
                  </a:cxn>
                  <a:cxn ang="0">
                    <a:pos x="93" y="117"/>
                  </a:cxn>
                  <a:cxn ang="0">
                    <a:pos x="64" y="77"/>
                  </a:cxn>
                  <a:cxn ang="0">
                    <a:pos x="48" y="52"/>
                  </a:cxn>
                  <a:cxn ang="0">
                    <a:pos x="27" y="15"/>
                  </a:cxn>
                  <a:cxn ang="0">
                    <a:pos x="23" y="32"/>
                  </a:cxn>
                  <a:cxn ang="0">
                    <a:pos x="44" y="64"/>
                  </a:cxn>
                  <a:cxn ang="0">
                    <a:pos x="52" y="89"/>
                  </a:cxn>
                  <a:cxn ang="0">
                    <a:pos x="59" y="102"/>
                  </a:cxn>
                  <a:cxn ang="0">
                    <a:pos x="36" y="69"/>
                  </a:cxn>
                  <a:cxn ang="0">
                    <a:pos x="23" y="49"/>
                  </a:cxn>
                  <a:cxn ang="0">
                    <a:pos x="0" y="4"/>
                  </a:cxn>
                  <a:cxn ang="0">
                    <a:pos x="18" y="4"/>
                  </a:cxn>
                  <a:cxn ang="0">
                    <a:pos x="71" y="16"/>
                  </a:cxn>
                  <a:cxn ang="0">
                    <a:pos x="84" y="11"/>
                  </a:cxn>
                  <a:cxn ang="0">
                    <a:pos x="106" y="39"/>
                  </a:cxn>
                  <a:cxn ang="0">
                    <a:pos x="137" y="52"/>
                  </a:cxn>
                  <a:cxn ang="0">
                    <a:pos x="157" y="72"/>
                  </a:cxn>
                  <a:cxn ang="0">
                    <a:pos x="154" y="89"/>
                  </a:cxn>
                  <a:cxn ang="0">
                    <a:pos x="154" y="108"/>
                  </a:cxn>
                  <a:cxn ang="0">
                    <a:pos x="160" y="128"/>
                  </a:cxn>
                  <a:cxn ang="0">
                    <a:pos x="181" y="151"/>
                  </a:cxn>
                  <a:cxn ang="0">
                    <a:pos x="196" y="145"/>
                  </a:cxn>
                  <a:cxn ang="0">
                    <a:pos x="204" y="147"/>
                  </a:cxn>
                  <a:cxn ang="0">
                    <a:pos x="210" y="137"/>
                  </a:cxn>
                  <a:cxn ang="0">
                    <a:pos x="212" y="123"/>
                  </a:cxn>
                  <a:cxn ang="0">
                    <a:pos x="228" y="117"/>
                  </a:cxn>
                  <a:cxn ang="0">
                    <a:pos x="236" y="117"/>
                  </a:cxn>
                  <a:cxn ang="0">
                    <a:pos x="240" y="119"/>
                  </a:cxn>
                  <a:cxn ang="0">
                    <a:pos x="234" y="134"/>
                  </a:cxn>
                  <a:cxn ang="0">
                    <a:pos x="234" y="139"/>
                  </a:cxn>
                  <a:cxn ang="0">
                    <a:pos x="231" y="150"/>
                  </a:cxn>
                  <a:cxn ang="0">
                    <a:pos x="230" y="145"/>
                  </a:cxn>
                  <a:cxn ang="0">
                    <a:pos x="224" y="153"/>
                  </a:cxn>
                </a:cxnLst>
                <a:rect l="0" t="0" r="r" b="b"/>
                <a:pathLst>
                  <a:path w="242" h="187">
                    <a:moveTo>
                      <a:pt x="222" y="154"/>
                    </a:moveTo>
                    <a:cubicBezTo>
                      <a:pt x="207" y="154"/>
                      <a:pt x="207" y="154"/>
                      <a:pt x="207" y="154"/>
                    </a:cubicBezTo>
                    <a:cubicBezTo>
                      <a:pt x="207" y="161"/>
                      <a:pt x="207" y="161"/>
                      <a:pt x="207" y="161"/>
                    </a:cubicBezTo>
                    <a:cubicBezTo>
                      <a:pt x="204" y="161"/>
                      <a:pt x="204" y="161"/>
                      <a:pt x="204" y="161"/>
                    </a:cubicBezTo>
                    <a:cubicBezTo>
                      <a:pt x="204" y="161"/>
                      <a:pt x="205" y="161"/>
                      <a:pt x="205" y="162"/>
                    </a:cubicBezTo>
                    <a:cubicBezTo>
                      <a:pt x="207" y="164"/>
                      <a:pt x="208" y="164"/>
                      <a:pt x="210" y="167"/>
                    </a:cubicBezTo>
                    <a:cubicBezTo>
                      <a:pt x="210" y="170"/>
                      <a:pt x="213" y="165"/>
                      <a:pt x="212" y="172"/>
                    </a:cubicBezTo>
                    <a:cubicBezTo>
                      <a:pt x="201" y="172"/>
                      <a:pt x="201" y="172"/>
                      <a:pt x="201" y="172"/>
                    </a:cubicBezTo>
                    <a:cubicBezTo>
                      <a:pt x="198" y="179"/>
                      <a:pt x="198" y="179"/>
                      <a:pt x="198" y="179"/>
                    </a:cubicBezTo>
                    <a:cubicBezTo>
                      <a:pt x="199" y="181"/>
                      <a:pt x="199" y="181"/>
                      <a:pt x="199" y="181"/>
                    </a:cubicBezTo>
                    <a:cubicBezTo>
                      <a:pt x="199" y="181"/>
                      <a:pt x="198" y="182"/>
                      <a:pt x="198" y="184"/>
                    </a:cubicBezTo>
                    <a:cubicBezTo>
                      <a:pt x="198" y="186"/>
                      <a:pt x="198" y="187"/>
                      <a:pt x="198" y="187"/>
                    </a:cubicBezTo>
                    <a:cubicBezTo>
                      <a:pt x="190" y="181"/>
                      <a:pt x="190" y="173"/>
                      <a:pt x="179" y="172"/>
                    </a:cubicBezTo>
                    <a:cubicBezTo>
                      <a:pt x="170" y="168"/>
                      <a:pt x="170" y="179"/>
                      <a:pt x="160" y="175"/>
                    </a:cubicBezTo>
                    <a:cubicBezTo>
                      <a:pt x="149" y="172"/>
                      <a:pt x="129" y="162"/>
                      <a:pt x="123" y="156"/>
                    </a:cubicBezTo>
                    <a:cubicBezTo>
                      <a:pt x="117" y="150"/>
                      <a:pt x="114" y="154"/>
                      <a:pt x="106" y="147"/>
                    </a:cubicBezTo>
                    <a:cubicBezTo>
                      <a:pt x="100" y="140"/>
                      <a:pt x="96" y="140"/>
                      <a:pt x="93" y="134"/>
                    </a:cubicBezTo>
                    <a:cubicBezTo>
                      <a:pt x="88" y="127"/>
                      <a:pt x="97" y="123"/>
                      <a:pt x="93" y="117"/>
                    </a:cubicBezTo>
                    <a:cubicBezTo>
                      <a:pt x="90" y="109"/>
                      <a:pt x="94" y="108"/>
                      <a:pt x="79" y="92"/>
                    </a:cubicBezTo>
                    <a:cubicBezTo>
                      <a:pt x="67" y="81"/>
                      <a:pt x="73" y="81"/>
                      <a:pt x="64" y="77"/>
                    </a:cubicBezTo>
                    <a:cubicBezTo>
                      <a:pt x="56" y="72"/>
                      <a:pt x="68" y="67"/>
                      <a:pt x="59" y="63"/>
                    </a:cubicBezTo>
                    <a:cubicBezTo>
                      <a:pt x="50" y="60"/>
                      <a:pt x="55" y="55"/>
                      <a:pt x="48" y="52"/>
                    </a:cubicBezTo>
                    <a:cubicBezTo>
                      <a:pt x="42" y="47"/>
                      <a:pt x="36" y="36"/>
                      <a:pt x="33" y="25"/>
                    </a:cubicBezTo>
                    <a:cubicBezTo>
                      <a:pt x="30" y="16"/>
                      <a:pt x="30" y="16"/>
                      <a:pt x="27" y="15"/>
                    </a:cubicBezTo>
                    <a:cubicBezTo>
                      <a:pt x="23" y="13"/>
                      <a:pt x="26" y="15"/>
                      <a:pt x="20" y="11"/>
                    </a:cubicBezTo>
                    <a:cubicBezTo>
                      <a:pt x="15" y="8"/>
                      <a:pt x="20" y="25"/>
                      <a:pt x="23" y="32"/>
                    </a:cubicBezTo>
                    <a:cubicBezTo>
                      <a:pt x="26" y="38"/>
                      <a:pt x="32" y="41"/>
                      <a:pt x="33" y="49"/>
                    </a:cubicBezTo>
                    <a:cubicBezTo>
                      <a:pt x="36" y="57"/>
                      <a:pt x="41" y="58"/>
                      <a:pt x="44" y="64"/>
                    </a:cubicBezTo>
                    <a:cubicBezTo>
                      <a:pt x="47" y="72"/>
                      <a:pt x="45" y="70"/>
                      <a:pt x="48" y="78"/>
                    </a:cubicBezTo>
                    <a:cubicBezTo>
                      <a:pt x="53" y="86"/>
                      <a:pt x="50" y="86"/>
                      <a:pt x="52" y="89"/>
                    </a:cubicBezTo>
                    <a:cubicBezTo>
                      <a:pt x="55" y="92"/>
                      <a:pt x="55" y="86"/>
                      <a:pt x="58" y="92"/>
                    </a:cubicBezTo>
                    <a:cubicBezTo>
                      <a:pt x="61" y="98"/>
                      <a:pt x="64" y="98"/>
                      <a:pt x="59" y="102"/>
                    </a:cubicBezTo>
                    <a:cubicBezTo>
                      <a:pt x="55" y="105"/>
                      <a:pt x="58" y="98"/>
                      <a:pt x="45" y="89"/>
                    </a:cubicBezTo>
                    <a:cubicBezTo>
                      <a:pt x="32" y="81"/>
                      <a:pt x="44" y="74"/>
                      <a:pt x="36" y="69"/>
                    </a:cubicBezTo>
                    <a:cubicBezTo>
                      <a:pt x="30" y="63"/>
                      <a:pt x="24" y="61"/>
                      <a:pt x="18" y="55"/>
                    </a:cubicBezTo>
                    <a:cubicBezTo>
                      <a:pt x="13" y="49"/>
                      <a:pt x="23" y="57"/>
                      <a:pt x="23" y="49"/>
                    </a:cubicBezTo>
                    <a:cubicBezTo>
                      <a:pt x="24" y="41"/>
                      <a:pt x="15" y="38"/>
                      <a:pt x="12" y="32"/>
                    </a:cubicBezTo>
                    <a:cubicBezTo>
                      <a:pt x="7" y="27"/>
                      <a:pt x="9" y="21"/>
                      <a:pt x="0" y="4"/>
                    </a:cubicBezTo>
                    <a:cubicBezTo>
                      <a:pt x="4" y="2"/>
                      <a:pt x="15" y="2"/>
                      <a:pt x="18" y="0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23" y="5"/>
                      <a:pt x="45" y="15"/>
                      <a:pt x="48" y="16"/>
                    </a:cubicBezTo>
                    <a:cubicBezTo>
                      <a:pt x="71" y="16"/>
                      <a:pt x="71" y="16"/>
                      <a:pt x="71" y="16"/>
                    </a:cubicBezTo>
                    <a:cubicBezTo>
                      <a:pt x="71" y="11"/>
                      <a:pt x="71" y="11"/>
                      <a:pt x="71" y="11"/>
                    </a:cubicBezTo>
                    <a:cubicBezTo>
                      <a:pt x="84" y="11"/>
                      <a:pt x="84" y="11"/>
                      <a:pt x="84" y="11"/>
                    </a:cubicBezTo>
                    <a:cubicBezTo>
                      <a:pt x="84" y="11"/>
                      <a:pt x="93" y="21"/>
                      <a:pt x="96" y="24"/>
                    </a:cubicBezTo>
                    <a:cubicBezTo>
                      <a:pt x="100" y="27"/>
                      <a:pt x="99" y="35"/>
                      <a:pt x="106" y="39"/>
                    </a:cubicBezTo>
                    <a:cubicBezTo>
                      <a:pt x="115" y="43"/>
                      <a:pt x="109" y="29"/>
                      <a:pt x="120" y="30"/>
                    </a:cubicBezTo>
                    <a:cubicBezTo>
                      <a:pt x="129" y="32"/>
                      <a:pt x="131" y="44"/>
                      <a:pt x="137" y="52"/>
                    </a:cubicBezTo>
                    <a:cubicBezTo>
                      <a:pt x="143" y="60"/>
                      <a:pt x="138" y="69"/>
                      <a:pt x="152" y="70"/>
                    </a:cubicBezTo>
                    <a:cubicBezTo>
                      <a:pt x="154" y="70"/>
                      <a:pt x="157" y="74"/>
                      <a:pt x="157" y="72"/>
                    </a:cubicBezTo>
                    <a:cubicBezTo>
                      <a:pt x="157" y="72"/>
                      <a:pt x="157" y="72"/>
                      <a:pt x="158" y="72"/>
                    </a:cubicBezTo>
                    <a:cubicBezTo>
                      <a:pt x="158" y="78"/>
                      <a:pt x="155" y="78"/>
                      <a:pt x="154" y="89"/>
                    </a:cubicBezTo>
                    <a:cubicBezTo>
                      <a:pt x="152" y="102"/>
                      <a:pt x="154" y="102"/>
                      <a:pt x="154" y="105"/>
                    </a:cubicBezTo>
                    <a:cubicBezTo>
                      <a:pt x="152" y="106"/>
                      <a:pt x="152" y="105"/>
                      <a:pt x="154" y="108"/>
                    </a:cubicBezTo>
                    <a:cubicBezTo>
                      <a:pt x="154" y="112"/>
                      <a:pt x="154" y="117"/>
                      <a:pt x="155" y="117"/>
                    </a:cubicBezTo>
                    <a:cubicBezTo>
                      <a:pt x="157" y="117"/>
                      <a:pt x="155" y="123"/>
                      <a:pt x="160" y="128"/>
                    </a:cubicBezTo>
                    <a:cubicBezTo>
                      <a:pt x="167" y="136"/>
                      <a:pt x="164" y="144"/>
                      <a:pt x="172" y="145"/>
                    </a:cubicBezTo>
                    <a:cubicBezTo>
                      <a:pt x="179" y="147"/>
                      <a:pt x="178" y="151"/>
                      <a:pt x="181" y="151"/>
                    </a:cubicBezTo>
                    <a:cubicBezTo>
                      <a:pt x="184" y="150"/>
                      <a:pt x="184" y="148"/>
                      <a:pt x="189" y="148"/>
                    </a:cubicBezTo>
                    <a:cubicBezTo>
                      <a:pt x="196" y="147"/>
                      <a:pt x="192" y="147"/>
                      <a:pt x="196" y="145"/>
                    </a:cubicBezTo>
                    <a:cubicBezTo>
                      <a:pt x="199" y="145"/>
                      <a:pt x="201" y="145"/>
                      <a:pt x="201" y="147"/>
                    </a:cubicBezTo>
                    <a:cubicBezTo>
                      <a:pt x="201" y="150"/>
                      <a:pt x="204" y="148"/>
                      <a:pt x="204" y="147"/>
                    </a:cubicBezTo>
                    <a:cubicBezTo>
                      <a:pt x="205" y="144"/>
                      <a:pt x="202" y="145"/>
                      <a:pt x="204" y="144"/>
                    </a:cubicBezTo>
                    <a:cubicBezTo>
                      <a:pt x="205" y="142"/>
                      <a:pt x="208" y="142"/>
                      <a:pt x="210" y="137"/>
                    </a:cubicBezTo>
                    <a:cubicBezTo>
                      <a:pt x="210" y="131"/>
                      <a:pt x="212" y="136"/>
                      <a:pt x="212" y="130"/>
                    </a:cubicBezTo>
                    <a:cubicBezTo>
                      <a:pt x="210" y="125"/>
                      <a:pt x="212" y="127"/>
                      <a:pt x="212" y="123"/>
                    </a:cubicBezTo>
                    <a:cubicBezTo>
                      <a:pt x="212" y="120"/>
                      <a:pt x="218" y="119"/>
                      <a:pt x="222" y="119"/>
                    </a:cubicBezTo>
                    <a:cubicBezTo>
                      <a:pt x="227" y="119"/>
                      <a:pt x="224" y="117"/>
                      <a:pt x="228" y="117"/>
                    </a:cubicBezTo>
                    <a:cubicBezTo>
                      <a:pt x="233" y="116"/>
                      <a:pt x="236" y="119"/>
                      <a:pt x="237" y="117"/>
                    </a:cubicBezTo>
                    <a:cubicBezTo>
                      <a:pt x="239" y="117"/>
                      <a:pt x="237" y="117"/>
                      <a:pt x="236" y="117"/>
                    </a:cubicBezTo>
                    <a:cubicBezTo>
                      <a:pt x="236" y="117"/>
                      <a:pt x="237" y="116"/>
                      <a:pt x="239" y="117"/>
                    </a:cubicBezTo>
                    <a:cubicBezTo>
                      <a:pt x="240" y="119"/>
                      <a:pt x="240" y="117"/>
                      <a:pt x="240" y="119"/>
                    </a:cubicBezTo>
                    <a:cubicBezTo>
                      <a:pt x="240" y="122"/>
                      <a:pt x="242" y="120"/>
                      <a:pt x="239" y="125"/>
                    </a:cubicBezTo>
                    <a:cubicBezTo>
                      <a:pt x="234" y="131"/>
                      <a:pt x="236" y="134"/>
                      <a:pt x="234" y="134"/>
                    </a:cubicBezTo>
                    <a:cubicBezTo>
                      <a:pt x="231" y="136"/>
                      <a:pt x="233" y="137"/>
                      <a:pt x="234" y="137"/>
                    </a:cubicBezTo>
                    <a:cubicBezTo>
                      <a:pt x="236" y="136"/>
                      <a:pt x="236" y="137"/>
                      <a:pt x="234" y="139"/>
                    </a:cubicBezTo>
                    <a:cubicBezTo>
                      <a:pt x="231" y="140"/>
                      <a:pt x="236" y="139"/>
                      <a:pt x="234" y="140"/>
                    </a:cubicBezTo>
                    <a:cubicBezTo>
                      <a:pt x="234" y="142"/>
                      <a:pt x="233" y="153"/>
                      <a:pt x="231" y="150"/>
                    </a:cubicBezTo>
                    <a:cubicBezTo>
                      <a:pt x="231" y="148"/>
                      <a:pt x="230" y="148"/>
                      <a:pt x="230" y="147"/>
                    </a:cubicBezTo>
                    <a:cubicBezTo>
                      <a:pt x="231" y="144"/>
                      <a:pt x="231" y="144"/>
                      <a:pt x="230" y="145"/>
                    </a:cubicBezTo>
                    <a:cubicBezTo>
                      <a:pt x="230" y="147"/>
                      <a:pt x="228" y="147"/>
                      <a:pt x="228" y="148"/>
                    </a:cubicBezTo>
                    <a:cubicBezTo>
                      <a:pt x="225" y="147"/>
                      <a:pt x="225" y="153"/>
                      <a:pt x="224" y="153"/>
                    </a:cubicBezTo>
                    <a:cubicBezTo>
                      <a:pt x="224" y="154"/>
                      <a:pt x="222" y="151"/>
                      <a:pt x="222" y="154"/>
                    </a:cubicBezTo>
                  </a:path>
                </a:pathLst>
              </a:custGeom>
              <a:solidFill>
                <a:srgbClr val="00567C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21" name="Freeform 15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756285" y="3346847"/>
                <a:ext cx="19884" cy="59652"/>
              </a:xfrm>
              <a:custGeom>
                <a:avLst/>
                <a:gdLst/>
                <a:ahLst/>
                <a:cxnLst>
                  <a:cxn ang="0">
                    <a:pos x="6" y="1"/>
                  </a:cxn>
                  <a:cxn ang="0">
                    <a:pos x="2" y="6"/>
                  </a:cxn>
                  <a:cxn ang="0">
                    <a:pos x="0" y="7"/>
                  </a:cxn>
                  <a:cxn ang="0">
                    <a:pos x="0" y="26"/>
                  </a:cxn>
                  <a:cxn ang="0">
                    <a:pos x="2" y="26"/>
                  </a:cxn>
                  <a:cxn ang="0">
                    <a:pos x="6" y="20"/>
                  </a:cxn>
                  <a:cxn ang="0">
                    <a:pos x="8" y="4"/>
                  </a:cxn>
                  <a:cxn ang="0">
                    <a:pos x="8" y="1"/>
                  </a:cxn>
                  <a:cxn ang="0">
                    <a:pos x="6" y="1"/>
                  </a:cxn>
                </a:cxnLst>
                <a:rect l="0" t="0" r="r" b="b"/>
                <a:pathLst>
                  <a:path w="9" h="26">
                    <a:moveTo>
                      <a:pt x="6" y="1"/>
                    </a:moveTo>
                    <a:cubicBezTo>
                      <a:pt x="3" y="0"/>
                      <a:pt x="3" y="6"/>
                      <a:pt x="2" y="6"/>
                    </a:cubicBezTo>
                    <a:cubicBezTo>
                      <a:pt x="2" y="7"/>
                      <a:pt x="0" y="4"/>
                      <a:pt x="0" y="7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2" y="26"/>
                      <a:pt x="2" y="26"/>
                      <a:pt x="2" y="26"/>
                    </a:cubicBezTo>
                    <a:cubicBezTo>
                      <a:pt x="2" y="25"/>
                      <a:pt x="5" y="23"/>
                      <a:pt x="6" y="20"/>
                    </a:cubicBezTo>
                    <a:cubicBezTo>
                      <a:pt x="8" y="18"/>
                      <a:pt x="6" y="9"/>
                      <a:pt x="8" y="4"/>
                    </a:cubicBezTo>
                    <a:cubicBezTo>
                      <a:pt x="9" y="3"/>
                      <a:pt x="8" y="1"/>
                      <a:pt x="8" y="1"/>
                    </a:cubicBezTo>
                    <a:cubicBezTo>
                      <a:pt x="6" y="3"/>
                      <a:pt x="6" y="3"/>
                      <a:pt x="6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22" name="Freeform 16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3103673" y="3971433"/>
                <a:ext cx="231593" cy="306445"/>
              </a:xfrm>
              <a:custGeom>
                <a:avLst/>
                <a:gdLst/>
                <a:ahLst/>
                <a:cxnLst>
                  <a:cxn ang="0">
                    <a:pos x="3" y="16"/>
                  </a:cxn>
                  <a:cxn ang="0">
                    <a:pos x="20" y="10"/>
                  </a:cxn>
                  <a:cxn ang="0">
                    <a:pos x="36" y="6"/>
                  </a:cxn>
                  <a:cxn ang="0">
                    <a:pos x="41" y="27"/>
                  </a:cxn>
                  <a:cxn ang="0">
                    <a:pos x="56" y="34"/>
                  </a:cxn>
                  <a:cxn ang="0">
                    <a:pos x="62" y="39"/>
                  </a:cxn>
                  <a:cxn ang="0">
                    <a:pos x="73" y="42"/>
                  </a:cxn>
                  <a:cxn ang="0">
                    <a:pos x="79" y="69"/>
                  </a:cxn>
                  <a:cxn ang="0">
                    <a:pos x="91" y="70"/>
                  </a:cxn>
                  <a:cxn ang="0">
                    <a:pos x="94" y="79"/>
                  </a:cxn>
                  <a:cxn ang="0">
                    <a:pos x="96" y="95"/>
                  </a:cxn>
                  <a:cxn ang="0">
                    <a:pos x="94" y="103"/>
                  </a:cxn>
                  <a:cxn ang="0">
                    <a:pos x="93" y="107"/>
                  </a:cxn>
                  <a:cxn ang="0">
                    <a:pos x="90" y="103"/>
                  </a:cxn>
                  <a:cxn ang="0">
                    <a:pos x="76" y="100"/>
                  </a:cxn>
                  <a:cxn ang="0">
                    <a:pos x="64" y="104"/>
                  </a:cxn>
                  <a:cxn ang="0">
                    <a:pos x="61" y="115"/>
                  </a:cxn>
                  <a:cxn ang="0">
                    <a:pos x="58" y="129"/>
                  </a:cxn>
                  <a:cxn ang="0">
                    <a:pos x="55" y="126"/>
                  </a:cxn>
                  <a:cxn ang="0">
                    <a:pos x="49" y="126"/>
                  </a:cxn>
                  <a:cxn ang="0">
                    <a:pos x="44" y="134"/>
                  </a:cxn>
                  <a:cxn ang="0">
                    <a:pos x="35" y="128"/>
                  </a:cxn>
                  <a:cxn ang="0">
                    <a:pos x="29" y="123"/>
                  </a:cxn>
                  <a:cxn ang="0">
                    <a:pos x="26" y="128"/>
                  </a:cxn>
                  <a:cxn ang="0">
                    <a:pos x="21" y="134"/>
                  </a:cxn>
                  <a:cxn ang="0">
                    <a:pos x="15" y="131"/>
                  </a:cxn>
                  <a:cxn ang="0">
                    <a:pos x="12" y="115"/>
                  </a:cxn>
                  <a:cxn ang="0">
                    <a:pos x="10" y="111"/>
                  </a:cxn>
                  <a:cxn ang="0">
                    <a:pos x="10" y="106"/>
                  </a:cxn>
                  <a:cxn ang="0">
                    <a:pos x="10" y="101"/>
                  </a:cxn>
                  <a:cxn ang="0">
                    <a:pos x="9" y="97"/>
                  </a:cxn>
                  <a:cxn ang="0">
                    <a:pos x="6" y="87"/>
                  </a:cxn>
                  <a:cxn ang="0">
                    <a:pos x="3" y="79"/>
                  </a:cxn>
                  <a:cxn ang="0">
                    <a:pos x="4" y="67"/>
                  </a:cxn>
                  <a:cxn ang="0">
                    <a:pos x="4" y="56"/>
                  </a:cxn>
                  <a:cxn ang="0">
                    <a:pos x="7" y="45"/>
                  </a:cxn>
                  <a:cxn ang="0">
                    <a:pos x="9" y="31"/>
                  </a:cxn>
                  <a:cxn ang="0">
                    <a:pos x="3" y="16"/>
                  </a:cxn>
                </a:cxnLst>
                <a:rect l="0" t="0" r="r" b="b"/>
                <a:pathLst>
                  <a:path w="102" h="135">
                    <a:moveTo>
                      <a:pt x="3" y="16"/>
                    </a:moveTo>
                    <a:cubicBezTo>
                      <a:pt x="12" y="19"/>
                      <a:pt x="10" y="17"/>
                      <a:pt x="20" y="10"/>
                    </a:cubicBezTo>
                    <a:cubicBezTo>
                      <a:pt x="27" y="3"/>
                      <a:pt x="39" y="0"/>
                      <a:pt x="36" y="6"/>
                    </a:cubicBezTo>
                    <a:cubicBezTo>
                      <a:pt x="35" y="14"/>
                      <a:pt x="35" y="20"/>
                      <a:pt x="41" y="27"/>
                    </a:cubicBezTo>
                    <a:cubicBezTo>
                      <a:pt x="47" y="33"/>
                      <a:pt x="50" y="30"/>
                      <a:pt x="56" y="34"/>
                    </a:cubicBezTo>
                    <a:cubicBezTo>
                      <a:pt x="61" y="39"/>
                      <a:pt x="59" y="36"/>
                      <a:pt x="62" y="39"/>
                    </a:cubicBezTo>
                    <a:cubicBezTo>
                      <a:pt x="67" y="44"/>
                      <a:pt x="68" y="38"/>
                      <a:pt x="73" y="42"/>
                    </a:cubicBezTo>
                    <a:cubicBezTo>
                      <a:pt x="77" y="47"/>
                      <a:pt x="74" y="67"/>
                      <a:pt x="79" y="69"/>
                    </a:cubicBezTo>
                    <a:cubicBezTo>
                      <a:pt x="83" y="69"/>
                      <a:pt x="93" y="67"/>
                      <a:pt x="91" y="70"/>
                    </a:cubicBezTo>
                    <a:cubicBezTo>
                      <a:pt x="90" y="73"/>
                      <a:pt x="90" y="78"/>
                      <a:pt x="94" y="79"/>
                    </a:cubicBezTo>
                    <a:cubicBezTo>
                      <a:pt x="102" y="83"/>
                      <a:pt x="96" y="93"/>
                      <a:pt x="96" y="95"/>
                    </a:cubicBezTo>
                    <a:cubicBezTo>
                      <a:pt x="97" y="98"/>
                      <a:pt x="94" y="101"/>
                      <a:pt x="94" y="103"/>
                    </a:cubicBezTo>
                    <a:cubicBezTo>
                      <a:pt x="96" y="106"/>
                      <a:pt x="96" y="106"/>
                      <a:pt x="93" y="107"/>
                    </a:cubicBezTo>
                    <a:cubicBezTo>
                      <a:pt x="93" y="104"/>
                      <a:pt x="94" y="104"/>
                      <a:pt x="90" y="103"/>
                    </a:cubicBezTo>
                    <a:cubicBezTo>
                      <a:pt x="87" y="100"/>
                      <a:pt x="85" y="97"/>
                      <a:pt x="76" y="100"/>
                    </a:cubicBezTo>
                    <a:cubicBezTo>
                      <a:pt x="67" y="101"/>
                      <a:pt x="65" y="100"/>
                      <a:pt x="64" y="104"/>
                    </a:cubicBezTo>
                    <a:cubicBezTo>
                      <a:pt x="62" y="109"/>
                      <a:pt x="61" y="109"/>
                      <a:pt x="61" y="115"/>
                    </a:cubicBezTo>
                    <a:cubicBezTo>
                      <a:pt x="61" y="120"/>
                      <a:pt x="58" y="126"/>
                      <a:pt x="58" y="129"/>
                    </a:cubicBezTo>
                    <a:cubicBezTo>
                      <a:pt x="56" y="128"/>
                      <a:pt x="56" y="126"/>
                      <a:pt x="55" y="126"/>
                    </a:cubicBezTo>
                    <a:cubicBezTo>
                      <a:pt x="53" y="126"/>
                      <a:pt x="52" y="126"/>
                      <a:pt x="49" y="126"/>
                    </a:cubicBezTo>
                    <a:cubicBezTo>
                      <a:pt x="47" y="126"/>
                      <a:pt x="45" y="128"/>
                      <a:pt x="44" y="134"/>
                    </a:cubicBezTo>
                    <a:cubicBezTo>
                      <a:pt x="42" y="126"/>
                      <a:pt x="39" y="126"/>
                      <a:pt x="35" y="128"/>
                    </a:cubicBezTo>
                    <a:cubicBezTo>
                      <a:pt x="30" y="128"/>
                      <a:pt x="30" y="123"/>
                      <a:pt x="29" y="123"/>
                    </a:cubicBezTo>
                    <a:cubicBezTo>
                      <a:pt x="27" y="124"/>
                      <a:pt x="29" y="126"/>
                      <a:pt x="26" y="128"/>
                    </a:cubicBezTo>
                    <a:cubicBezTo>
                      <a:pt x="24" y="129"/>
                      <a:pt x="24" y="132"/>
                      <a:pt x="21" y="134"/>
                    </a:cubicBezTo>
                    <a:cubicBezTo>
                      <a:pt x="18" y="135"/>
                      <a:pt x="17" y="135"/>
                      <a:pt x="15" y="131"/>
                    </a:cubicBezTo>
                    <a:cubicBezTo>
                      <a:pt x="15" y="124"/>
                      <a:pt x="14" y="115"/>
                      <a:pt x="12" y="115"/>
                    </a:cubicBezTo>
                    <a:cubicBezTo>
                      <a:pt x="9" y="115"/>
                      <a:pt x="12" y="112"/>
                      <a:pt x="10" y="111"/>
                    </a:cubicBezTo>
                    <a:cubicBezTo>
                      <a:pt x="9" y="111"/>
                      <a:pt x="9" y="109"/>
                      <a:pt x="10" y="106"/>
                    </a:cubicBezTo>
                    <a:cubicBezTo>
                      <a:pt x="12" y="104"/>
                      <a:pt x="7" y="104"/>
                      <a:pt x="10" y="101"/>
                    </a:cubicBezTo>
                    <a:cubicBezTo>
                      <a:pt x="12" y="100"/>
                      <a:pt x="10" y="100"/>
                      <a:pt x="9" y="97"/>
                    </a:cubicBezTo>
                    <a:cubicBezTo>
                      <a:pt x="7" y="97"/>
                      <a:pt x="6" y="89"/>
                      <a:pt x="6" y="87"/>
                    </a:cubicBezTo>
                    <a:cubicBezTo>
                      <a:pt x="6" y="86"/>
                      <a:pt x="4" y="86"/>
                      <a:pt x="3" y="79"/>
                    </a:cubicBezTo>
                    <a:cubicBezTo>
                      <a:pt x="3" y="76"/>
                      <a:pt x="10" y="70"/>
                      <a:pt x="4" y="67"/>
                    </a:cubicBezTo>
                    <a:cubicBezTo>
                      <a:pt x="0" y="64"/>
                      <a:pt x="7" y="61"/>
                      <a:pt x="4" y="56"/>
                    </a:cubicBezTo>
                    <a:cubicBezTo>
                      <a:pt x="1" y="52"/>
                      <a:pt x="9" y="50"/>
                      <a:pt x="7" y="45"/>
                    </a:cubicBezTo>
                    <a:cubicBezTo>
                      <a:pt x="6" y="39"/>
                      <a:pt x="9" y="31"/>
                      <a:pt x="9" y="31"/>
                    </a:cubicBezTo>
                    <a:cubicBezTo>
                      <a:pt x="3" y="16"/>
                      <a:pt x="3" y="16"/>
                      <a:pt x="3" y="16"/>
                    </a:cubicBezTo>
                    <a:close/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23" name="Freeform 17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3234675" y="4188986"/>
                <a:ext cx="152055" cy="202347"/>
              </a:xfrm>
              <a:custGeom>
                <a:avLst/>
                <a:gdLst/>
                <a:ahLst/>
                <a:cxnLst>
                  <a:cxn ang="0">
                    <a:pos x="62" y="66"/>
                  </a:cxn>
                  <a:cxn ang="0">
                    <a:pos x="62" y="75"/>
                  </a:cxn>
                  <a:cxn ang="0">
                    <a:pos x="56" y="84"/>
                  </a:cxn>
                  <a:cxn ang="0">
                    <a:pos x="50" y="86"/>
                  </a:cxn>
                  <a:cxn ang="0">
                    <a:pos x="36" y="84"/>
                  </a:cxn>
                  <a:cxn ang="0">
                    <a:pos x="32" y="83"/>
                  </a:cxn>
                  <a:cxn ang="0">
                    <a:pos x="35" y="78"/>
                  </a:cxn>
                  <a:cxn ang="0">
                    <a:pos x="36" y="72"/>
                  </a:cxn>
                  <a:cxn ang="0">
                    <a:pos x="39" y="66"/>
                  </a:cxn>
                  <a:cxn ang="0">
                    <a:pos x="35" y="59"/>
                  </a:cxn>
                  <a:cxn ang="0">
                    <a:pos x="23" y="53"/>
                  </a:cxn>
                  <a:cxn ang="0">
                    <a:pos x="12" y="47"/>
                  </a:cxn>
                  <a:cxn ang="0">
                    <a:pos x="3" y="38"/>
                  </a:cxn>
                  <a:cxn ang="0">
                    <a:pos x="0" y="33"/>
                  </a:cxn>
                  <a:cxn ang="0">
                    <a:pos x="3" y="19"/>
                  </a:cxn>
                  <a:cxn ang="0">
                    <a:pos x="6" y="8"/>
                  </a:cxn>
                  <a:cxn ang="0">
                    <a:pos x="18" y="3"/>
                  </a:cxn>
                  <a:cxn ang="0">
                    <a:pos x="32" y="7"/>
                  </a:cxn>
                  <a:cxn ang="0">
                    <a:pos x="35" y="11"/>
                  </a:cxn>
                  <a:cxn ang="0">
                    <a:pos x="38" y="22"/>
                  </a:cxn>
                  <a:cxn ang="0">
                    <a:pos x="36" y="30"/>
                  </a:cxn>
                  <a:cxn ang="0">
                    <a:pos x="47" y="31"/>
                  </a:cxn>
                  <a:cxn ang="0">
                    <a:pos x="55" y="35"/>
                  </a:cxn>
                  <a:cxn ang="0">
                    <a:pos x="58" y="50"/>
                  </a:cxn>
                  <a:cxn ang="0">
                    <a:pos x="64" y="49"/>
                  </a:cxn>
                  <a:cxn ang="0">
                    <a:pos x="62" y="66"/>
                  </a:cxn>
                </a:cxnLst>
                <a:rect l="0" t="0" r="r" b="b"/>
                <a:pathLst>
                  <a:path w="67" h="89">
                    <a:moveTo>
                      <a:pt x="62" y="66"/>
                    </a:moveTo>
                    <a:cubicBezTo>
                      <a:pt x="64" y="72"/>
                      <a:pt x="62" y="70"/>
                      <a:pt x="62" y="75"/>
                    </a:cubicBezTo>
                    <a:cubicBezTo>
                      <a:pt x="61" y="80"/>
                      <a:pt x="56" y="80"/>
                      <a:pt x="56" y="84"/>
                    </a:cubicBezTo>
                    <a:cubicBezTo>
                      <a:pt x="55" y="89"/>
                      <a:pt x="53" y="81"/>
                      <a:pt x="50" y="86"/>
                    </a:cubicBezTo>
                    <a:cubicBezTo>
                      <a:pt x="45" y="89"/>
                      <a:pt x="42" y="84"/>
                      <a:pt x="36" y="84"/>
                    </a:cubicBezTo>
                    <a:cubicBezTo>
                      <a:pt x="32" y="84"/>
                      <a:pt x="32" y="86"/>
                      <a:pt x="32" y="83"/>
                    </a:cubicBezTo>
                    <a:cubicBezTo>
                      <a:pt x="30" y="81"/>
                      <a:pt x="33" y="81"/>
                      <a:pt x="35" y="78"/>
                    </a:cubicBezTo>
                    <a:cubicBezTo>
                      <a:pt x="36" y="75"/>
                      <a:pt x="33" y="73"/>
                      <a:pt x="36" y="72"/>
                    </a:cubicBezTo>
                    <a:cubicBezTo>
                      <a:pt x="39" y="70"/>
                      <a:pt x="36" y="70"/>
                      <a:pt x="39" y="66"/>
                    </a:cubicBezTo>
                    <a:cubicBezTo>
                      <a:pt x="41" y="64"/>
                      <a:pt x="36" y="59"/>
                      <a:pt x="35" y="59"/>
                    </a:cubicBezTo>
                    <a:cubicBezTo>
                      <a:pt x="32" y="59"/>
                      <a:pt x="29" y="58"/>
                      <a:pt x="23" y="53"/>
                    </a:cubicBezTo>
                    <a:cubicBezTo>
                      <a:pt x="18" y="49"/>
                      <a:pt x="13" y="50"/>
                      <a:pt x="12" y="47"/>
                    </a:cubicBezTo>
                    <a:cubicBezTo>
                      <a:pt x="10" y="44"/>
                      <a:pt x="6" y="44"/>
                      <a:pt x="3" y="38"/>
                    </a:cubicBezTo>
                    <a:cubicBezTo>
                      <a:pt x="1" y="33"/>
                      <a:pt x="1" y="35"/>
                      <a:pt x="0" y="33"/>
                    </a:cubicBezTo>
                    <a:cubicBezTo>
                      <a:pt x="0" y="30"/>
                      <a:pt x="3" y="24"/>
                      <a:pt x="3" y="19"/>
                    </a:cubicBezTo>
                    <a:cubicBezTo>
                      <a:pt x="3" y="13"/>
                      <a:pt x="4" y="13"/>
                      <a:pt x="6" y="8"/>
                    </a:cubicBezTo>
                    <a:cubicBezTo>
                      <a:pt x="7" y="3"/>
                      <a:pt x="9" y="5"/>
                      <a:pt x="18" y="3"/>
                    </a:cubicBezTo>
                    <a:cubicBezTo>
                      <a:pt x="27" y="0"/>
                      <a:pt x="29" y="3"/>
                      <a:pt x="32" y="7"/>
                    </a:cubicBezTo>
                    <a:cubicBezTo>
                      <a:pt x="36" y="8"/>
                      <a:pt x="35" y="8"/>
                      <a:pt x="35" y="11"/>
                    </a:cubicBezTo>
                    <a:cubicBezTo>
                      <a:pt x="35" y="14"/>
                      <a:pt x="39" y="19"/>
                      <a:pt x="38" y="22"/>
                    </a:cubicBezTo>
                    <a:cubicBezTo>
                      <a:pt x="36" y="27"/>
                      <a:pt x="38" y="27"/>
                      <a:pt x="36" y="30"/>
                    </a:cubicBezTo>
                    <a:cubicBezTo>
                      <a:pt x="36" y="31"/>
                      <a:pt x="47" y="33"/>
                      <a:pt x="47" y="31"/>
                    </a:cubicBezTo>
                    <a:cubicBezTo>
                      <a:pt x="48" y="30"/>
                      <a:pt x="53" y="31"/>
                      <a:pt x="55" y="35"/>
                    </a:cubicBezTo>
                    <a:cubicBezTo>
                      <a:pt x="58" y="47"/>
                      <a:pt x="55" y="50"/>
                      <a:pt x="58" y="50"/>
                    </a:cubicBezTo>
                    <a:cubicBezTo>
                      <a:pt x="61" y="50"/>
                      <a:pt x="62" y="47"/>
                      <a:pt x="64" y="49"/>
                    </a:cubicBezTo>
                    <a:cubicBezTo>
                      <a:pt x="67" y="52"/>
                      <a:pt x="65" y="64"/>
                      <a:pt x="62" y="66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24" name="Freeform 18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304854" y="4440458"/>
                <a:ext cx="105269" cy="125151"/>
              </a:xfrm>
              <a:custGeom>
                <a:avLst/>
                <a:gdLst/>
                <a:ahLst/>
                <a:cxnLst>
                  <a:cxn ang="0">
                    <a:pos x="42" y="42"/>
                  </a:cxn>
                  <a:cxn ang="0">
                    <a:pos x="32" y="52"/>
                  </a:cxn>
                  <a:cxn ang="0">
                    <a:pos x="22" y="52"/>
                  </a:cxn>
                  <a:cxn ang="0">
                    <a:pos x="9" y="48"/>
                  </a:cxn>
                  <a:cxn ang="0">
                    <a:pos x="2" y="45"/>
                  </a:cxn>
                  <a:cxn ang="0">
                    <a:pos x="3" y="34"/>
                  </a:cxn>
                  <a:cxn ang="0">
                    <a:pos x="3" y="20"/>
                  </a:cxn>
                  <a:cxn ang="0">
                    <a:pos x="5" y="14"/>
                  </a:cxn>
                  <a:cxn ang="0">
                    <a:pos x="8" y="3"/>
                  </a:cxn>
                  <a:cxn ang="0">
                    <a:pos x="17" y="5"/>
                  </a:cxn>
                  <a:cxn ang="0">
                    <a:pos x="23" y="12"/>
                  </a:cxn>
                  <a:cxn ang="0">
                    <a:pos x="29" y="15"/>
                  </a:cxn>
                  <a:cxn ang="0">
                    <a:pos x="35" y="22"/>
                  </a:cxn>
                  <a:cxn ang="0">
                    <a:pos x="42" y="28"/>
                  </a:cxn>
                  <a:cxn ang="0">
                    <a:pos x="42" y="42"/>
                  </a:cxn>
                </a:cxnLst>
                <a:rect l="0" t="0" r="r" b="b"/>
                <a:pathLst>
                  <a:path w="46" h="55">
                    <a:moveTo>
                      <a:pt x="42" y="42"/>
                    </a:moveTo>
                    <a:cubicBezTo>
                      <a:pt x="39" y="48"/>
                      <a:pt x="35" y="49"/>
                      <a:pt x="32" y="52"/>
                    </a:cubicBezTo>
                    <a:cubicBezTo>
                      <a:pt x="28" y="55"/>
                      <a:pt x="26" y="51"/>
                      <a:pt x="22" y="52"/>
                    </a:cubicBezTo>
                    <a:cubicBezTo>
                      <a:pt x="19" y="54"/>
                      <a:pt x="13" y="48"/>
                      <a:pt x="9" y="48"/>
                    </a:cubicBezTo>
                    <a:cubicBezTo>
                      <a:pt x="5" y="48"/>
                      <a:pt x="2" y="45"/>
                      <a:pt x="2" y="45"/>
                    </a:cubicBezTo>
                    <a:cubicBezTo>
                      <a:pt x="0" y="42"/>
                      <a:pt x="0" y="35"/>
                      <a:pt x="3" y="34"/>
                    </a:cubicBezTo>
                    <a:cubicBezTo>
                      <a:pt x="6" y="32"/>
                      <a:pt x="2" y="23"/>
                      <a:pt x="3" y="20"/>
                    </a:cubicBezTo>
                    <a:cubicBezTo>
                      <a:pt x="6" y="18"/>
                      <a:pt x="2" y="18"/>
                      <a:pt x="5" y="14"/>
                    </a:cubicBezTo>
                    <a:cubicBezTo>
                      <a:pt x="8" y="9"/>
                      <a:pt x="5" y="8"/>
                      <a:pt x="8" y="3"/>
                    </a:cubicBezTo>
                    <a:cubicBezTo>
                      <a:pt x="11" y="8"/>
                      <a:pt x="11" y="0"/>
                      <a:pt x="17" y="5"/>
                    </a:cubicBezTo>
                    <a:cubicBezTo>
                      <a:pt x="22" y="9"/>
                      <a:pt x="19" y="14"/>
                      <a:pt x="23" y="12"/>
                    </a:cubicBezTo>
                    <a:cubicBezTo>
                      <a:pt x="26" y="9"/>
                      <a:pt x="25" y="14"/>
                      <a:pt x="29" y="15"/>
                    </a:cubicBezTo>
                    <a:cubicBezTo>
                      <a:pt x="34" y="18"/>
                      <a:pt x="32" y="18"/>
                      <a:pt x="35" y="22"/>
                    </a:cubicBezTo>
                    <a:cubicBezTo>
                      <a:pt x="40" y="23"/>
                      <a:pt x="39" y="23"/>
                      <a:pt x="42" y="28"/>
                    </a:cubicBezTo>
                    <a:cubicBezTo>
                      <a:pt x="46" y="34"/>
                      <a:pt x="39" y="34"/>
                      <a:pt x="42" y="4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25" name="Freeform 19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2891965" y="3759729"/>
                <a:ext cx="233932" cy="410543"/>
              </a:xfrm>
              <a:custGeom>
                <a:avLst/>
                <a:gdLst/>
                <a:ahLst/>
                <a:cxnLst>
                  <a:cxn ang="0">
                    <a:pos x="93" y="42"/>
                  </a:cxn>
                  <a:cxn ang="0">
                    <a:pos x="85" y="42"/>
                  </a:cxn>
                  <a:cxn ang="0">
                    <a:pos x="71" y="49"/>
                  </a:cxn>
                  <a:cxn ang="0">
                    <a:pos x="64" y="66"/>
                  </a:cxn>
                  <a:cxn ang="0">
                    <a:pos x="67" y="91"/>
                  </a:cxn>
                  <a:cxn ang="0">
                    <a:pos x="74" y="96"/>
                  </a:cxn>
                  <a:cxn ang="0">
                    <a:pos x="85" y="96"/>
                  </a:cxn>
                  <a:cxn ang="0">
                    <a:pos x="88" y="108"/>
                  </a:cxn>
                  <a:cxn ang="0">
                    <a:pos x="96" y="108"/>
                  </a:cxn>
                  <a:cxn ang="0">
                    <a:pos x="102" y="124"/>
                  </a:cxn>
                  <a:cxn ang="0">
                    <a:pos x="100" y="138"/>
                  </a:cxn>
                  <a:cxn ang="0">
                    <a:pos x="97" y="149"/>
                  </a:cxn>
                  <a:cxn ang="0">
                    <a:pos x="97" y="160"/>
                  </a:cxn>
                  <a:cxn ang="0">
                    <a:pos x="96" y="172"/>
                  </a:cxn>
                  <a:cxn ang="0">
                    <a:pos x="93" y="175"/>
                  </a:cxn>
                  <a:cxn ang="0">
                    <a:pos x="88" y="181"/>
                  </a:cxn>
                  <a:cxn ang="0">
                    <a:pos x="80" y="174"/>
                  </a:cxn>
                  <a:cxn ang="0">
                    <a:pos x="65" y="161"/>
                  </a:cxn>
                  <a:cxn ang="0">
                    <a:pos x="50" y="149"/>
                  </a:cxn>
                  <a:cxn ang="0">
                    <a:pos x="42" y="135"/>
                  </a:cxn>
                  <a:cxn ang="0">
                    <a:pos x="35" y="119"/>
                  </a:cxn>
                  <a:cxn ang="0">
                    <a:pos x="30" y="108"/>
                  </a:cxn>
                  <a:cxn ang="0">
                    <a:pos x="23" y="85"/>
                  </a:cxn>
                  <a:cxn ang="0">
                    <a:pos x="14" y="70"/>
                  </a:cxn>
                  <a:cxn ang="0">
                    <a:pos x="4" y="57"/>
                  </a:cxn>
                  <a:cxn ang="0">
                    <a:pos x="3" y="52"/>
                  </a:cxn>
                  <a:cxn ang="0">
                    <a:pos x="11" y="34"/>
                  </a:cxn>
                  <a:cxn ang="0">
                    <a:pos x="9" y="43"/>
                  </a:cxn>
                  <a:cxn ang="0">
                    <a:pos x="15" y="45"/>
                  </a:cxn>
                  <a:cxn ang="0">
                    <a:pos x="21" y="48"/>
                  </a:cxn>
                  <a:cxn ang="0">
                    <a:pos x="26" y="35"/>
                  </a:cxn>
                  <a:cxn ang="0">
                    <a:pos x="47" y="18"/>
                  </a:cxn>
                  <a:cxn ang="0">
                    <a:pos x="50" y="1"/>
                  </a:cxn>
                  <a:cxn ang="0">
                    <a:pos x="55" y="4"/>
                  </a:cxn>
                  <a:cxn ang="0">
                    <a:pos x="61" y="12"/>
                  </a:cxn>
                  <a:cxn ang="0">
                    <a:pos x="70" y="25"/>
                  </a:cxn>
                  <a:cxn ang="0">
                    <a:pos x="85" y="23"/>
                  </a:cxn>
                  <a:cxn ang="0">
                    <a:pos x="91" y="28"/>
                  </a:cxn>
                  <a:cxn ang="0">
                    <a:pos x="88" y="39"/>
                  </a:cxn>
                  <a:cxn ang="0">
                    <a:pos x="93" y="42"/>
                  </a:cxn>
                </a:cxnLst>
                <a:rect l="0" t="0" r="r" b="b"/>
                <a:pathLst>
                  <a:path w="103" h="181">
                    <a:moveTo>
                      <a:pt x="93" y="42"/>
                    </a:moveTo>
                    <a:cubicBezTo>
                      <a:pt x="88" y="45"/>
                      <a:pt x="91" y="39"/>
                      <a:pt x="85" y="42"/>
                    </a:cubicBezTo>
                    <a:cubicBezTo>
                      <a:pt x="79" y="46"/>
                      <a:pt x="77" y="45"/>
                      <a:pt x="71" y="49"/>
                    </a:cubicBezTo>
                    <a:cubicBezTo>
                      <a:pt x="67" y="56"/>
                      <a:pt x="70" y="63"/>
                      <a:pt x="64" y="66"/>
                    </a:cubicBezTo>
                    <a:cubicBezTo>
                      <a:pt x="55" y="74"/>
                      <a:pt x="68" y="87"/>
                      <a:pt x="67" y="91"/>
                    </a:cubicBezTo>
                    <a:cubicBezTo>
                      <a:pt x="65" y="96"/>
                      <a:pt x="74" y="90"/>
                      <a:pt x="74" y="96"/>
                    </a:cubicBezTo>
                    <a:cubicBezTo>
                      <a:pt x="73" y="104"/>
                      <a:pt x="84" y="99"/>
                      <a:pt x="85" y="96"/>
                    </a:cubicBezTo>
                    <a:cubicBezTo>
                      <a:pt x="88" y="91"/>
                      <a:pt x="85" y="108"/>
                      <a:pt x="88" y="108"/>
                    </a:cubicBezTo>
                    <a:cubicBezTo>
                      <a:pt x="91" y="110"/>
                      <a:pt x="91" y="107"/>
                      <a:pt x="96" y="108"/>
                    </a:cubicBezTo>
                    <a:cubicBezTo>
                      <a:pt x="102" y="124"/>
                      <a:pt x="102" y="124"/>
                      <a:pt x="102" y="124"/>
                    </a:cubicBezTo>
                    <a:cubicBezTo>
                      <a:pt x="102" y="124"/>
                      <a:pt x="99" y="132"/>
                      <a:pt x="100" y="138"/>
                    </a:cubicBezTo>
                    <a:cubicBezTo>
                      <a:pt x="102" y="143"/>
                      <a:pt x="94" y="144"/>
                      <a:pt x="97" y="149"/>
                    </a:cubicBezTo>
                    <a:cubicBezTo>
                      <a:pt x="100" y="153"/>
                      <a:pt x="93" y="156"/>
                      <a:pt x="97" y="160"/>
                    </a:cubicBezTo>
                    <a:cubicBezTo>
                      <a:pt x="103" y="163"/>
                      <a:pt x="96" y="169"/>
                      <a:pt x="96" y="172"/>
                    </a:cubicBezTo>
                    <a:cubicBezTo>
                      <a:pt x="96" y="172"/>
                      <a:pt x="96" y="175"/>
                      <a:pt x="93" y="175"/>
                    </a:cubicBezTo>
                    <a:cubicBezTo>
                      <a:pt x="91" y="175"/>
                      <a:pt x="97" y="178"/>
                      <a:pt x="88" y="181"/>
                    </a:cubicBezTo>
                    <a:cubicBezTo>
                      <a:pt x="87" y="178"/>
                      <a:pt x="82" y="178"/>
                      <a:pt x="80" y="174"/>
                    </a:cubicBezTo>
                    <a:cubicBezTo>
                      <a:pt x="80" y="169"/>
                      <a:pt x="77" y="169"/>
                      <a:pt x="65" y="161"/>
                    </a:cubicBezTo>
                    <a:cubicBezTo>
                      <a:pt x="52" y="155"/>
                      <a:pt x="52" y="152"/>
                      <a:pt x="50" y="149"/>
                    </a:cubicBezTo>
                    <a:cubicBezTo>
                      <a:pt x="47" y="146"/>
                      <a:pt x="41" y="143"/>
                      <a:pt x="42" y="135"/>
                    </a:cubicBezTo>
                    <a:cubicBezTo>
                      <a:pt x="42" y="127"/>
                      <a:pt x="35" y="124"/>
                      <a:pt x="35" y="119"/>
                    </a:cubicBezTo>
                    <a:cubicBezTo>
                      <a:pt x="35" y="115"/>
                      <a:pt x="32" y="115"/>
                      <a:pt x="30" y="108"/>
                    </a:cubicBezTo>
                    <a:cubicBezTo>
                      <a:pt x="30" y="102"/>
                      <a:pt x="24" y="93"/>
                      <a:pt x="23" y="85"/>
                    </a:cubicBezTo>
                    <a:cubicBezTo>
                      <a:pt x="21" y="79"/>
                      <a:pt x="17" y="79"/>
                      <a:pt x="14" y="70"/>
                    </a:cubicBezTo>
                    <a:cubicBezTo>
                      <a:pt x="12" y="63"/>
                      <a:pt x="0" y="62"/>
                      <a:pt x="4" y="57"/>
                    </a:cubicBezTo>
                    <a:cubicBezTo>
                      <a:pt x="9" y="56"/>
                      <a:pt x="4" y="56"/>
                      <a:pt x="3" y="52"/>
                    </a:cubicBezTo>
                    <a:cubicBezTo>
                      <a:pt x="1" y="48"/>
                      <a:pt x="1" y="43"/>
                      <a:pt x="11" y="34"/>
                    </a:cubicBezTo>
                    <a:cubicBezTo>
                      <a:pt x="14" y="40"/>
                      <a:pt x="8" y="40"/>
                      <a:pt x="9" y="43"/>
                    </a:cubicBezTo>
                    <a:cubicBezTo>
                      <a:pt x="9" y="46"/>
                      <a:pt x="11" y="43"/>
                      <a:pt x="15" y="45"/>
                    </a:cubicBezTo>
                    <a:cubicBezTo>
                      <a:pt x="18" y="45"/>
                      <a:pt x="18" y="51"/>
                      <a:pt x="21" y="48"/>
                    </a:cubicBezTo>
                    <a:cubicBezTo>
                      <a:pt x="24" y="45"/>
                      <a:pt x="21" y="45"/>
                      <a:pt x="26" y="35"/>
                    </a:cubicBezTo>
                    <a:cubicBezTo>
                      <a:pt x="30" y="28"/>
                      <a:pt x="42" y="25"/>
                      <a:pt x="47" y="18"/>
                    </a:cubicBezTo>
                    <a:cubicBezTo>
                      <a:pt x="50" y="11"/>
                      <a:pt x="50" y="9"/>
                      <a:pt x="50" y="1"/>
                    </a:cubicBezTo>
                    <a:cubicBezTo>
                      <a:pt x="52" y="0"/>
                      <a:pt x="52" y="3"/>
                      <a:pt x="55" y="4"/>
                    </a:cubicBezTo>
                    <a:cubicBezTo>
                      <a:pt x="59" y="6"/>
                      <a:pt x="56" y="9"/>
                      <a:pt x="61" y="12"/>
                    </a:cubicBezTo>
                    <a:cubicBezTo>
                      <a:pt x="67" y="15"/>
                      <a:pt x="65" y="25"/>
                      <a:pt x="70" y="25"/>
                    </a:cubicBezTo>
                    <a:cubicBezTo>
                      <a:pt x="76" y="25"/>
                      <a:pt x="79" y="21"/>
                      <a:pt x="85" y="23"/>
                    </a:cubicBezTo>
                    <a:cubicBezTo>
                      <a:pt x="93" y="26"/>
                      <a:pt x="93" y="26"/>
                      <a:pt x="91" y="28"/>
                    </a:cubicBezTo>
                    <a:cubicBezTo>
                      <a:pt x="88" y="34"/>
                      <a:pt x="85" y="40"/>
                      <a:pt x="88" y="39"/>
                    </a:cubicBezTo>
                    <a:cubicBezTo>
                      <a:pt x="91" y="39"/>
                      <a:pt x="91" y="40"/>
                      <a:pt x="93" y="4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26" name="Freeform 20"/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2932903" y="3483694"/>
                <a:ext cx="224574" cy="371945"/>
              </a:xfrm>
              <a:custGeom>
                <a:avLst/>
                <a:gdLst/>
                <a:ahLst/>
                <a:cxnLst>
                  <a:cxn ang="0">
                    <a:pos x="64" y="6"/>
                  </a:cxn>
                  <a:cxn ang="0">
                    <a:pos x="61" y="2"/>
                  </a:cxn>
                  <a:cxn ang="0">
                    <a:pos x="52" y="8"/>
                  </a:cxn>
                  <a:cxn ang="0">
                    <a:pos x="40" y="13"/>
                  </a:cxn>
                  <a:cxn ang="0">
                    <a:pos x="34" y="14"/>
                  </a:cxn>
                  <a:cxn ang="0">
                    <a:pos x="29" y="25"/>
                  </a:cxn>
                  <a:cxn ang="0">
                    <a:pos x="25" y="33"/>
                  </a:cxn>
                  <a:cxn ang="0">
                    <a:pos x="20" y="41"/>
                  </a:cxn>
                  <a:cxn ang="0">
                    <a:pos x="16" y="38"/>
                  </a:cxn>
                  <a:cxn ang="0">
                    <a:pos x="17" y="45"/>
                  </a:cxn>
                  <a:cxn ang="0">
                    <a:pos x="16" y="48"/>
                  </a:cxn>
                  <a:cxn ang="0">
                    <a:pos x="13" y="47"/>
                  </a:cxn>
                  <a:cxn ang="0">
                    <a:pos x="11" y="52"/>
                  </a:cxn>
                  <a:cxn ang="0">
                    <a:pos x="13" y="55"/>
                  </a:cxn>
                  <a:cxn ang="0">
                    <a:pos x="14" y="58"/>
                  </a:cxn>
                  <a:cxn ang="0">
                    <a:pos x="16" y="64"/>
                  </a:cxn>
                  <a:cxn ang="0">
                    <a:pos x="14" y="73"/>
                  </a:cxn>
                  <a:cxn ang="0">
                    <a:pos x="16" y="87"/>
                  </a:cxn>
                  <a:cxn ang="0">
                    <a:pos x="11" y="98"/>
                  </a:cxn>
                  <a:cxn ang="0">
                    <a:pos x="5" y="103"/>
                  </a:cxn>
                  <a:cxn ang="0">
                    <a:pos x="3" y="109"/>
                  </a:cxn>
                  <a:cxn ang="0">
                    <a:pos x="13" y="115"/>
                  </a:cxn>
                  <a:cxn ang="0">
                    <a:pos x="16" y="119"/>
                  </a:cxn>
                  <a:cxn ang="0">
                    <a:pos x="23" y="120"/>
                  </a:cxn>
                  <a:cxn ang="0">
                    <a:pos x="26" y="120"/>
                  </a:cxn>
                  <a:cxn ang="0">
                    <a:pos x="32" y="123"/>
                  </a:cxn>
                  <a:cxn ang="0">
                    <a:pos x="37" y="126"/>
                  </a:cxn>
                  <a:cxn ang="0">
                    <a:pos x="43" y="134"/>
                  </a:cxn>
                  <a:cxn ang="0">
                    <a:pos x="52" y="147"/>
                  </a:cxn>
                  <a:cxn ang="0">
                    <a:pos x="67" y="145"/>
                  </a:cxn>
                  <a:cxn ang="0">
                    <a:pos x="73" y="150"/>
                  </a:cxn>
                  <a:cxn ang="0">
                    <a:pos x="70" y="161"/>
                  </a:cxn>
                  <a:cxn ang="0">
                    <a:pos x="75" y="164"/>
                  </a:cxn>
                  <a:cxn ang="0">
                    <a:pos x="78" y="140"/>
                  </a:cxn>
                  <a:cxn ang="0">
                    <a:pos x="78" y="129"/>
                  </a:cxn>
                  <a:cxn ang="0">
                    <a:pos x="73" y="119"/>
                  </a:cxn>
                  <a:cxn ang="0">
                    <a:pos x="78" y="115"/>
                  </a:cxn>
                  <a:cxn ang="0">
                    <a:pos x="81" y="117"/>
                  </a:cxn>
                  <a:cxn ang="0">
                    <a:pos x="80" y="112"/>
                  </a:cxn>
                  <a:cxn ang="0">
                    <a:pos x="75" y="112"/>
                  </a:cxn>
                  <a:cxn ang="0">
                    <a:pos x="75" y="106"/>
                  </a:cxn>
                  <a:cxn ang="0">
                    <a:pos x="89" y="106"/>
                  </a:cxn>
                  <a:cxn ang="0">
                    <a:pos x="90" y="105"/>
                  </a:cxn>
                  <a:cxn ang="0">
                    <a:pos x="95" y="101"/>
                  </a:cxn>
                  <a:cxn ang="0">
                    <a:pos x="99" y="111"/>
                  </a:cxn>
                  <a:cxn ang="0">
                    <a:pos x="95" y="98"/>
                  </a:cxn>
                  <a:cxn ang="0">
                    <a:pos x="92" y="95"/>
                  </a:cxn>
                  <a:cxn ang="0">
                    <a:pos x="95" y="90"/>
                  </a:cxn>
                  <a:cxn ang="0">
                    <a:pos x="92" y="81"/>
                  </a:cxn>
                  <a:cxn ang="0">
                    <a:pos x="95" y="62"/>
                  </a:cxn>
                  <a:cxn ang="0">
                    <a:pos x="80" y="62"/>
                  </a:cxn>
                  <a:cxn ang="0">
                    <a:pos x="72" y="55"/>
                  </a:cxn>
                  <a:cxn ang="0">
                    <a:pos x="61" y="55"/>
                  </a:cxn>
                  <a:cxn ang="0">
                    <a:pos x="55" y="50"/>
                  </a:cxn>
                  <a:cxn ang="0">
                    <a:pos x="55" y="41"/>
                  </a:cxn>
                  <a:cxn ang="0">
                    <a:pos x="49" y="33"/>
                  </a:cxn>
                  <a:cxn ang="0">
                    <a:pos x="49" y="30"/>
                  </a:cxn>
                  <a:cxn ang="0">
                    <a:pos x="55" y="14"/>
                  </a:cxn>
                  <a:cxn ang="0">
                    <a:pos x="64" y="6"/>
                  </a:cxn>
                </a:cxnLst>
                <a:rect l="0" t="0" r="r" b="b"/>
                <a:pathLst>
                  <a:path w="99" h="164">
                    <a:moveTo>
                      <a:pt x="64" y="6"/>
                    </a:moveTo>
                    <a:cubicBezTo>
                      <a:pt x="66" y="5"/>
                      <a:pt x="67" y="0"/>
                      <a:pt x="61" y="2"/>
                    </a:cubicBezTo>
                    <a:cubicBezTo>
                      <a:pt x="57" y="2"/>
                      <a:pt x="60" y="3"/>
                      <a:pt x="52" y="8"/>
                    </a:cubicBezTo>
                    <a:cubicBezTo>
                      <a:pt x="43" y="16"/>
                      <a:pt x="42" y="8"/>
                      <a:pt x="40" y="13"/>
                    </a:cubicBezTo>
                    <a:cubicBezTo>
                      <a:pt x="38" y="17"/>
                      <a:pt x="35" y="11"/>
                      <a:pt x="34" y="14"/>
                    </a:cubicBezTo>
                    <a:cubicBezTo>
                      <a:pt x="32" y="17"/>
                      <a:pt x="29" y="17"/>
                      <a:pt x="29" y="25"/>
                    </a:cubicBezTo>
                    <a:cubicBezTo>
                      <a:pt x="31" y="34"/>
                      <a:pt x="26" y="28"/>
                      <a:pt x="25" y="33"/>
                    </a:cubicBezTo>
                    <a:cubicBezTo>
                      <a:pt x="25" y="38"/>
                      <a:pt x="19" y="36"/>
                      <a:pt x="20" y="41"/>
                    </a:cubicBezTo>
                    <a:cubicBezTo>
                      <a:pt x="22" y="48"/>
                      <a:pt x="19" y="42"/>
                      <a:pt x="16" y="38"/>
                    </a:cubicBezTo>
                    <a:cubicBezTo>
                      <a:pt x="14" y="41"/>
                      <a:pt x="19" y="45"/>
                      <a:pt x="17" y="45"/>
                    </a:cubicBezTo>
                    <a:cubicBezTo>
                      <a:pt x="16" y="45"/>
                      <a:pt x="17" y="47"/>
                      <a:pt x="16" y="48"/>
                    </a:cubicBezTo>
                    <a:cubicBezTo>
                      <a:pt x="14" y="50"/>
                      <a:pt x="13" y="47"/>
                      <a:pt x="13" y="47"/>
                    </a:cubicBezTo>
                    <a:cubicBezTo>
                      <a:pt x="11" y="50"/>
                      <a:pt x="13" y="48"/>
                      <a:pt x="11" y="52"/>
                    </a:cubicBezTo>
                    <a:cubicBezTo>
                      <a:pt x="13" y="53"/>
                      <a:pt x="13" y="53"/>
                      <a:pt x="13" y="55"/>
                    </a:cubicBezTo>
                    <a:cubicBezTo>
                      <a:pt x="13" y="56"/>
                      <a:pt x="13" y="56"/>
                      <a:pt x="14" y="58"/>
                    </a:cubicBezTo>
                    <a:cubicBezTo>
                      <a:pt x="19" y="59"/>
                      <a:pt x="14" y="62"/>
                      <a:pt x="16" y="64"/>
                    </a:cubicBezTo>
                    <a:cubicBezTo>
                      <a:pt x="19" y="69"/>
                      <a:pt x="13" y="66"/>
                      <a:pt x="14" y="73"/>
                    </a:cubicBezTo>
                    <a:cubicBezTo>
                      <a:pt x="16" y="81"/>
                      <a:pt x="13" y="86"/>
                      <a:pt x="16" y="87"/>
                    </a:cubicBezTo>
                    <a:cubicBezTo>
                      <a:pt x="17" y="87"/>
                      <a:pt x="14" y="98"/>
                      <a:pt x="11" y="98"/>
                    </a:cubicBezTo>
                    <a:cubicBezTo>
                      <a:pt x="7" y="98"/>
                      <a:pt x="5" y="98"/>
                      <a:pt x="5" y="103"/>
                    </a:cubicBezTo>
                    <a:cubicBezTo>
                      <a:pt x="7" y="106"/>
                      <a:pt x="0" y="103"/>
                      <a:pt x="3" y="109"/>
                    </a:cubicBezTo>
                    <a:cubicBezTo>
                      <a:pt x="10" y="114"/>
                      <a:pt x="11" y="115"/>
                      <a:pt x="13" y="115"/>
                    </a:cubicBezTo>
                    <a:cubicBezTo>
                      <a:pt x="13" y="115"/>
                      <a:pt x="16" y="117"/>
                      <a:pt x="16" y="119"/>
                    </a:cubicBezTo>
                    <a:cubicBezTo>
                      <a:pt x="16" y="120"/>
                      <a:pt x="23" y="122"/>
                      <a:pt x="23" y="120"/>
                    </a:cubicBezTo>
                    <a:cubicBezTo>
                      <a:pt x="23" y="119"/>
                      <a:pt x="25" y="117"/>
                      <a:pt x="26" y="120"/>
                    </a:cubicBezTo>
                    <a:cubicBezTo>
                      <a:pt x="28" y="123"/>
                      <a:pt x="29" y="123"/>
                      <a:pt x="32" y="123"/>
                    </a:cubicBezTo>
                    <a:cubicBezTo>
                      <a:pt x="34" y="122"/>
                      <a:pt x="34" y="125"/>
                      <a:pt x="37" y="126"/>
                    </a:cubicBezTo>
                    <a:cubicBezTo>
                      <a:pt x="42" y="128"/>
                      <a:pt x="38" y="131"/>
                      <a:pt x="43" y="134"/>
                    </a:cubicBezTo>
                    <a:cubicBezTo>
                      <a:pt x="49" y="137"/>
                      <a:pt x="48" y="147"/>
                      <a:pt x="52" y="147"/>
                    </a:cubicBezTo>
                    <a:cubicBezTo>
                      <a:pt x="58" y="147"/>
                      <a:pt x="61" y="144"/>
                      <a:pt x="67" y="145"/>
                    </a:cubicBezTo>
                    <a:cubicBezTo>
                      <a:pt x="75" y="148"/>
                      <a:pt x="75" y="148"/>
                      <a:pt x="73" y="150"/>
                    </a:cubicBezTo>
                    <a:cubicBezTo>
                      <a:pt x="70" y="156"/>
                      <a:pt x="67" y="162"/>
                      <a:pt x="70" y="161"/>
                    </a:cubicBezTo>
                    <a:cubicBezTo>
                      <a:pt x="73" y="161"/>
                      <a:pt x="73" y="162"/>
                      <a:pt x="75" y="164"/>
                    </a:cubicBezTo>
                    <a:cubicBezTo>
                      <a:pt x="75" y="162"/>
                      <a:pt x="76" y="147"/>
                      <a:pt x="78" y="140"/>
                    </a:cubicBezTo>
                    <a:cubicBezTo>
                      <a:pt x="80" y="133"/>
                      <a:pt x="76" y="133"/>
                      <a:pt x="78" y="129"/>
                    </a:cubicBezTo>
                    <a:cubicBezTo>
                      <a:pt x="78" y="126"/>
                      <a:pt x="75" y="131"/>
                      <a:pt x="73" y="119"/>
                    </a:cubicBezTo>
                    <a:cubicBezTo>
                      <a:pt x="73" y="115"/>
                      <a:pt x="76" y="117"/>
                      <a:pt x="78" y="115"/>
                    </a:cubicBezTo>
                    <a:cubicBezTo>
                      <a:pt x="78" y="115"/>
                      <a:pt x="80" y="117"/>
                      <a:pt x="81" y="117"/>
                    </a:cubicBezTo>
                    <a:cubicBezTo>
                      <a:pt x="81" y="119"/>
                      <a:pt x="81" y="112"/>
                      <a:pt x="80" y="112"/>
                    </a:cubicBezTo>
                    <a:cubicBezTo>
                      <a:pt x="76" y="112"/>
                      <a:pt x="75" y="112"/>
                      <a:pt x="75" y="112"/>
                    </a:cubicBezTo>
                    <a:cubicBezTo>
                      <a:pt x="75" y="106"/>
                      <a:pt x="75" y="106"/>
                      <a:pt x="75" y="106"/>
                    </a:cubicBezTo>
                    <a:cubicBezTo>
                      <a:pt x="89" y="106"/>
                      <a:pt x="89" y="106"/>
                      <a:pt x="89" y="106"/>
                    </a:cubicBezTo>
                    <a:cubicBezTo>
                      <a:pt x="87" y="105"/>
                      <a:pt x="87" y="101"/>
                      <a:pt x="90" y="105"/>
                    </a:cubicBezTo>
                    <a:cubicBezTo>
                      <a:pt x="92" y="108"/>
                      <a:pt x="93" y="101"/>
                      <a:pt x="95" y="101"/>
                    </a:cubicBezTo>
                    <a:cubicBezTo>
                      <a:pt x="99" y="108"/>
                      <a:pt x="95" y="112"/>
                      <a:pt x="99" y="111"/>
                    </a:cubicBezTo>
                    <a:cubicBezTo>
                      <a:pt x="96" y="101"/>
                      <a:pt x="98" y="100"/>
                      <a:pt x="95" y="98"/>
                    </a:cubicBezTo>
                    <a:cubicBezTo>
                      <a:pt x="93" y="97"/>
                      <a:pt x="93" y="95"/>
                      <a:pt x="92" y="95"/>
                    </a:cubicBezTo>
                    <a:cubicBezTo>
                      <a:pt x="90" y="97"/>
                      <a:pt x="90" y="95"/>
                      <a:pt x="95" y="90"/>
                    </a:cubicBezTo>
                    <a:cubicBezTo>
                      <a:pt x="96" y="89"/>
                      <a:pt x="93" y="87"/>
                      <a:pt x="92" y="81"/>
                    </a:cubicBezTo>
                    <a:cubicBezTo>
                      <a:pt x="89" y="72"/>
                      <a:pt x="96" y="62"/>
                      <a:pt x="95" y="62"/>
                    </a:cubicBezTo>
                    <a:cubicBezTo>
                      <a:pt x="87" y="61"/>
                      <a:pt x="87" y="64"/>
                      <a:pt x="80" y="62"/>
                    </a:cubicBezTo>
                    <a:cubicBezTo>
                      <a:pt x="76" y="62"/>
                      <a:pt x="75" y="53"/>
                      <a:pt x="72" y="55"/>
                    </a:cubicBezTo>
                    <a:cubicBezTo>
                      <a:pt x="70" y="56"/>
                      <a:pt x="69" y="53"/>
                      <a:pt x="61" y="55"/>
                    </a:cubicBezTo>
                    <a:cubicBezTo>
                      <a:pt x="55" y="55"/>
                      <a:pt x="60" y="52"/>
                      <a:pt x="55" y="50"/>
                    </a:cubicBezTo>
                    <a:cubicBezTo>
                      <a:pt x="52" y="50"/>
                      <a:pt x="58" y="42"/>
                      <a:pt x="55" y="41"/>
                    </a:cubicBezTo>
                    <a:cubicBezTo>
                      <a:pt x="51" y="38"/>
                      <a:pt x="54" y="31"/>
                      <a:pt x="49" y="33"/>
                    </a:cubicBezTo>
                    <a:cubicBezTo>
                      <a:pt x="46" y="33"/>
                      <a:pt x="48" y="33"/>
                      <a:pt x="49" y="30"/>
                    </a:cubicBezTo>
                    <a:cubicBezTo>
                      <a:pt x="52" y="28"/>
                      <a:pt x="51" y="16"/>
                      <a:pt x="55" y="14"/>
                    </a:cubicBezTo>
                    <a:cubicBezTo>
                      <a:pt x="60" y="11"/>
                      <a:pt x="54" y="8"/>
                      <a:pt x="64" y="6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27" name="Freeform 21"/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3038172" y="3481356"/>
                <a:ext cx="251477" cy="267847"/>
              </a:xfrm>
              <a:custGeom>
                <a:avLst/>
                <a:gdLst/>
                <a:ahLst/>
                <a:cxnLst>
                  <a:cxn ang="0">
                    <a:pos x="102" y="73"/>
                  </a:cxn>
                  <a:cxn ang="0">
                    <a:pos x="88" y="84"/>
                  </a:cxn>
                  <a:cxn ang="0">
                    <a:pos x="82" y="87"/>
                  </a:cxn>
                  <a:cxn ang="0">
                    <a:pos x="71" y="85"/>
                  </a:cxn>
                  <a:cxn ang="0">
                    <a:pos x="77" y="99"/>
                  </a:cxn>
                  <a:cxn ang="0">
                    <a:pos x="77" y="104"/>
                  </a:cxn>
                  <a:cxn ang="0">
                    <a:pos x="71" y="110"/>
                  </a:cxn>
                  <a:cxn ang="0">
                    <a:pos x="62" y="117"/>
                  </a:cxn>
                  <a:cxn ang="0">
                    <a:pos x="53" y="112"/>
                  </a:cxn>
                  <a:cxn ang="0">
                    <a:pos x="48" y="99"/>
                  </a:cxn>
                  <a:cxn ang="0">
                    <a:pos x="45" y="96"/>
                  </a:cxn>
                  <a:cxn ang="0">
                    <a:pos x="48" y="92"/>
                  </a:cxn>
                  <a:cxn ang="0">
                    <a:pos x="45" y="82"/>
                  </a:cxn>
                  <a:cxn ang="0">
                    <a:pos x="48" y="64"/>
                  </a:cxn>
                  <a:cxn ang="0">
                    <a:pos x="33" y="64"/>
                  </a:cxn>
                  <a:cxn ang="0">
                    <a:pos x="26" y="56"/>
                  </a:cxn>
                  <a:cxn ang="0">
                    <a:pos x="15" y="56"/>
                  </a:cxn>
                  <a:cxn ang="0">
                    <a:pos x="9" y="51"/>
                  </a:cxn>
                  <a:cxn ang="0">
                    <a:pos x="9" y="42"/>
                  </a:cxn>
                  <a:cxn ang="0">
                    <a:pos x="3" y="34"/>
                  </a:cxn>
                  <a:cxn ang="0">
                    <a:pos x="3" y="31"/>
                  </a:cxn>
                  <a:cxn ang="0">
                    <a:pos x="9" y="15"/>
                  </a:cxn>
                  <a:cxn ang="0">
                    <a:pos x="18" y="7"/>
                  </a:cxn>
                  <a:cxn ang="0">
                    <a:pos x="14" y="14"/>
                  </a:cxn>
                  <a:cxn ang="0">
                    <a:pos x="15" y="17"/>
                  </a:cxn>
                  <a:cxn ang="0">
                    <a:pos x="23" y="14"/>
                  </a:cxn>
                  <a:cxn ang="0">
                    <a:pos x="26" y="9"/>
                  </a:cxn>
                  <a:cxn ang="0">
                    <a:pos x="30" y="6"/>
                  </a:cxn>
                  <a:cxn ang="0">
                    <a:pos x="41" y="18"/>
                  </a:cxn>
                  <a:cxn ang="0">
                    <a:pos x="59" y="21"/>
                  </a:cxn>
                  <a:cxn ang="0">
                    <a:pos x="71" y="23"/>
                  </a:cxn>
                  <a:cxn ang="0">
                    <a:pos x="77" y="18"/>
                  </a:cxn>
                  <a:cxn ang="0">
                    <a:pos x="88" y="18"/>
                  </a:cxn>
                  <a:cxn ang="0">
                    <a:pos x="86" y="20"/>
                  </a:cxn>
                  <a:cxn ang="0">
                    <a:pos x="91" y="26"/>
                  </a:cxn>
                  <a:cxn ang="0">
                    <a:pos x="97" y="29"/>
                  </a:cxn>
                  <a:cxn ang="0">
                    <a:pos x="100" y="34"/>
                  </a:cxn>
                  <a:cxn ang="0">
                    <a:pos x="97" y="40"/>
                  </a:cxn>
                  <a:cxn ang="0">
                    <a:pos x="108" y="40"/>
                  </a:cxn>
                  <a:cxn ang="0">
                    <a:pos x="102" y="50"/>
                  </a:cxn>
                  <a:cxn ang="0">
                    <a:pos x="105" y="54"/>
                  </a:cxn>
                  <a:cxn ang="0">
                    <a:pos x="102" y="57"/>
                  </a:cxn>
                  <a:cxn ang="0">
                    <a:pos x="99" y="62"/>
                  </a:cxn>
                  <a:cxn ang="0">
                    <a:pos x="102" y="73"/>
                  </a:cxn>
                </a:cxnLst>
                <a:rect l="0" t="0" r="r" b="b"/>
                <a:pathLst>
                  <a:path w="111" h="118">
                    <a:moveTo>
                      <a:pt x="102" y="73"/>
                    </a:moveTo>
                    <a:cubicBezTo>
                      <a:pt x="103" y="79"/>
                      <a:pt x="92" y="84"/>
                      <a:pt x="88" y="84"/>
                    </a:cubicBezTo>
                    <a:cubicBezTo>
                      <a:pt x="83" y="82"/>
                      <a:pt x="90" y="92"/>
                      <a:pt x="82" y="87"/>
                    </a:cubicBezTo>
                    <a:cubicBezTo>
                      <a:pt x="76" y="84"/>
                      <a:pt x="68" y="81"/>
                      <a:pt x="71" y="85"/>
                    </a:cubicBezTo>
                    <a:cubicBezTo>
                      <a:pt x="74" y="90"/>
                      <a:pt x="74" y="101"/>
                      <a:pt x="77" y="99"/>
                    </a:cubicBezTo>
                    <a:cubicBezTo>
                      <a:pt x="80" y="98"/>
                      <a:pt x="82" y="101"/>
                      <a:pt x="77" y="104"/>
                    </a:cubicBezTo>
                    <a:cubicBezTo>
                      <a:pt x="73" y="106"/>
                      <a:pt x="77" y="110"/>
                      <a:pt x="71" y="110"/>
                    </a:cubicBezTo>
                    <a:cubicBezTo>
                      <a:pt x="65" y="112"/>
                      <a:pt x="67" y="118"/>
                      <a:pt x="62" y="117"/>
                    </a:cubicBezTo>
                    <a:cubicBezTo>
                      <a:pt x="59" y="115"/>
                      <a:pt x="56" y="118"/>
                      <a:pt x="53" y="112"/>
                    </a:cubicBezTo>
                    <a:cubicBezTo>
                      <a:pt x="50" y="103"/>
                      <a:pt x="51" y="101"/>
                      <a:pt x="48" y="99"/>
                    </a:cubicBezTo>
                    <a:cubicBezTo>
                      <a:pt x="47" y="98"/>
                      <a:pt x="47" y="96"/>
                      <a:pt x="45" y="96"/>
                    </a:cubicBezTo>
                    <a:cubicBezTo>
                      <a:pt x="44" y="98"/>
                      <a:pt x="44" y="96"/>
                      <a:pt x="48" y="92"/>
                    </a:cubicBezTo>
                    <a:cubicBezTo>
                      <a:pt x="50" y="90"/>
                      <a:pt x="47" y="89"/>
                      <a:pt x="45" y="82"/>
                    </a:cubicBezTo>
                    <a:cubicBezTo>
                      <a:pt x="42" y="73"/>
                      <a:pt x="50" y="64"/>
                      <a:pt x="48" y="64"/>
                    </a:cubicBezTo>
                    <a:cubicBezTo>
                      <a:pt x="41" y="62"/>
                      <a:pt x="41" y="65"/>
                      <a:pt x="33" y="64"/>
                    </a:cubicBezTo>
                    <a:cubicBezTo>
                      <a:pt x="30" y="64"/>
                      <a:pt x="29" y="54"/>
                      <a:pt x="26" y="56"/>
                    </a:cubicBezTo>
                    <a:cubicBezTo>
                      <a:pt x="24" y="57"/>
                      <a:pt x="23" y="54"/>
                      <a:pt x="15" y="56"/>
                    </a:cubicBezTo>
                    <a:cubicBezTo>
                      <a:pt x="9" y="56"/>
                      <a:pt x="14" y="53"/>
                      <a:pt x="9" y="51"/>
                    </a:cubicBezTo>
                    <a:cubicBezTo>
                      <a:pt x="6" y="51"/>
                      <a:pt x="12" y="43"/>
                      <a:pt x="9" y="42"/>
                    </a:cubicBezTo>
                    <a:cubicBezTo>
                      <a:pt x="4" y="39"/>
                      <a:pt x="7" y="32"/>
                      <a:pt x="3" y="34"/>
                    </a:cubicBezTo>
                    <a:cubicBezTo>
                      <a:pt x="0" y="34"/>
                      <a:pt x="1" y="34"/>
                      <a:pt x="3" y="31"/>
                    </a:cubicBezTo>
                    <a:cubicBezTo>
                      <a:pt x="6" y="29"/>
                      <a:pt x="4" y="17"/>
                      <a:pt x="9" y="15"/>
                    </a:cubicBezTo>
                    <a:cubicBezTo>
                      <a:pt x="14" y="12"/>
                      <a:pt x="7" y="9"/>
                      <a:pt x="18" y="7"/>
                    </a:cubicBezTo>
                    <a:cubicBezTo>
                      <a:pt x="15" y="9"/>
                      <a:pt x="10" y="11"/>
                      <a:pt x="14" y="14"/>
                    </a:cubicBezTo>
                    <a:cubicBezTo>
                      <a:pt x="14" y="14"/>
                      <a:pt x="15" y="15"/>
                      <a:pt x="15" y="17"/>
                    </a:cubicBezTo>
                    <a:cubicBezTo>
                      <a:pt x="15" y="21"/>
                      <a:pt x="17" y="15"/>
                      <a:pt x="23" y="14"/>
                    </a:cubicBezTo>
                    <a:cubicBezTo>
                      <a:pt x="30" y="12"/>
                      <a:pt x="27" y="11"/>
                      <a:pt x="26" y="9"/>
                    </a:cubicBezTo>
                    <a:cubicBezTo>
                      <a:pt x="26" y="6"/>
                      <a:pt x="29" y="0"/>
                      <a:pt x="30" y="6"/>
                    </a:cubicBezTo>
                    <a:cubicBezTo>
                      <a:pt x="33" y="14"/>
                      <a:pt x="41" y="9"/>
                      <a:pt x="41" y="18"/>
                    </a:cubicBezTo>
                    <a:cubicBezTo>
                      <a:pt x="41" y="26"/>
                      <a:pt x="56" y="15"/>
                      <a:pt x="59" y="21"/>
                    </a:cubicBezTo>
                    <a:cubicBezTo>
                      <a:pt x="64" y="26"/>
                      <a:pt x="68" y="25"/>
                      <a:pt x="71" y="23"/>
                    </a:cubicBezTo>
                    <a:cubicBezTo>
                      <a:pt x="74" y="21"/>
                      <a:pt x="70" y="18"/>
                      <a:pt x="77" y="18"/>
                    </a:cubicBezTo>
                    <a:cubicBezTo>
                      <a:pt x="85" y="18"/>
                      <a:pt x="82" y="17"/>
                      <a:pt x="88" y="18"/>
                    </a:cubicBezTo>
                    <a:cubicBezTo>
                      <a:pt x="94" y="18"/>
                      <a:pt x="92" y="20"/>
                      <a:pt x="86" y="20"/>
                    </a:cubicBezTo>
                    <a:cubicBezTo>
                      <a:pt x="80" y="21"/>
                      <a:pt x="90" y="25"/>
                      <a:pt x="91" y="26"/>
                    </a:cubicBezTo>
                    <a:cubicBezTo>
                      <a:pt x="92" y="29"/>
                      <a:pt x="96" y="26"/>
                      <a:pt x="97" y="29"/>
                    </a:cubicBezTo>
                    <a:cubicBezTo>
                      <a:pt x="99" y="32"/>
                      <a:pt x="103" y="31"/>
                      <a:pt x="100" y="34"/>
                    </a:cubicBezTo>
                    <a:cubicBezTo>
                      <a:pt x="97" y="36"/>
                      <a:pt x="99" y="37"/>
                      <a:pt x="97" y="40"/>
                    </a:cubicBezTo>
                    <a:cubicBezTo>
                      <a:pt x="94" y="43"/>
                      <a:pt x="103" y="37"/>
                      <a:pt x="108" y="40"/>
                    </a:cubicBezTo>
                    <a:cubicBezTo>
                      <a:pt x="111" y="45"/>
                      <a:pt x="103" y="46"/>
                      <a:pt x="102" y="50"/>
                    </a:cubicBezTo>
                    <a:cubicBezTo>
                      <a:pt x="100" y="51"/>
                      <a:pt x="103" y="51"/>
                      <a:pt x="105" y="54"/>
                    </a:cubicBezTo>
                    <a:cubicBezTo>
                      <a:pt x="105" y="56"/>
                      <a:pt x="105" y="56"/>
                      <a:pt x="102" y="57"/>
                    </a:cubicBezTo>
                    <a:cubicBezTo>
                      <a:pt x="97" y="59"/>
                      <a:pt x="97" y="57"/>
                      <a:pt x="99" y="62"/>
                    </a:cubicBezTo>
                    <a:cubicBezTo>
                      <a:pt x="100" y="67"/>
                      <a:pt x="91" y="64"/>
                      <a:pt x="102" y="7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28" name="Freeform 22"/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3244032" y="3571417"/>
                <a:ext cx="99421" cy="168428"/>
              </a:xfrm>
              <a:custGeom>
                <a:avLst/>
                <a:gdLst/>
                <a:ahLst/>
                <a:cxnLst>
                  <a:cxn ang="0">
                    <a:pos x="44" y="66"/>
                  </a:cxn>
                  <a:cxn ang="0">
                    <a:pos x="38" y="64"/>
                  </a:cxn>
                  <a:cxn ang="0">
                    <a:pos x="30" y="69"/>
                  </a:cxn>
                  <a:cxn ang="0">
                    <a:pos x="26" y="72"/>
                  </a:cxn>
                  <a:cxn ang="0">
                    <a:pos x="18" y="64"/>
                  </a:cxn>
                  <a:cxn ang="0">
                    <a:pos x="17" y="56"/>
                  </a:cxn>
                  <a:cxn ang="0">
                    <a:pos x="18" y="47"/>
                  </a:cxn>
                  <a:cxn ang="0">
                    <a:pos x="15" y="38"/>
                  </a:cxn>
                  <a:cxn ang="0">
                    <a:pos x="14" y="33"/>
                  </a:cxn>
                  <a:cxn ang="0">
                    <a:pos x="10" y="33"/>
                  </a:cxn>
                  <a:cxn ang="0">
                    <a:pos x="7" y="22"/>
                  </a:cxn>
                  <a:cxn ang="0">
                    <a:pos x="10" y="17"/>
                  </a:cxn>
                  <a:cxn ang="0">
                    <a:pos x="14" y="14"/>
                  </a:cxn>
                  <a:cxn ang="0">
                    <a:pos x="10" y="10"/>
                  </a:cxn>
                  <a:cxn ang="0">
                    <a:pos x="17" y="0"/>
                  </a:cxn>
                  <a:cxn ang="0">
                    <a:pos x="18" y="2"/>
                  </a:cxn>
                  <a:cxn ang="0">
                    <a:pos x="27" y="13"/>
                  </a:cxn>
                  <a:cxn ang="0">
                    <a:pos x="32" y="17"/>
                  </a:cxn>
                  <a:cxn ang="0">
                    <a:pos x="37" y="22"/>
                  </a:cxn>
                  <a:cxn ang="0">
                    <a:pos x="40" y="27"/>
                  </a:cxn>
                  <a:cxn ang="0">
                    <a:pos x="38" y="33"/>
                  </a:cxn>
                  <a:cxn ang="0">
                    <a:pos x="35" y="36"/>
                  </a:cxn>
                  <a:cxn ang="0">
                    <a:pos x="32" y="38"/>
                  </a:cxn>
                  <a:cxn ang="0">
                    <a:pos x="32" y="42"/>
                  </a:cxn>
                  <a:cxn ang="0">
                    <a:pos x="35" y="50"/>
                  </a:cxn>
                  <a:cxn ang="0">
                    <a:pos x="38" y="52"/>
                  </a:cxn>
                  <a:cxn ang="0">
                    <a:pos x="40" y="58"/>
                  </a:cxn>
                  <a:cxn ang="0">
                    <a:pos x="44" y="66"/>
                  </a:cxn>
                </a:cxnLst>
                <a:rect l="0" t="0" r="r" b="b"/>
                <a:pathLst>
                  <a:path w="44" h="74">
                    <a:moveTo>
                      <a:pt x="44" y="66"/>
                    </a:moveTo>
                    <a:cubicBezTo>
                      <a:pt x="40" y="66"/>
                      <a:pt x="41" y="64"/>
                      <a:pt x="38" y="64"/>
                    </a:cubicBezTo>
                    <a:cubicBezTo>
                      <a:pt x="35" y="66"/>
                      <a:pt x="34" y="71"/>
                      <a:pt x="30" y="69"/>
                    </a:cubicBezTo>
                    <a:cubicBezTo>
                      <a:pt x="27" y="69"/>
                      <a:pt x="29" y="71"/>
                      <a:pt x="26" y="72"/>
                    </a:cubicBezTo>
                    <a:cubicBezTo>
                      <a:pt x="24" y="74"/>
                      <a:pt x="18" y="69"/>
                      <a:pt x="18" y="64"/>
                    </a:cubicBezTo>
                    <a:cubicBezTo>
                      <a:pt x="18" y="60"/>
                      <a:pt x="15" y="63"/>
                      <a:pt x="17" y="56"/>
                    </a:cubicBezTo>
                    <a:cubicBezTo>
                      <a:pt x="18" y="50"/>
                      <a:pt x="18" y="50"/>
                      <a:pt x="18" y="47"/>
                    </a:cubicBezTo>
                    <a:cubicBezTo>
                      <a:pt x="21" y="41"/>
                      <a:pt x="14" y="42"/>
                      <a:pt x="15" y="38"/>
                    </a:cubicBezTo>
                    <a:cubicBezTo>
                      <a:pt x="17" y="35"/>
                      <a:pt x="15" y="31"/>
                      <a:pt x="14" y="33"/>
                    </a:cubicBezTo>
                    <a:cubicBezTo>
                      <a:pt x="12" y="33"/>
                      <a:pt x="10" y="33"/>
                      <a:pt x="10" y="33"/>
                    </a:cubicBezTo>
                    <a:cubicBezTo>
                      <a:pt x="0" y="24"/>
                      <a:pt x="9" y="27"/>
                      <a:pt x="7" y="22"/>
                    </a:cubicBezTo>
                    <a:cubicBezTo>
                      <a:pt x="6" y="17"/>
                      <a:pt x="6" y="19"/>
                      <a:pt x="10" y="17"/>
                    </a:cubicBezTo>
                    <a:cubicBezTo>
                      <a:pt x="14" y="16"/>
                      <a:pt x="14" y="16"/>
                      <a:pt x="14" y="14"/>
                    </a:cubicBezTo>
                    <a:cubicBezTo>
                      <a:pt x="12" y="11"/>
                      <a:pt x="9" y="11"/>
                      <a:pt x="10" y="10"/>
                    </a:cubicBezTo>
                    <a:cubicBezTo>
                      <a:pt x="12" y="6"/>
                      <a:pt x="20" y="5"/>
                      <a:pt x="17" y="0"/>
                    </a:cubicBezTo>
                    <a:cubicBezTo>
                      <a:pt x="17" y="2"/>
                      <a:pt x="18" y="2"/>
                      <a:pt x="18" y="2"/>
                    </a:cubicBezTo>
                    <a:cubicBezTo>
                      <a:pt x="26" y="6"/>
                      <a:pt x="29" y="10"/>
                      <a:pt x="27" y="13"/>
                    </a:cubicBezTo>
                    <a:cubicBezTo>
                      <a:pt x="27" y="17"/>
                      <a:pt x="26" y="16"/>
                      <a:pt x="32" y="17"/>
                    </a:cubicBezTo>
                    <a:cubicBezTo>
                      <a:pt x="37" y="19"/>
                      <a:pt x="34" y="22"/>
                      <a:pt x="37" y="22"/>
                    </a:cubicBezTo>
                    <a:cubicBezTo>
                      <a:pt x="38" y="22"/>
                      <a:pt x="38" y="25"/>
                      <a:pt x="40" y="27"/>
                    </a:cubicBezTo>
                    <a:cubicBezTo>
                      <a:pt x="40" y="30"/>
                      <a:pt x="38" y="31"/>
                      <a:pt x="38" y="33"/>
                    </a:cubicBezTo>
                    <a:cubicBezTo>
                      <a:pt x="38" y="35"/>
                      <a:pt x="38" y="35"/>
                      <a:pt x="35" y="36"/>
                    </a:cubicBezTo>
                    <a:cubicBezTo>
                      <a:pt x="32" y="36"/>
                      <a:pt x="32" y="36"/>
                      <a:pt x="32" y="38"/>
                    </a:cubicBezTo>
                    <a:cubicBezTo>
                      <a:pt x="34" y="39"/>
                      <a:pt x="34" y="39"/>
                      <a:pt x="32" y="42"/>
                    </a:cubicBezTo>
                    <a:cubicBezTo>
                      <a:pt x="30" y="47"/>
                      <a:pt x="34" y="47"/>
                      <a:pt x="35" y="50"/>
                    </a:cubicBezTo>
                    <a:cubicBezTo>
                      <a:pt x="35" y="53"/>
                      <a:pt x="37" y="50"/>
                      <a:pt x="38" y="52"/>
                    </a:cubicBezTo>
                    <a:cubicBezTo>
                      <a:pt x="38" y="53"/>
                      <a:pt x="37" y="55"/>
                      <a:pt x="40" y="58"/>
                    </a:cubicBezTo>
                    <a:cubicBezTo>
                      <a:pt x="41" y="60"/>
                      <a:pt x="41" y="63"/>
                      <a:pt x="44" y="66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29" name="Freeform 23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3314212" y="3626390"/>
                <a:ext cx="74858" cy="99419"/>
              </a:xfrm>
              <a:custGeom>
                <a:avLst/>
                <a:gdLst/>
                <a:ahLst/>
                <a:cxnLst>
                  <a:cxn ang="0">
                    <a:pos x="33" y="4"/>
                  </a:cxn>
                  <a:cxn ang="0">
                    <a:pos x="29" y="15"/>
                  </a:cxn>
                  <a:cxn ang="0">
                    <a:pos x="32" y="23"/>
                  </a:cxn>
                  <a:cxn ang="0">
                    <a:pos x="32" y="27"/>
                  </a:cxn>
                  <a:cxn ang="0">
                    <a:pos x="29" y="37"/>
                  </a:cxn>
                  <a:cxn ang="0">
                    <a:pos x="26" y="35"/>
                  </a:cxn>
                  <a:cxn ang="0">
                    <a:pos x="20" y="37"/>
                  </a:cxn>
                  <a:cxn ang="0">
                    <a:pos x="18" y="40"/>
                  </a:cxn>
                  <a:cxn ang="0">
                    <a:pos x="13" y="41"/>
                  </a:cxn>
                  <a:cxn ang="0">
                    <a:pos x="9" y="33"/>
                  </a:cxn>
                  <a:cxn ang="0">
                    <a:pos x="7" y="27"/>
                  </a:cxn>
                  <a:cxn ang="0">
                    <a:pos x="4" y="26"/>
                  </a:cxn>
                  <a:cxn ang="0">
                    <a:pos x="1" y="18"/>
                  </a:cxn>
                  <a:cxn ang="0">
                    <a:pos x="1" y="14"/>
                  </a:cxn>
                  <a:cxn ang="0">
                    <a:pos x="4" y="12"/>
                  </a:cxn>
                  <a:cxn ang="0">
                    <a:pos x="7" y="9"/>
                  </a:cxn>
                  <a:cxn ang="0">
                    <a:pos x="9" y="3"/>
                  </a:cxn>
                  <a:cxn ang="0">
                    <a:pos x="18" y="3"/>
                  </a:cxn>
                  <a:cxn ang="0">
                    <a:pos x="21" y="1"/>
                  </a:cxn>
                  <a:cxn ang="0">
                    <a:pos x="24" y="1"/>
                  </a:cxn>
                  <a:cxn ang="0">
                    <a:pos x="33" y="4"/>
                  </a:cxn>
                </a:cxnLst>
                <a:rect l="0" t="0" r="r" b="b"/>
                <a:pathLst>
                  <a:path w="33" h="44">
                    <a:moveTo>
                      <a:pt x="33" y="4"/>
                    </a:moveTo>
                    <a:cubicBezTo>
                      <a:pt x="30" y="12"/>
                      <a:pt x="29" y="9"/>
                      <a:pt x="29" y="15"/>
                    </a:cubicBezTo>
                    <a:cubicBezTo>
                      <a:pt x="30" y="20"/>
                      <a:pt x="30" y="21"/>
                      <a:pt x="32" y="23"/>
                    </a:cubicBezTo>
                    <a:cubicBezTo>
                      <a:pt x="33" y="24"/>
                      <a:pt x="33" y="26"/>
                      <a:pt x="32" y="27"/>
                    </a:cubicBezTo>
                    <a:cubicBezTo>
                      <a:pt x="30" y="29"/>
                      <a:pt x="33" y="33"/>
                      <a:pt x="29" y="37"/>
                    </a:cubicBezTo>
                    <a:cubicBezTo>
                      <a:pt x="27" y="35"/>
                      <a:pt x="26" y="37"/>
                      <a:pt x="26" y="35"/>
                    </a:cubicBezTo>
                    <a:cubicBezTo>
                      <a:pt x="26" y="32"/>
                      <a:pt x="21" y="38"/>
                      <a:pt x="20" y="37"/>
                    </a:cubicBezTo>
                    <a:cubicBezTo>
                      <a:pt x="16" y="35"/>
                      <a:pt x="16" y="37"/>
                      <a:pt x="18" y="40"/>
                    </a:cubicBezTo>
                    <a:cubicBezTo>
                      <a:pt x="20" y="44"/>
                      <a:pt x="15" y="40"/>
                      <a:pt x="13" y="41"/>
                    </a:cubicBezTo>
                    <a:cubicBezTo>
                      <a:pt x="10" y="38"/>
                      <a:pt x="10" y="35"/>
                      <a:pt x="9" y="33"/>
                    </a:cubicBezTo>
                    <a:cubicBezTo>
                      <a:pt x="6" y="30"/>
                      <a:pt x="7" y="29"/>
                      <a:pt x="7" y="27"/>
                    </a:cubicBezTo>
                    <a:cubicBezTo>
                      <a:pt x="6" y="26"/>
                      <a:pt x="4" y="29"/>
                      <a:pt x="4" y="26"/>
                    </a:cubicBezTo>
                    <a:cubicBezTo>
                      <a:pt x="3" y="23"/>
                      <a:pt x="0" y="23"/>
                      <a:pt x="1" y="18"/>
                    </a:cubicBezTo>
                    <a:cubicBezTo>
                      <a:pt x="3" y="15"/>
                      <a:pt x="3" y="15"/>
                      <a:pt x="1" y="14"/>
                    </a:cubicBezTo>
                    <a:cubicBezTo>
                      <a:pt x="1" y="12"/>
                      <a:pt x="1" y="12"/>
                      <a:pt x="4" y="12"/>
                    </a:cubicBezTo>
                    <a:cubicBezTo>
                      <a:pt x="7" y="10"/>
                      <a:pt x="7" y="10"/>
                      <a:pt x="7" y="9"/>
                    </a:cubicBezTo>
                    <a:cubicBezTo>
                      <a:pt x="7" y="7"/>
                      <a:pt x="9" y="6"/>
                      <a:pt x="9" y="3"/>
                    </a:cubicBezTo>
                    <a:cubicBezTo>
                      <a:pt x="12" y="0"/>
                      <a:pt x="18" y="4"/>
                      <a:pt x="18" y="3"/>
                    </a:cubicBezTo>
                    <a:cubicBezTo>
                      <a:pt x="18" y="1"/>
                      <a:pt x="20" y="1"/>
                      <a:pt x="21" y="1"/>
                    </a:cubicBezTo>
                    <a:cubicBezTo>
                      <a:pt x="23" y="1"/>
                      <a:pt x="24" y="3"/>
                      <a:pt x="24" y="1"/>
                    </a:cubicBezTo>
                    <a:cubicBezTo>
                      <a:pt x="24" y="1"/>
                      <a:pt x="30" y="3"/>
                      <a:pt x="33" y="4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30" name="Freeform 24"/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3379713" y="3635747"/>
                <a:ext cx="52634" cy="818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7" y="0"/>
                  </a:cxn>
                  <a:cxn ang="0">
                    <a:pos x="13" y="5"/>
                  </a:cxn>
                  <a:cxn ang="0">
                    <a:pos x="20" y="9"/>
                  </a:cxn>
                  <a:cxn ang="0">
                    <a:pos x="23" y="14"/>
                  </a:cxn>
                  <a:cxn ang="0">
                    <a:pos x="23" y="17"/>
                  </a:cxn>
                  <a:cxn ang="0">
                    <a:pos x="18" y="23"/>
                  </a:cxn>
                  <a:cxn ang="0">
                    <a:pos x="12" y="34"/>
                  </a:cxn>
                  <a:cxn ang="0">
                    <a:pos x="9" y="33"/>
                  </a:cxn>
                  <a:cxn ang="0">
                    <a:pos x="4" y="34"/>
                  </a:cxn>
                  <a:cxn ang="0">
                    <a:pos x="0" y="33"/>
                  </a:cxn>
                  <a:cxn ang="0">
                    <a:pos x="3" y="23"/>
                  </a:cxn>
                  <a:cxn ang="0">
                    <a:pos x="3" y="19"/>
                  </a:cxn>
                  <a:cxn ang="0">
                    <a:pos x="0" y="11"/>
                  </a:cxn>
                  <a:cxn ang="0">
                    <a:pos x="4" y="0"/>
                  </a:cxn>
                </a:cxnLst>
                <a:rect l="0" t="0" r="r" b="b"/>
                <a:pathLst>
                  <a:path w="23" h="36">
                    <a:moveTo>
                      <a:pt x="4" y="0"/>
                    </a:moveTo>
                    <a:cubicBezTo>
                      <a:pt x="6" y="0"/>
                      <a:pt x="6" y="0"/>
                      <a:pt x="7" y="0"/>
                    </a:cubicBezTo>
                    <a:cubicBezTo>
                      <a:pt x="10" y="2"/>
                      <a:pt x="12" y="2"/>
                      <a:pt x="13" y="5"/>
                    </a:cubicBezTo>
                    <a:cubicBezTo>
                      <a:pt x="15" y="8"/>
                      <a:pt x="18" y="8"/>
                      <a:pt x="20" y="9"/>
                    </a:cubicBezTo>
                    <a:cubicBezTo>
                      <a:pt x="21" y="14"/>
                      <a:pt x="21" y="6"/>
                      <a:pt x="23" y="14"/>
                    </a:cubicBezTo>
                    <a:cubicBezTo>
                      <a:pt x="23" y="14"/>
                      <a:pt x="21" y="16"/>
                      <a:pt x="23" y="17"/>
                    </a:cubicBezTo>
                    <a:cubicBezTo>
                      <a:pt x="21" y="19"/>
                      <a:pt x="21" y="19"/>
                      <a:pt x="18" y="23"/>
                    </a:cubicBezTo>
                    <a:cubicBezTo>
                      <a:pt x="17" y="26"/>
                      <a:pt x="15" y="34"/>
                      <a:pt x="12" y="34"/>
                    </a:cubicBezTo>
                    <a:cubicBezTo>
                      <a:pt x="9" y="34"/>
                      <a:pt x="10" y="31"/>
                      <a:pt x="9" y="33"/>
                    </a:cubicBezTo>
                    <a:cubicBezTo>
                      <a:pt x="6" y="36"/>
                      <a:pt x="6" y="31"/>
                      <a:pt x="4" y="34"/>
                    </a:cubicBezTo>
                    <a:cubicBezTo>
                      <a:pt x="3" y="36"/>
                      <a:pt x="1" y="36"/>
                      <a:pt x="0" y="33"/>
                    </a:cubicBezTo>
                    <a:cubicBezTo>
                      <a:pt x="4" y="30"/>
                      <a:pt x="1" y="25"/>
                      <a:pt x="3" y="23"/>
                    </a:cubicBezTo>
                    <a:cubicBezTo>
                      <a:pt x="4" y="22"/>
                      <a:pt x="4" y="20"/>
                      <a:pt x="3" y="19"/>
                    </a:cubicBezTo>
                    <a:cubicBezTo>
                      <a:pt x="1" y="17"/>
                      <a:pt x="1" y="16"/>
                      <a:pt x="0" y="11"/>
                    </a:cubicBezTo>
                    <a:cubicBezTo>
                      <a:pt x="0" y="5"/>
                      <a:pt x="1" y="8"/>
                      <a:pt x="4" y="0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31" name="Freeform 25"/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813598" y="3510596"/>
                <a:ext cx="60822" cy="72517"/>
              </a:xfrm>
              <a:custGeom>
                <a:avLst/>
                <a:gdLst/>
                <a:ahLst/>
                <a:cxnLst>
                  <a:cxn ang="0">
                    <a:pos x="27" y="18"/>
                  </a:cxn>
                  <a:cxn ang="0">
                    <a:pos x="26" y="17"/>
                  </a:cxn>
                  <a:cxn ang="0">
                    <a:pos x="24" y="23"/>
                  </a:cxn>
                  <a:cxn ang="0">
                    <a:pos x="26" y="24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3" y="31"/>
                  </a:cxn>
                  <a:cxn ang="0">
                    <a:pos x="23" y="28"/>
                  </a:cxn>
                  <a:cxn ang="0">
                    <a:pos x="21" y="26"/>
                  </a:cxn>
                  <a:cxn ang="0">
                    <a:pos x="21" y="29"/>
                  </a:cxn>
                  <a:cxn ang="0">
                    <a:pos x="20" y="29"/>
                  </a:cxn>
                  <a:cxn ang="0">
                    <a:pos x="18" y="26"/>
                  </a:cxn>
                  <a:cxn ang="0">
                    <a:pos x="20" y="23"/>
                  </a:cxn>
                  <a:cxn ang="0">
                    <a:pos x="15" y="20"/>
                  </a:cxn>
                  <a:cxn ang="0">
                    <a:pos x="11" y="17"/>
                  </a:cxn>
                  <a:cxn ang="0">
                    <a:pos x="11" y="14"/>
                  </a:cxn>
                  <a:cxn ang="0">
                    <a:pos x="6" y="12"/>
                  </a:cxn>
                  <a:cxn ang="0">
                    <a:pos x="6" y="12"/>
                  </a:cxn>
                  <a:cxn ang="0">
                    <a:pos x="9" y="15"/>
                  </a:cxn>
                  <a:cxn ang="0">
                    <a:pos x="6" y="17"/>
                  </a:cxn>
                  <a:cxn ang="0">
                    <a:pos x="3" y="14"/>
                  </a:cxn>
                  <a:cxn ang="0">
                    <a:pos x="1" y="9"/>
                  </a:cxn>
                  <a:cxn ang="0">
                    <a:pos x="3" y="7"/>
                  </a:cxn>
                  <a:cxn ang="0">
                    <a:pos x="1" y="4"/>
                  </a:cxn>
                  <a:cxn ang="0">
                    <a:pos x="3" y="3"/>
                  </a:cxn>
                  <a:cxn ang="0">
                    <a:pos x="6" y="3"/>
                  </a:cxn>
                  <a:cxn ang="0">
                    <a:pos x="12" y="3"/>
                  </a:cxn>
                  <a:cxn ang="0">
                    <a:pos x="14" y="4"/>
                  </a:cxn>
                  <a:cxn ang="0">
                    <a:pos x="18" y="4"/>
                  </a:cxn>
                  <a:cxn ang="0">
                    <a:pos x="21" y="10"/>
                  </a:cxn>
                  <a:cxn ang="0">
                    <a:pos x="27" y="18"/>
                  </a:cxn>
                </a:cxnLst>
                <a:rect l="0" t="0" r="r" b="b"/>
                <a:pathLst>
                  <a:path w="27" h="32">
                    <a:moveTo>
                      <a:pt x="27" y="18"/>
                    </a:moveTo>
                    <a:cubicBezTo>
                      <a:pt x="26" y="18"/>
                      <a:pt x="26" y="17"/>
                      <a:pt x="26" y="17"/>
                    </a:cubicBezTo>
                    <a:cubicBezTo>
                      <a:pt x="24" y="17"/>
                      <a:pt x="24" y="20"/>
                      <a:pt x="24" y="23"/>
                    </a:cubicBezTo>
                    <a:cubicBezTo>
                      <a:pt x="24" y="23"/>
                      <a:pt x="27" y="23"/>
                      <a:pt x="26" y="24"/>
                    </a:cubicBezTo>
                    <a:cubicBezTo>
                      <a:pt x="24" y="26"/>
                      <a:pt x="26" y="26"/>
                      <a:pt x="24" y="28"/>
                    </a:cubicBezTo>
                    <a:cubicBezTo>
                      <a:pt x="24" y="29"/>
                      <a:pt x="23" y="29"/>
                      <a:pt x="24" y="32"/>
                    </a:cubicBezTo>
                    <a:cubicBezTo>
                      <a:pt x="24" y="32"/>
                      <a:pt x="24" y="31"/>
                      <a:pt x="23" y="31"/>
                    </a:cubicBezTo>
                    <a:cubicBezTo>
                      <a:pt x="23" y="29"/>
                      <a:pt x="24" y="28"/>
                      <a:pt x="23" y="28"/>
                    </a:cubicBezTo>
                    <a:cubicBezTo>
                      <a:pt x="21" y="26"/>
                      <a:pt x="23" y="24"/>
                      <a:pt x="21" y="26"/>
                    </a:cubicBezTo>
                    <a:cubicBezTo>
                      <a:pt x="18" y="26"/>
                      <a:pt x="23" y="28"/>
                      <a:pt x="21" y="29"/>
                    </a:cubicBezTo>
                    <a:cubicBezTo>
                      <a:pt x="21" y="31"/>
                      <a:pt x="21" y="29"/>
                      <a:pt x="20" y="29"/>
                    </a:cubicBezTo>
                    <a:cubicBezTo>
                      <a:pt x="20" y="29"/>
                      <a:pt x="17" y="28"/>
                      <a:pt x="18" y="26"/>
                    </a:cubicBezTo>
                    <a:cubicBezTo>
                      <a:pt x="20" y="26"/>
                      <a:pt x="18" y="24"/>
                      <a:pt x="20" y="23"/>
                    </a:cubicBezTo>
                    <a:cubicBezTo>
                      <a:pt x="20" y="23"/>
                      <a:pt x="18" y="21"/>
                      <a:pt x="15" y="20"/>
                    </a:cubicBezTo>
                    <a:cubicBezTo>
                      <a:pt x="12" y="17"/>
                      <a:pt x="12" y="18"/>
                      <a:pt x="11" y="17"/>
                    </a:cubicBezTo>
                    <a:cubicBezTo>
                      <a:pt x="11" y="17"/>
                      <a:pt x="11" y="17"/>
                      <a:pt x="11" y="14"/>
                    </a:cubicBezTo>
                    <a:cubicBezTo>
                      <a:pt x="11" y="12"/>
                      <a:pt x="8" y="12"/>
                      <a:pt x="6" y="12"/>
                    </a:cubicBezTo>
                    <a:cubicBezTo>
                      <a:pt x="6" y="10"/>
                      <a:pt x="6" y="12"/>
                      <a:pt x="6" y="12"/>
                    </a:cubicBezTo>
                    <a:cubicBezTo>
                      <a:pt x="8" y="14"/>
                      <a:pt x="11" y="15"/>
                      <a:pt x="9" y="15"/>
                    </a:cubicBezTo>
                    <a:cubicBezTo>
                      <a:pt x="8" y="17"/>
                      <a:pt x="8" y="18"/>
                      <a:pt x="6" y="17"/>
                    </a:cubicBezTo>
                    <a:cubicBezTo>
                      <a:pt x="6" y="15"/>
                      <a:pt x="3" y="14"/>
                      <a:pt x="3" y="14"/>
                    </a:cubicBezTo>
                    <a:cubicBezTo>
                      <a:pt x="3" y="14"/>
                      <a:pt x="0" y="12"/>
                      <a:pt x="1" y="9"/>
                    </a:cubicBezTo>
                    <a:cubicBezTo>
                      <a:pt x="1" y="6"/>
                      <a:pt x="3" y="9"/>
                      <a:pt x="3" y="7"/>
                    </a:cubicBezTo>
                    <a:cubicBezTo>
                      <a:pt x="3" y="4"/>
                      <a:pt x="3" y="6"/>
                      <a:pt x="1" y="4"/>
                    </a:cubicBezTo>
                    <a:cubicBezTo>
                      <a:pt x="0" y="4"/>
                      <a:pt x="3" y="4"/>
                      <a:pt x="3" y="3"/>
                    </a:cubicBezTo>
                    <a:cubicBezTo>
                      <a:pt x="3" y="1"/>
                      <a:pt x="3" y="0"/>
                      <a:pt x="6" y="3"/>
                    </a:cubicBezTo>
                    <a:cubicBezTo>
                      <a:pt x="11" y="6"/>
                      <a:pt x="9" y="1"/>
                      <a:pt x="12" y="3"/>
                    </a:cubicBezTo>
                    <a:cubicBezTo>
                      <a:pt x="12" y="4"/>
                      <a:pt x="14" y="3"/>
                      <a:pt x="14" y="4"/>
                    </a:cubicBezTo>
                    <a:cubicBezTo>
                      <a:pt x="14" y="6"/>
                      <a:pt x="17" y="7"/>
                      <a:pt x="18" y="4"/>
                    </a:cubicBezTo>
                    <a:cubicBezTo>
                      <a:pt x="20" y="6"/>
                      <a:pt x="20" y="7"/>
                      <a:pt x="21" y="10"/>
                    </a:cubicBezTo>
                    <a:cubicBezTo>
                      <a:pt x="23" y="14"/>
                      <a:pt x="27" y="17"/>
                      <a:pt x="27" y="18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32" name="Freeform 26"/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780847" y="3426383"/>
                <a:ext cx="81876" cy="100589"/>
              </a:xfrm>
              <a:custGeom>
                <a:avLst/>
                <a:gdLst/>
                <a:ahLst/>
                <a:cxnLst>
                  <a:cxn ang="0">
                    <a:pos x="3" y="21"/>
                  </a:cxn>
                  <a:cxn ang="0">
                    <a:pos x="6" y="19"/>
                  </a:cxn>
                  <a:cxn ang="0">
                    <a:pos x="8" y="16"/>
                  </a:cxn>
                  <a:cxn ang="0">
                    <a:pos x="11" y="13"/>
                  </a:cxn>
                  <a:cxn ang="0">
                    <a:pos x="14" y="10"/>
                  </a:cxn>
                  <a:cxn ang="0">
                    <a:pos x="17" y="11"/>
                  </a:cxn>
                  <a:cxn ang="0">
                    <a:pos x="21" y="3"/>
                  </a:cxn>
                  <a:cxn ang="0">
                    <a:pos x="24" y="3"/>
                  </a:cxn>
                  <a:cxn ang="0">
                    <a:pos x="32" y="2"/>
                  </a:cxn>
                  <a:cxn ang="0">
                    <a:pos x="36" y="0"/>
                  </a:cxn>
                  <a:cxn ang="0">
                    <a:pos x="36" y="5"/>
                  </a:cxn>
                  <a:cxn ang="0">
                    <a:pos x="33" y="13"/>
                  </a:cxn>
                  <a:cxn ang="0">
                    <a:pos x="33" y="17"/>
                  </a:cxn>
                  <a:cxn ang="0">
                    <a:pos x="33" y="25"/>
                  </a:cxn>
                  <a:cxn ang="0">
                    <a:pos x="33" y="27"/>
                  </a:cxn>
                  <a:cxn ang="0">
                    <a:pos x="32" y="28"/>
                  </a:cxn>
                  <a:cxn ang="0">
                    <a:pos x="32" y="32"/>
                  </a:cxn>
                  <a:cxn ang="0">
                    <a:pos x="32" y="35"/>
                  </a:cxn>
                  <a:cxn ang="0">
                    <a:pos x="30" y="38"/>
                  </a:cxn>
                  <a:cxn ang="0">
                    <a:pos x="32" y="41"/>
                  </a:cxn>
                  <a:cxn ang="0">
                    <a:pos x="27" y="41"/>
                  </a:cxn>
                  <a:cxn ang="0">
                    <a:pos x="26" y="39"/>
                  </a:cxn>
                  <a:cxn ang="0">
                    <a:pos x="20" y="39"/>
                  </a:cxn>
                  <a:cxn ang="0">
                    <a:pos x="17" y="39"/>
                  </a:cxn>
                  <a:cxn ang="0">
                    <a:pos x="9" y="32"/>
                  </a:cxn>
                  <a:cxn ang="0">
                    <a:pos x="3" y="24"/>
                  </a:cxn>
                  <a:cxn ang="0">
                    <a:pos x="1" y="21"/>
                  </a:cxn>
                  <a:cxn ang="0">
                    <a:pos x="3" y="21"/>
                  </a:cxn>
                </a:cxnLst>
                <a:rect l="0" t="0" r="r" b="b"/>
                <a:pathLst>
                  <a:path w="36" h="44">
                    <a:moveTo>
                      <a:pt x="3" y="21"/>
                    </a:moveTo>
                    <a:cubicBezTo>
                      <a:pt x="6" y="21"/>
                      <a:pt x="6" y="21"/>
                      <a:pt x="6" y="19"/>
                    </a:cubicBezTo>
                    <a:cubicBezTo>
                      <a:pt x="8" y="16"/>
                      <a:pt x="9" y="19"/>
                      <a:pt x="8" y="16"/>
                    </a:cubicBezTo>
                    <a:cubicBezTo>
                      <a:pt x="8" y="11"/>
                      <a:pt x="8" y="13"/>
                      <a:pt x="11" y="13"/>
                    </a:cubicBezTo>
                    <a:cubicBezTo>
                      <a:pt x="12" y="13"/>
                      <a:pt x="12" y="8"/>
                      <a:pt x="14" y="10"/>
                    </a:cubicBezTo>
                    <a:cubicBezTo>
                      <a:pt x="15" y="13"/>
                      <a:pt x="17" y="13"/>
                      <a:pt x="17" y="11"/>
                    </a:cubicBezTo>
                    <a:cubicBezTo>
                      <a:pt x="15" y="10"/>
                      <a:pt x="21" y="5"/>
                      <a:pt x="21" y="3"/>
                    </a:cubicBezTo>
                    <a:cubicBezTo>
                      <a:pt x="23" y="2"/>
                      <a:pt x="23" y="2"/>
                      <a:pt x="24" y="3"/>
                    </a:cubicBezTo>
                    <a:cubicBezTo>
                      <a:pt x="24" y="3"/>
                      <a:pt x="30" y="3"/>
                      <a:pt x="32" y="2"/>
                    </a:cubicBezTo>
                    <a:cubicBezTo>
                      <a:pt x="33" y="0"/>
                      <a:pt x="35" y="0"/>
                      <a:pt x="36" y="0"/>
                    </a:cubicBezTo>
                    <a:cubicBezTo>
                      <a:pt x="35" y="2"/>
                      <a:pt x="35" y="3"/>
                      <a:pt x="36" y="5"/>
                    </a:cubicBezTo>
                    <a:cubicBezTo>
                      <a:pt x="36" y="8"/>
                      <a:pt x="33" y="10"/>
                      <a:pt x="33" y="13"/>
                    </a:cubicBezTo>
                    <a:cubicBezTo>
                      <a:pt x="33" y="16"/>
                      <a:pt x="32" y="14"/>
                      <a:pt x="33" y="17"/>
                    </a:cubicBezTo>
                    <a:cubicBezTo>
                      <a:pt x="33" y="22"/>
                      <a:pt x="33" y="24"/>
                      <a:pt x="33" y="25"/>
                    </a:cubicBezTo>
                    <a:cubicBezTo>
                      <a:pt x="33" y="27"/>
                      <a:pt x="33" y="27"/>
                      <a:pt x="33" y="27"/>
                    </a:cubicBezTo>
                    <a:cubicBezTo>
                      <a:pt x="32" y="27"/>
                      <a:pt x="33" y="27"/>
                      <a:pt x="32" y="28"/>
                    </a:cubicBezTo>
                    <a:cubicBezTo>
                      <a:pt x="32" y="30"/>
                      <a:pt x="30" y="32"/>
                      <a:pt x="32" y="32"/>
                    </a:cubicBezTo>
                    <a:cubicBezTo>
                      <a:pt x="32" y="32"/>
                      <a:pt x="33" y="35"/>
                      <a:pt x="32" y="35"/>
                    </a:cubicBezTo>
                    <a:cubicBezTo>
                      <a:pt x="32" y="35"/>
                      <a:pt x="30" y="36"/>
                      <a:pt x="30" y="38"/>
                    </a:cubicBezTo>
                    <a:cubicBezTo>
                      <a:pt x="32" y="39"/>
                      <a:pt x="32" y="41"/>
                      <a:pt x="32" y="41"/>
                    </a:cubicBezTo>
                    <a:cubicBezTo>
                      <a:pt x="30" y="44"/>
                      <a:pt x="27" y="43"/>
                      <a:pt x="27" y="41"/>
                    </a:cubicBezTo>
                    <a:cubicBezTo>
                      <a:pt x="27" y="39"/>
                      <a:pt x="26" y="41"/>
                      <a:pt x="26" y="39"/>
                    </a:cubicBezTo>
                    <a:cubicBezTo>
                      <a:pt x="23" y="38"/>
                      <a:pt x="24" y="43"/>
                      <a:pt x="20" y="39"/>
                    </a:cubicBezTo>
                    <a:cubicBezTo>
                      <a:pt x="17" y="36"/>
                      <a:pt x="17" y="38"/>
                      <a:pt x="17" y="39"/>
                    </a:cubicBezTo>
                    <a:cubicBezTo>
                      <a:pt x="12" y="35"/>
                      <a:pt x="11" y="35"/>
                      <a:pt x="9" y="32"/>
                    </a:cubicBezTo>
                    <a:cubicBezTo>
                      <a:pt x="8" y="27"/>
                      <a:pt x="5" y="27"/>
                      <a:pt x="3" y="24"/>
                    </a:cubicBezTo>
                    <a:cubicBezTo>
                      <a:pt x="1" y="22"/>
                      <a:pt x="0" y="22"/>
                      <a:pt x="1" y="21"/>
                    </a:cubicBezTo>
                    <a:cubicBezTo>
                      <a:pt x="1" y="19"/>
                      <a:pt x="3" y="22"/>
                      <a:pt x="3" y="2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33" name="Freeform 27"/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749266" y="3404159"/>
                <a:ext cx="113457" cy="70178"/>
              </a:xfrm>
              <a:custGeom>
                <a:avLst/>
                <a:gdLst/>
                <a:ahLst/>
                <a:cxnLst>
                  <a:cxn ang="0">
                    <a:pos x="9" y="3"/>
                  </a:cxn>
                  <a:cxn ang="0">
                    <a:pos x="3" y="9"/>
                  </a:cxn>
                  <a:cxn ang="0">
                    <a:pos x="0" y="17"/>
                  </a:cxn>
                  <a:cxn ang="0">
                    <a:pos x="9" y="21"/>
                  </a:cxn>
                  <a:cxn ang="0">
                    <a:pos x="14" y="23"/>
                  </a:cxn>
                  <a:cxn ang="0">
                    <a:pos x="14" y="26"/>
                  </a:cxn>
                  <a:cxn ang="0">
                    <a:pos x="15" y="28"/>
                  </a:cxn>
                  <a:cxn ang="0">
                    <a:pos x="17" y="31"/>
                  </a:cxn>
                  <a:cxn ang="0">
                    <a:pos x="20" y="29"/>
                  </a:cxn>
                  <a:cxn ang="0">
                    <a:pos x="21" y="26"/>
                  </a:cxn>
                  <a:cxn ang="0">
                    <a:pos x="24" y="23"/>
                  </a:cxn>
                  <a:cxn ang="0">
                    <a:pos x="28" y="20"/>
                  </a:cxn>
                  <a:cxn ang="0">
                    <a:pos x="31" y="21"/>
                  </a:cxn>
                  <a:cxn ang="0">
                    <a:pos x="35" y="14"/>
                  </a:cxn>
                  <a:cxn ang="0">
                    <a:pos x="38" y="14"/>
                  </a:cxn>
                  <a:cxn ang="0">
                    <a:pos x="46" y="12"/>
                  </a:cxn>
                  <a:cxn ang="0">
                    <a:pos x="50" y="10"/>
                  </a:cxn>
                  <a:cxn ang="0">
                    <a:pos x="47" y="7"/>
                  </a:cxn>
                  <a:cxn ang="0">
                    <a:pos x="43" y="3"/>
                  </a:cxn>
                  <a:cxn ang="0">
                    <a:pos x="35" y="1"/>
                  </a:cxn>
                  <a:cxn ang="0">
                    <a:pos x="31" y="1"/>
                  </a:cxn>
                  <a:cxn ang="0">
                    <a:pos x="28" y="1"/>
                  </a:cxn>
                  <a:cxn ang="0">
                    <a:pos x="24" y="3"/>
                  </a:cxn>
                  <a:cxn ang="0">
                    <a:pos x="17" y="3"/>
                  </a:cxn>
                  <a:cxn ang="0">
                    <a:pos x="14" y="1"/>
                  </a:cxn>
                  <a:cxn ang="0">
                    <a:pos x="9" y="3"/>
                  </a:cxn>
                </a:cxnLst>
                <a:rect l="0" t="0" r="r" b="b"/>
                <a:pathLst>
                  <a:path w="50" h="31">
                    <a:moveTo>
                      <a:pt x="9" y="3"/>
                    </a:moveTo>
                    <a:cubicBezTo>
                      <a:pt x="8" y="4"/>
                      <a:pt x="5" y="9"/>
                      <a:pt x="3" y="9"/>
                    </a:cubicBezTo>
                    <a:cubicBezTo>
                      <a:pt x="1" y="10"/>
                      <a:pt x="5" y="15"/>
                      <a:pt x="0" y="17"/>
                    </a:cubicBezTo>
                    <a:cubicBezTo>
                      <a:pt x="6" y="18"/>
                      <a:pt x="8" y="23"/>
                      <a:pt x="9" y="21"/>
                    </a:cubicBezTo>
                    <a:cubicBezTo>
                      <a:pt x="9" y="21"/>
                      <a:pt x="14" y="20"/>
                      <a:pt x="14" y="23"/>
                    </a:cubicBezTo>
                    <a:cubicBezTo>
                      <a:pt x="14" y="24"/>
                      <a:pt x="14" y="26"/>
                      <a:pt x="14" y="26"/>
                    </a:cubicBezTo>
                    <a:cubicBezTo>
                      <a:pt x="15" y="28"/>
                      <a:pt x="14" y="24"/>
                      <a:pt x="15" y="28"/>
                    </a:cubicBezTo>
                    <a:cubicBezTo>
                      <a:pt x="17" y="31"/>
                      <a:pt x="18" y="29"/>
                      <a:pt x="17" y="31"/>
                    </a:cubicBezTo>
                    <a:cubicBezTo>
                      <a:pt x="20" y="31"/>
                      <a:pt x="20" y="31"/>
                      <a:pt x="20" y="29"/>
                    </a:cubicBezTo>
                    <a:cubicBezTo>
                      <a:pt x="21" y="26"/>
                      <a:pt x="23" y="29"/>
                      <a:pt x="21" y="26"/>
                    </a:cubicBezTo>
                    <a:cubicBezTo>
                      <a:pt x="21" y="21"/>
                      <a:pt x="21" y="23"/>
                      <a:pt x="24" y="23"/>
                    </a:cubicBezTo>
                    <a:cubicBezTo>
                      <a:pt x="26" y="23"/>
                      <a:pt x="26" y="18"/>
                      <a:pt x="28" y="20"/>
                    </a:cubicBezTo>
                    <a:cubicBezTo>
                      <a:pt x="29" y="23"/>
                      <a:pt x="31" y="23"/>
                      <a:pt x="31" y="21"/>
                    </a:cubicBezTo>
                    <a:cubicBezTo>
                      <a:pt x="29" y="20"/>
                      <a:pt x="35" y="15"/>
                      <a:pt x="35" y="14"/>
                    </a:cubicBezTo>
                    <a:cubicBezTo>
                      <a:pt x="37" y="12"/>
                      <a:pt x="37" y="12"/>
                      <a:pt x="38" y="14"/>
                    </a:cubicBezTo>
                    <a:cubicBezTo>
                      <a:pt x="38" y="14"/>
                      <a:pt x="44" y="14"/>
                      <a:pt x="46" y="12"/>
                    </a:cubicBezTo>
                    <a:cubicBezTo>
                      <a:pt x="47" y="10"/>
                      <a:pt x="49" y="10"/>
                      <a:pt x="50" y="10"/>
                    </a:cubicBezTo>
                    <a:cubicBezTo>
                      <a:pt x="50" y="10"/>
                      <a:pt x="49" y="9"/>
                      <a:pt x="47" y="7"/>
                    </a:cubicBezTo>
                    <a:cubicBezTo>
                      <a:pt x="44" y="6"/>
                      <a:pt x="44" y="6"/>
                      <a:pt x="43" y="3"/>
                    </a:cubicBezTo>
                    <a:cubicBezTo>
                      <a:pt x="41" y="1"/>
                      <a:pt x="37" y="0"/>
                      <a:pt x="35" y="1"/>
                    </a:cubicBezTo>
                    <a:cubicBezTo>
                      <a:pt x="34" y="1"/>
                      <a:pt x="32" y="1"/>
                      <a:pt x="31" y="1"/>
                    </a:cubicBezTo>
                    <a:cubicBezTo>
                      <a:pt x="29" y="0"/>
                      <a:pt x="28" y="0"/>
                      <a:pt x="28" y="1"/>
                    </a:cubicBezTo>
                    <a:cubicBezTo>
                      <a:pt x="29" y="1"/>
                      <a:pt x="26" y="3"/>
                      <a:pt x="24" y="3"/>
                    </a:cubicBezTo>
                    <a:cubicBezTo>
                      <a:pt x="21" y="3"/>
                      <a:pt x="18" y="1"/>
                      <a:pt x="17" y="3"/>
                    </a:cubicBezTo>
                    <a:cubicBezTo>
                      <a:pt x="15" y="3"/>
                      <a:pt x="15" y="1"/>
                      <a:pt x="14" y="1"/>
                    </a:cubicBezTo>
                    <a:cubicBezTo>
                      <a:pt x="12" y="1"/>
                      <a:pt x="12" y="4"/>
                      <a:pt x="9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34" name="Freeform 28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2738740" y="3442758"/>
                <a:ext cx="44447" cy="26902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14" y="4"/>
                  </a:cxn>
                  <a:cxn ang="0">
                    <a:pos x="19" y="6"/>
                  </a:cxn>
                  <a:cxn ang="0">
                    <a:pos x="19" y="9"/>
                  </a:cxn>
                  <a:cxn ang="0">
                    <a:pos x="19" y="11"/>
                  </a:cxn>
                  <a:cxn ang="0">
                    <a:pos x="14" y="12"/>
                  </a:cxn>
                  <a:cxn ang="0">
                    <a:pos x="13" y="12"/>
                  </a:cxn>
                  <a:cxn ang="0">
                    <a:pos x="4" y="9"/>
                  </a:cxn>
                  <a:cxn ang="0">
                    <a:pos x="0" y="6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20" h="12">
                    <a:moveTo>
                      <a:pt x="5" y="0"/>
                    </a:moveTo>
                    <a:cubicBezTo>
                      <a:pt x="11" y="1"/>
                      <a:pt x="13" y="6"/>
                      <a:pt x="14" y="4"/>
                    </a:cubicBezTo>
                    <a:cubicBezTo>
                      <a:pt x="14" y="4"/>
                      <a:pt x="19" y="3"/>
                      <a:pt x="19" y="6"/>
                    </a:cubicBezTo>
                    <a:cubicBezTo>
                      <a:pt x="19" y="7"/>
                      <a:pt x="19" y="9"/>
                      <a:pt x="19" y="9"/>
                    </a:cubicBezTo>
                    <a:cubicBezTo>
                      <a:pt x="17" y="9"/>
                      <a:pt x="17" y="11"/>
                      <a:pt x="19" y="11"/>
                    </a:cubicBezTo>
                    <a:cubicBezTo>
                      <a:pt x="20" y="11"/>
                      <a:pt x="16" y="12"/>
                      <a:pt x="14" y="12"/>
                    </a:cubicBezTo>
                    <a:cubicBezTo>
                      <a:pt x="11" y="9"/>
                      <a:pt x="14" y="12"/>
                      <a:pt x="13" y="12"/>
                    </a:cubicBezTo>
                    <a:cubicBezTo>
                      <a:pt x="11" y="12"/>
                      <a:pt x="7" y="9"/>
                      <a:pt x="4" y="9"/>
                    </a:cubicBezTo>
                    <a:cubicBezTo>
                      <a:pt x="0" y="9"/>
                      <a:pt x="2" y="7"/>
                      <a:pt x="0" y="6"/>
                    </a:cubicBezTo>
                    <a:cubicBezTo>
                      <a:pt x="0" y="3"/>
                      <a:pt x="5" y="3"/>
                      <a:pt x="5" y="0"/>
                    </a:cubicBezTo>
                    <a:cubicBezTo>
                      <a:pt x="4" y="0"/>
                      <a:pt x="5" y="0"/>
                      <a:pt x="5" y="0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35" name="Freeform 29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701310" y="3365561"/>
                <a:ext cx="69009" cy="91232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4" y="18"/>
                  </a:cxn>
                  <a:cxn ang="0">
                    <a:pos x="26" y="18"/>
                  </a:cxn>
                  <a:cxn ang="0">
                    <a:pos x="29" y="20"/>
                  </a:cxn>
                  <a:cxn ang="0">
                    <a:pos x="29" y="18"/>
                  </a:cxn>
                  <a:cxn ang="0">
                    <a:pos x="30" y="20"/>
                  </a:cxn>
                  <a:cxn ang="0">
                    <a:pos x="24" y="26"/>
                  </a:cxn>
                  <a:cxn ang="0">
                    <a:pos x="21" y="34"/>
                  </a:cxn>
                  <a:cxn ang="0">
                    <a:pos x="21" y="34"/>
                  </a:cxn>
                  <a:cxn ang="0">
                    <a:pos x="17" y="40"/>
                  </a:cxn>
                  <a:cxn ang="0">
                    <a:pos x="9" y="39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2" y="26"/>
                  </a:cxn>
                  <a:cxn ang="0">
                    <a:pos x="0" y="25"/>
                  </a:cxn>
                  <a:cxn ang="0">
                    <a:pos x="3" y="17"/>
                  </a:cxn>
                  <a:cxn ang="0">
                    <a:pos x="14" y="17"/>
                  </a:cxn>
                  <a:cxn ang="0">
                    <a:pos x="12" y="12"/>
                  </a:cxn>
                  <a:cxn ang="0">
                    <a:pos x="8" y="7"/>
                  </a:cxn>
                  <a:cxn ang="0">
                    <a:pos x="6" y="6"/>
                  </a:cxn>
                  <a:cxn ang="0">
                    <a:pos x="9" y="6"/>
                  </a:cxn>
                  <a:cxn ang="0">
                    <a:pos x="9" y="0"/>
                  </a:cxn>
                  <a:cxn ang="0">
                    <a:pos x="24" y="0"/>
                  </a:cxn>
                </a:cxnLst>
                <a:rect l="0" t="0" r="r" b="b"/>
                <a:pathLst>
                  <a:path w="30" h="40">
                    <a:moveTo>
                      <a:pt x="24" y="0"/>
                    </a:moveTo>
                    <a:cubicBezTo>
                      <a:pt x="24" y="18"/>
                      <a:pt x="24" y="18"/>
                      <a:pt x="24" y="18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7" y="20"/>
                      <a:pt x="27" y="21"/>
                      <a:pt x="29" y="20"/>
                    </a:cubicBezTo>
                    <a:cubicBezTo>
                      <a:pt x="29" y="20"/>
                      <a:pt x="29" y="20"/>
                      <a:pt x="29" y="18"/>
                    </a:cubicBezTo>
                    <a:cubicBezTo>
                      <a:pt x="27" y="18"/>
                      <a:pt x="29" y="17"/>
                      <a:pt x="30" y="20"/>
                    </a:cubicBezTo>
                    <a:cubicBezTo>
                      <a:pt x="29" y="21"/>
                      <a:pt x="26" y="26"/>
                      <a:pt x="24" y="26"/>
                    </a:cubicBezTo>
                    <a:cubicBezTo>
                      <a:pt x="23" y="28"/>
                      <a:pt x="26" y="32"/>
                      <a:pt x="21" y="34"/>
                    </a:cubicBezTo>
                    <a:cubicBezTo>
                      <a:pt x="21" y="34"/>
                      <a:pt x="20" y="34"/>
                      <a:pt x="21" y="34"/>
                    </a:cubicBezTo>
                    <a:cubicBezTo>
                      <a:pt x="21" y="37"/>
                      <a:pt x="17" y="37"/>
                      <a:pt x="17" y="40"/>
                    </a:cubicBezTo>
                    <a:cubicBezTo>
                      <a:pt x="14" y="39"/>
                      <a:pt x="12" y="37"/>
                      <a:pt x="9" y="39"/>
                    </a:cubicBezTo>
                    <a:cubicBezTo>
                      <a:pt x="6" y="39"/>
                      <a:pt x="6" y="39"/>
                      <a:pt x="0" y="32"/>
                    </a:cubicBezTo>
                    <a:cubicBezTo>
                      <a:pt x="0" y="32"/>
                      <a:pt x="0" y="31"/>
                      <a:pt x="0" y="29"/>
                    </a:cubicBezTo>
                    <a:cubicBezTo>
                      <a:pt x="0" y="28"/>
                      <a:pt x="2" y="26"/>
                      <a:pt x="2" y="26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5" y="11"/>
                      <a:pt x="12" y="15"/>
                      <a:pt x="12" y="12"/>
                    </a:cubicBezTo>
                    <a:cubicBezTo>
                      <a:pt x="11" y="9"/>
                      <a:pt x="9" y="9"/>
                      <a:pt x="8" y="7"/>
                    </a:cubicBezTo>
                    <a:cubicBezTo>
                      <a:pt x="8" y="6"/>
                      <a:pt x="6" y="6"/>
                      <a:pt x="6" y="6"/>
                    </a:cubicBezTo>
                    <a:cubicBezTo>
                      <a:pt x="9" y="6"/>
                      <a:pt x="9" y="6"/>
                      <a:pt x="9" y="6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24" y="0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36" name="Freeform 30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2898982" y="3730488"/>
                <a:ext cx="106439" cy="14503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27" y="6"/>
                  </a:cxn>
                  <a:cxn ang="0">
                    <a:pos x="30" y="10"/>
                  </a:cxn>
                  <a:cxn ang="0">
                    <a:pos x="38" y="11"/>
                  </a:cxn>
                  <a:cxn ang="0">
                    <a:pos x="41" y="11"/>
                  </a:cxn>
                  <a:cxn ang="0">
                    <a:pos x="47" y="14"/>
                  </a:cxn>
                  <a:cxn ang="0">
                    <a:pos x="44" y="31"/>
                  </a:cxn>
                  <a:cxn ang="0">
                    <a:pos x="23" y="48"/>
                  </a:cxn>
                  <a:cxn ang="0">
                    <a:pos x="18" y="61"/>
                  </a:cxn>
                  <a:cxn ang="0">
                    <a:pos x="12" y="58"/>
                  </a:cxn>
                  <a:cxn ang="0">
                    <a:pos x="6" y="56"/>
                  </a:cxn>
                  <a:cxn ang="0">
                    <a:pos x="7" y="47"/>
                  </a:cxn>
                  <a:cxn ang="0">
                    <a:pos x="11" y="39"/>
                  </a:cxn>
                  <a:cxn ang="0">
                    <a:pos x="4" y="39"/>
                  </a:cxn>
                  <a:cxn ang="0">
                    <a:pos x="3" y="27"/>
                  </a:cxn>
                  <a:cxn ang="0">
                    <a:pos x="6" y="19"/>
                  </a:cxn>
                  <a:cxn ang="0">
                    <a:pos x="9" y="8"/>
                  </a:cxn>
                  <a:cxn ang="0">
                    <a:pos x="18" y="0"/>
                  </a:cxn>
                </a:cxnLst>
                <a:rect l="0" t="0" r="r" b="b"/>
                <a:pathLst>
                  <a:path w="47" h="64">
                    <a:moveTo>
                      <a:pt x="18" y="0"/>
                    </a:moveTo>
                    <a:cubicBezTo>
                      <a:pt x="24" y="5"/>
                      <a:pt x="26" y="6"/>
                      <a:pt x="27" y="6"/>
                    </a:cubicBezTo>
                    <a:cubicBezTo>
                      <a:pt x="27" y="6"/>
                      <a:pt x="30" y="8"/>
                      <a:pt x="30" y="10"/>
                    </a:cubicBezTo>
                    <a:cubicBezTo>
                      <a:pt x="30" y="11"/>
                      <a:pt x="38" y="13"/>
                      <a:pt x="38" y="11"/>
                    </a:cubicBezTo>
                    <a:cubicBezTo>
                      <a:pt x="38" y="10"/>
                      <a:pt x="39" y="8"/>
                      <a:pt x="41" y="11"/>
                    </a:cubicBezTo>
                    <a:cubicBezTo>
                      <a:pt x="42" y="14"/>
                      <a:pt x="44" y="14"/>
                      <a:pt x="47" y="14"/>
                    </a:cubicBezTo>
                    <a:cubicBezTo>
                      <a:pt x="47" y="22"/>
                      <a:pt x="47" y="23"/>
                      <a:pt x="44" y="31"/>
                    </a:cubicBezTo>
                    <a:cubicBezTo>
                      <a:pt x="39" y="37"/>
                      <a:pt x="27" y="41"/>
                      <a:pt x="23" y="48"/>
                    </a:cubicBezTo>
                    <a:cubicBezTo>
                      <a:pt x="18" y="58"/>
                      <a:pt x="21" y="58"/>
                      <a:pt x="18" y="61"/>
                    </a:cubicBezTo>
                    <a:cubicBezTo>
                      <a:pt x="15" y="64"/>
                      <a:pt x="15" y="58"/>
                      <a:pt x="12" y="58"/>
                    </a:cubicBezTo>
                    <a:cubicBezTo>
                      <a:pt x="7" y="56"/>
                      <a:pt x="6" y="59"/>
                      <a:pt x="6" y="56"/>
                    </a:cubicBezTo>
                    <a:cubicBezTo>
                      <a:pt x="4" y="53"/>
                      <a:pt x="11" y="53"/>
                      <a:pt x="7" y="47"/>
                    </a:cubicBezTo>
                    <a:cubicBezTo>
                      <a:pt x="11" y="47"/>
                      <a:pt x="11" y="42"/>
                      <a:pt x="11" y="39"/>
                    </a:cubicBezTo>
                    <a:cubicBezTo>
                      <a:pt x="11" y="36"/>
                      <a:pt x="9" y="44"/>
                      <a:pt x="4" y="39"/>
                    </a:cubicBezTo>
                    <a:cubicBezTo>
                      <a:pt x="0" y="34"/>
                      <a:pt x="4" y="37"/>
                      <a:pt x="3" y="27"/>
                    </a:cubicBezTo>
                    <a:cubicBezTo>
                      <a:pt x="1" y="20"/>
                      <a:pt x="6" y="25"/>
                      <a:pt x="6" y="19"/>
                    </a:cubicBezTo>
                    <a:cubicBezTo>
                      <a:pt x="6" y="14"/>
                      <a:pt x="11" y="16"/>
                      <a:pt x="9" y="8"/>
                    </a:cubicBezTo>
                    <a:cubicBezTo>
                      <a:pt x="9" y="2"/>
                      <a:pt x="20" y="5"/>
                      <a:pt x="18" y="0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37" name="Freeform 31"/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2713007" y="3756220"/>
                <a:ext cx="14036" cy="31580"/>
              </a:xfrm>
              <a:custGeom>
                <a:avLst/>
                <a:gdLst/>
                <a:ahLst/>
                <a:cxnLst>
                  <a:cxn ang="0">
                    <a:pos x="1" y="13"/>
                  </a:cxn>
                  <a:cxn ang="0">
                    <a:pos x="3" y="10"/>
                  </a:cxn>
                  <a:cxn ang="0">
                    <a:pos x="1" y="6"/>
                  </a:cxn>
                  <a:cxn ang="0">
                    <a:pos x="0" y="3"/>
                  </a:cxn>
                  <a:cxn ang="0">
                    <a:pos x="1" y="2"/>
                  </a:cxn>
                  <a:cxn ang="0">
                    <a:pos x="3" y="3"/>
                  </a:cxn>
                  <a:cxn ang="0">
                    <a:pos x="4" y="6"/>
                  </a:cxn>
                  <a:cxn ang="0">
                    <a:pos x="6" y="10"/>
                  </a:cxn>
                  <a:cxn ang="0">
                    <a:pos x="4" y="13"/>
                  </a:cxn>
                  <a:cxn ang="0">
                    <a:pos x="1" y="13"/>
                  </a:cxn>
                </a:cxnLst>
                <a:rect l="0" t="0" r="r" b="b"/>
                <a:pathLst>
                  <a:path w="6" h="14">
                    <a:moveTo>
                      <a:pt x="1" y="13"/>
                    </a:moveTo>
                    <a:cubicBezTo>
                      <a:pt x="0" y="11"/>
                      <a:pt x="3" y="10"/>
                      <a:pt x="3" y="10"/>
                    </a:cubicBezTo>
                    <a:cubicBezTo>
                      <a:pt x="4" y="8"/>
                      <a:pt x="3" y="8"/>
                      <a:pt x="1" y="6"/>
                    </a:cubicBezTo>
                    <a:cubicBezTo>
                      <a:pt x="1" y="5"/>
                      <a:pt x="1" y="3"/>
                      <a:pt x="0" y="3"/>
                    </a:cubicBezTo>
                    <a:cubicBezTo>
                      <a:pt x="0" y="3"/>
                      <a:pt x="0" y="3"/>
                      <a:pt x="1" y="2"/>
                    </a:cubicBezTo>
                    <a:cubicBezTo>
                      <a:pt x="1" y="0"/>
                      <a:pt x="1" y="2"/>
                      <a:pt x="3" y="3"/>
                    </a:cubicBezTo>
                    <a:cubicBezTo>
                      <a:pt x="3" y="5"/>
                      <a:pt x="3" y="6"/>
                      <a:pt x="4" y="6"/>
                    </a:cubicBezTo>
                    <a:cubicBezTo>
                      <a:pt x="6" y="8"/>
                      <a:pt x="4" y="8"/>
                      <a:pt x="6" y="10"/>
                    </a:cubicBezTo>
                    <a:cubicBezTo>
                      <a:pt x="6" y="11"/>
                      <a:pt x="6" y="13"/>
                      <a:pt x="4" y="13"/>
                    </a:cubicBezTo>
                    <a:cubicBezTo>
                      <a:pt x="1" y="14"/>
                      <a:pt x="1" y="13"/>
                      <a:pt x="1" y="1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38" name="Freeform 32"/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2729382" y="3769086"/>
                <a:ext cx="9358" cy="11696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3" y="2"/>
                  </a:cxn>
                  <a:cxn ang="0">
                    <a:pos x="2" y="5"/>
                  </a:cxn>
                </a:cxnLst>
                <a:rect l="0" t="0" r="r" b="b"/>
                <a:pathLst>
                  <a:path w="4" h="5">
                    <a:moveTo>
                      <a:pt x="2" y="5"/>
                    </a:moveTo>
                    <a:cubicBezTo>
                      <a:pt x="0" y="3"/>
                      <a:pt x="2" y="0"/>
                      <a:pt x="3" y="2"/>
                    </a:cubicBezTo>
                    <a:cubicBezTo>
                      <a:pt x="4" y="2"/>
                      <a:pt x="3" y="5"/>
                      <a:pt x="2" y="5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39" name="Freeform 33"/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2744588" y="3776104"/>
                <a:ext cx="7018" cy="701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3" y="0"/>
                  </a:cxn>
                  <a:cxn ang="0">
                    <a:pos x="0" y="3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3" y="2"/>
                      <a:pt x="3" y="3"/>
                      <a:pt x="0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40" name="Freeform 34"/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2727043" y="3762068"/>
                <a:ext cx="7018" cy="1169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3"/>
                  </a:cxn>
                  <a:cxn ang="0">
                    <a:pos x="0" y="2"/>
                  </a:cxn>
                </a:cxnLst>
                <a:rect l="0" t="0" r="r" b="b"/>
                <a:pathLst>
                  <a:path w="3" h="5">
                    <a:moveTo>
                      <a:pt x="0" y="2"/>
                    </a:moveTo>
                    <a:cubicBezTo>
                      <a:pt x="0" y="0"/>
                      <a:pt x="3" y="2"/>
                      <a:pt x="1" y="3"/>
                    </a:cubicBezTo>
                    <a:cubicBezTo>
                      <a:pt x="1" y="5"/>
                      <a:pt x="0" y="3"/>
                      <a:pt x="0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41" name="Freeform 35"/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2708328" y="3766747"/>
                <a:ext cx="11696" cy="7018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3"/>
                  </a:cxn>
                  <a:cxn ang="0">
                    <a:pos x="2" y="1"/>
                  </a:cxn>
                </a:cxnLst>
                <a:rect l="0" t="0" r="r" b="b"/>
                <a:pathLst>
                  <a:path w="5" h="3">
                    <a:moveTo>
                      <a:pt x="2" y="1"/>
                    </a:moveTo>
                    <a:cubicBezTo>
                      <a:pt x="3" y="0"/>
                      <a:pt x="5" y="3"/>
                      <a:pt x="2" y="3"/>
                    </a:cubicBezTo>
                    <a:cubicBezTo>
                      <a:pt x="0" y="3"/>
                      <a:pt x="0" y="1"/>
                      <a:pt x="2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42" name="Freeform 36"/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2729382" y="3787800"/>
                <a:ext cx="7018" cy="7018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3" h="3">
                    <a:moveTo>
                      <a:pt x="2" y="2"/>
                    </a:moveTo>
                    <a:cubicBezTo>
                      <a:pt x="0" y="0"/>
                      <a:pt x="3" y="2"/>
                      <a:pt x="2" y="2"/>
                    </a:cubicBezTo>
                    <a:cubicBezTo>
                      <a:pt x="2" y="3"/>
                      <a:pt x="2" y="3"/>
                      <a:pt x="2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43" name="Freeform 37"/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2729382" y="3753881"/>
                <a:ext cx="4679" cy="2339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1"/>
                  </a:cxn>
                  <a:cxn ang="0">
                    <a:pos x="0" y="1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2" y="0"/>
                      <a:pt x="2" y="1"/>
                    </a:cubicBezTo>
                    <a:cubicBezTo>
                      <a:pt x="2" y="1"/>
                      <a:pt x="2" y="1"/>
                      <a:pt x="0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44" name="Freeform 38"/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2951618" y="3346847"/>
                <a:ext cx="40938" cy="21054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9" y="1"/>
                  </a:cxn>
                  <a:cxn ang="0">
                    <a:pos x="16" y="6"/>
                  </a:cxn>
                  <a:cxn ang="0">
                    <a:pos x="12" y="6"/>
                  </a:cxn>
                  <a:cxn ang="0">
                    <a:pos x="7" y="8"/>
                  </a:cxn>
                  <a:cxn ang="0">
                    <a:pos x="1" y="4"/>
                  </a:cxn>
                  <a:cxn ang="0">
                    <a:pos x="0" y="1"/>
                  </a:cxn>
                </a:cxnLst>
                <a:rect l="0" t="0" r="r" b="b"/>
                <a:pathLst>
                  <a:path w="18" h="9">
                    <a:moveTo>
                      <a:pt x="0" y="1"/>
                    </a:moveTo>
                    <a:cubicBezTo>
                      <a:pt x="1" y="0"/>
                      <a:pt x="4" y="0"/>
                      <a:pt x="9" y="1"/>
                    </a:cubicBezTo>
                    <a:cubicBezTo>
                      <a:pt x="15" y="3"/>
                      <a:pt x="16" y="3"/>
                      <a:pt x="16" y="6"/>
                    </a:cubicBezTo>
                    <a:cubicBezTo>
                      <a:pt x="18" y="8"/>
                      <a:pt x="15" y="6"/>
                      <a:pt x="12" y="6"/>
                    </a:cubicBezTo>
                    <a:cubicBezTo>
                      <a:pt x="9" y="6"/>
                      <a:pt x="12" y="9"/>
                      <a:pt x="7" y="8"/>
                    </a:cubicBezTo>
                    <a:cubicBezTo>
                      <a:pt x="1" y="6"/>
                      <a:pt x="4" y="4"/>
                      <a:pt x="1" y="4"/>
                    </a:cubicBezTo>
                    <a:cubicBezTo>
                      <a:pt x="0" y="3"/>
                      <a:pt x="0" y="3"/>
                      <a:pt x="0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45" name="Freeform 39"/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3019458" y="3315267"/>
                <a:ext cx="54974" cy="50294"/>
              </a:xfrm>
              <a:custGeom>
                <a:avLst/>
                <a:gdLst/>
                <a:ahLst/>
                <a:cxnLst>
                  <a:cxn ang="0">
                    <a:pos x="23" y="18"/>
                  </a:cxn>
                  <a:cxn ang="0">
                    <a:pos x="12" y="18"/>
                  </a:cxn>
                  <a:cxn ang="0">
                    <a:pos x="4" y="18"/>
                  </a:cxn>
                  <a:cxn ang="0">
                    <a:pos x="0" y="14"/>
                  </a:cxn>
                  <a:cxn ang="0">
                    <a:pos x="15" y="14"/>
                  </a:cxn>
                  <a:cxn ang="0">
                    <a:pos x="17" y="11"/>
                  </a:cxn>
                  <a:cxn ang="0">
                    <a:pos x="14" y="4"/>
                  </a:cxn>
                  <a:cxn ang="0">
                    <a:pos x="9" y="1"/>
                  </a:cxn>
                  <a:cxn ang="0">
                    <a:pos x="17" y="1"/>
                  </a:cxn>
                  <a:cxn ang="0">
                    <a:pos x="23" y="1"/>
                  </a:cxn>
                  <a:cxn ang="0">
                    <a:pos x="21" y="12"/>
                  </a:cxn>
                  <a:cxn ang="0">
                    <a:pos x="23" y="18"/>
                  </a:cxn>
                </a:cxnLst>
                <a:rect l="0" t="0" r="r" b="b"/>
                <a:pathLst>
                  <a:path w="24" h="22">
                    <a:moveTo>
                      <a:pt x="23" y="18"/>
                    </a:moveTo>
                    <a:cubicBezTo>
                      <a:pt x="17" y="15"/>
                      <a:pt x="15" y="20"/>
                      <a:pt x="12" y="18"/>
                    </a:cubicBezTo>
                    <a:cubicBezTo>
                      <a:pt x="4" y="15"/>
                      <a:pt x="8" y="22"/>
                      <a:pt x="4" y="18"/>
                    </a:cubicBezTo>
                    <a:cubicBezTo>
                      <a:pt x="1" y="15"/>
                      <a:pt x="0" y="17"/>
                      <a:pt x="0" y="14"/>
                    </a:cubicBezTo>
                    <a:cubicBezTo>
                      <a:pt x="1" y="11"/>
                      <a:pt x="11" y="17"/>
                      <a:pt x="15" y="14"/>
                    </a:cubicBezTo>
                    <a:cubicBezTo>
                      <a:pt x="17" y="14"/>
                      <a:pt x="20" y="15"/>
                      <a:pt x="17" y="11"/>
                    </a:cubicBezTo>
                    <a:cubicBezTo>
                      <a:pt x="11" y="6"/>
                      <a:pt x="17" y="6"/>
                      <a:pt x="14" y="4"/>
                    </a:cubicBezTo>
                    <a:cubicBezTo>
                      <a:pt x="9" y="3"/>
                      <a:pt x="8" y="4"/>
                      <a:pt x="9" y="1"/>
                    </a:cubicBezTo>
                    <a:cubicBezTo>
                      <a:pt x="9" y="0"/>
                      <a:pt x="15" y="0"/>
                      <a:pt x="17" y="1"/>
                    </a:cubicBezTo>
                    <a:cubicBezTo>
                      <a:pt x="20" y="3"/>
                      <a:pt x="20" y="1"/>
                      <a:pt x="23" y="1"/>
                    </a:cubicBezTo>
                    <a:cubicBezTo>
                      <a:pt x="21" y="6"/>
                      <a:pt x="24" y="9"/>
                      <a:pt x="21" y="12"/>
                    </a:cubicBezTo>
                    <a:cubicBezTo>
                      <a:pt x="20" y="15"/>
                      <a:pt x="23" y="14"/>
                      <a:pt x="23" y="18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46" name="Freeform 40"/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3065074" y="3310588"/>
                <a:ext cx="67840" cy="61990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1" y="14"/>
                  </a:cxn>
                  <a:cxn ang="0">
                    <a:pos x="3" y="20"/>
                  </a:cxn>
                  <a:cxn ang="0">
                    <a:pos x="7" y="20"/>
                  </a:cxn>
                  <a:cxn ang="0">
                    <a:pos x="12" y="17"/>
                  </a:cxn>
                  <a:cxn ang="0">
                    <a:pos x="15" y="17"/>
                  </a:cxn>
                  <a:cxn ang="0">
                    <a:pos x="26" y="19"/>
                  </a:cxn>
                  <a:cxn ang="0">
                    <a:pos x="29" y="14"/>
                  </a:cxn>
                  <a:cxn ang="0">
                    <a:pos x="24" y="11"/>
                  </a:cxn>
                  <a:cxn ang="0">
                    <a:pos x="21" y="9"/>
                  </a:cxn>
                  <a:cxn ang="0">
                    <a:pos x="20" y="8"/>
                  </a:cxn>
                  <a:cxn ang="0">
                    <a:pos x="15" y="5"/>
                  </a:cxn>
                  <a:cxn ang="0">
                    <a:pos x="7" y="2"/>
                  </a:cxn>
                  <a:cxn ang="0">
                    <a:pos x="3" y="3"/>
                  </a:cxn>
                </a:cxnLst>
                <a:rect l="0" t="0" r="r" b="b"/>
                <a:pathLst>
                  <a:path w="30" h="27">
                    <a:moveTo>
                      <a:pt x="3" y="3"/>
                    </a:moveTo>
                    <a:cubicBezTo>
                      <a:pt x="1" y="8"/>
                      <a:pt x="4" y="11"/>
                      <a:pt x="1" y="14"/>
                    </a:cubicBezTo>
                    <a:cubicBezTo>
                      <a:pt x="0" y="17"/>
                      <a:pt x="3" y="16"/>
                      <a:pt x="3" y="20"/>
                    </a:cubicBezTo>
                    <a:cubicBezTo>
                      <a:pt x="4" y="27"/>
                      <a:pt x="6" y="23"/>
                      <a:pt x="7" y="20"/>
                    </a:cubicBezTo>
                    <a:cubicBezTo>
                      <a:pt x="9" y="17"/>
                      <a:pt x="10" y="16"/>
                      <a:pt x="12" y="17"/>
                    </a:cubicBezTo>
                    <a:cubicBezTo>
                      <a:pt x="12" y="20"/>
                      <a:pt x="14" y="20"/>
                      <a:pt x="15" y="17"/>
                    </a:cubicBezTo>
                    <a:cubicBezTo>
                      <a:pt x="18" y="16"/>
                      <a:pt x="24" y="17"/>
                      <a:pt x="26" y="19"/>
                    </a:cubicBezTo>
                    <a:cubicBezTo>
                      <a:pt x="27" y="20"/>
                      <a:pt x="30" y="16"/>
                      <a:pt x="29" y="14"/>
                    </a:cubicBezTo>
                    <a:cubicBezTo>
                      <a:pt x="26" y="13"/>
                      <a:pt x="26" y="11"/>
                      <a:pt x="24" y="11"/>
                    </a:cubicBezTo>
                    <a:cubicBezTo>
                      <a:pt x="21" y="11"/>
                      <a:pt x="20" y="9"/>
                      <a:pt x="21" y="9"/>
                    </a:cubicBezTo>
                    <a:cubicBezTo>
                      <a:pt x="24" y="9"/>
                      <a:pt x="23" y="6"/>
                      <a:pt x="20" y="8"/>
                    </a:cubicBezTo>
                    <a:cubicBezTo>
                      <a:pt x="15" y="9"/>
                      <a:pt x="18" y="3"/>
                      <a:pt x="15" y="5"/>
                    </a:cubicBezTo>
                    <a:cubicBezTo>
                      <a:pt x="14" y="6"/>
                      <a:pt x="9" y="0"/>
                      <a:pt x="7" y="2"/>
                    </a:cubicBezTo>
                    <a:cubicBezTo>
                      <a:pt x="6" y="3"/>
                      <a:pt x="4" y="0"/>
                      <a:pt x="3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47" name="Freeform 41"/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5585690" y="2938644"/>
                <a:ext cx="531025" cy="656167"/>
              </a:xfrm>
              <a:custGeom>
                <a:avLst/>
                <a:gdLst/>
                <a:ahLst/>
                <a:cxnLst>
                  <a:cxn ang="0">
                    <a:pos x="15" y="122"/>
                  </a:cxn>
                  <a:cxn ang="0">
                    <a:pos x="23" y="116"/>
                  </a:cxn>
                  <a:cxn ang="0">
                    <a:pos x="14" y="90"/>
                  </a:cxn>
                  <a:cxn ang="0">
                    <a:pos x="32" y="80"/>
                  </a:cxn>
                  <a:cxn ang="0">
                    <a:pos x="48" y="56"/>
                  </a:cxn>
                  <a:cxn ang="0">
                    <a:pos x="51" y="34"/>
                  </a:cxn>
                  <a:cxn ang="0">
                    <a:pos x="48" y="20"/>
                  </a:cxn>
                  <a:cxn ang="0">
                    <a:pos x="67" y="12"/>
                  </a:cxn>
                  <a:cxn ang="0">
                    <a:pos x="87" y="0"/>
                  </a:cxn>
                  <a:cxn ang="0">
                    <a:pos x="96" y="7"/>
                  </a:cxn>
                  <a:cxn ang="0">
                    <a:pos x="86" y="24"/>
                  </a:cxn>
                  <a:cxn ang="0">
                    <a:pos x="86" y="37"/>
                  </a:cxn>
                  <a:cxn ang="0">
                    <a:pos x="89" y="49"/>
                  </a:cxn>
                  <a:cxn ang="0">
                    <a:pos x="96" y="68"/>
                  </a:cxn>
                  <a:cxn ang="0">
                    <a:pos x="107" y="84"/>
                  </a:cxn>
                  <a:cxn ang="0">
                    <a:pos x="125" y="90"/>
                  </a:cxn>
                  <a:cxn ang="0">
                    <a:pos x="138" y="96"/>
                  </a:cxn>
                  <a:cxn ang="0">
                    <a:pos x="154" y="101"/>
                  </a:cxn>
                  <a:cxn ang="0">
                    <a:pos x="159" y="85"/>
                  </a:cxn>
                  <a:cxn ang="0">
                    <a:pos x="176" y="96"/>
                  </a:cxn>
                  <a:cxn ang="0">
                    <a:pos x="191" y="94"/>
                  </a:cxn>
                  <a:cxn ang="0">
                    <a:pos x="195" y="84"/>
                  </a:cxn>
                  <a:cxn ang="0">
                    <a:pos x="212" y="71"/>
                  </a:cxn>
                  <a:cxn ang="0">
                    <a:pos x="224" y="73"/>
                  </a:cxn>
                  <a:cxn ang="0">
                    <a:pos x="232" y="82"/>
                  </a:cxn>
                  <a:cxn ang="0">
                    <a:pos x="218" y="96"/>
                  </a:cxn>
                  <a:cxn ang="0">
                    <a:pos x="211" y="113"/>
                  </a:cxn>
                  <a:cxn ang="0">
                    <a:pos x="200" y="129"/>
                  </a:cxn>
                  <a:cxn ang="0">
                    <a:pos x="194" y="146"/>
                  </a:cxn>
                  <a:cxn ang="0">
                    <a:pos x="183" y="129"/>
                  </a:cxn>
                  <a:cxn ang="0">
                    <a:pos x="173" y="111"/>
                  </a:cxn>
                  <a:cxn ang="0">
                    <a:pos x="162" y="99"/>
                  </a:cxn>
                  <a:cxn ang="0">
                    <a:pos x="163" y="110"/>
                  </a:cxn>
                  <a:cxn ang="0">
                    <a:pos x="159" y="118"/>
                  </a:cxn>
                  <a:cxn ang="0">
                    <a:pos x="165" y="133"/>
                  </a:cxn>
                  <a:cxn ang="0">
                    <a:pos x="167" y="147"/>
                  </a:cxn>
                  <a:cxn ang="0">
                    <a:pos x="153" y="150"/>
                  </a:cxn>
                  <a:cxn ang="0">
                    <a:pos x="119" y="191"/>
                  </a:cxn>
                  <a:cxn ang="0">
                    <a:pos x="95" y="216"/>
                  </a:cxn>
                  <a:cxn ang="0">
                    <a:pos x="92" y="262"/>
                  </a:cxn>
                  <a:cxn ang="0">
                    <a:pos x="83" y="273"/>
                  </a:cxn>
                  <a:cxn ang="0">
                    <a:pos x="54" y="236"/>
                  </a:cxn>
                  <a:cxn ang="0">
                    <a:pos x="37" y="155"/>
                  </a:cxn>
                  <a:cxn ang="0">
                    <a:pos x="31" y="153"/>
                  </a:cxn>
                  <a:cxn ang="0">
                    <a:pos x="14" y="136"/>
                  </a:cxn>
                  <a:cxn ang="0">
                    <a:pos x="5" y="124"/>
                  </a:cxn>
                </a:cxnLst>
                <a:rect l="0" t="0" r="r" b="b"/>
                <a:pathLst>
                  <a:path w="234" h="289">
                    <a:moveTo>
                      <a:pt x="5" y="124"/>
                    </a:moveTo>
                    <a:cubicBezTo>
                      <a:pt x="5" y="121"/>
                      <a:pt x="8" y="122"/>
                      <a:pt x="9" y="122"/>
                    </a:cubicBezTo>
                    <a:cubicBezTo>
                      <a:pt x="14" y="121"/>
                      <a:pt x="14" y="125"/>
                      <a:pt x="15" y="122"/>
                    </a:cubicBezTo>
                    <a:cubicBezTo>
                      <a:pt x="17" y="121"/>
                      <a:pt x="19" y="119"/>
                      <a:pt x="20" y="122"/>
                    </a:cubicBezTo>
                    <a:cubicBezTo>
                      <a:pt x="20" y="124"/>
                      <a:pt x="25" y="121"/>
                      <a:pt x="23" y="121"/>
                    </a:cubicBezTo>
                    <a:cubicBezTo>
                      <a:pt x="22" y="119"/>
                      <a:pt x="25" y="118"/>
                      <a:pt x="23" y="116"/>
                    </a:cubicBezTo>
                    <a:cubicBezTo>
                      <a:pt x="17" y="108"/>
                      <a:pt x="23" y="108"/>
                      <a:pt x="19" y="107"/>
                    </a:cubicBezTo>
                    <a:cubicBezTo>
                      <a:pt x="12" y="107"/>
                      <a:pt x="20" y="99"/>
                      <a:pt x="14" y="97"/>
                    </a:cubicBezTo>
                    <a:cubicBezTo>
                      <a:pt x="8" y="97"/>
                      <a:pt x="11" y="93"/>
                      <a:pt x="14" y="90"/>
                    </a:cubicBezTo>
                    <a:cubicBezTo>
                      <a:pt x="17" y="87"/>
                      <a:pt x="17" y="80"/>
                      <a:pt x="20" y="85"/>
                    </a:cubicBezTo>
                    <a:cubicBezTo>
                      <a:pt x="22" y="88"/>
                      <a:pt x="23" y="85"/>
                      <a:pt x="29" y="85"/>
                    </a:cubicBezTo>
                    <a:cubicBezTo>
                      <a:pt x="32" y="85"/>
                      <a:pt x="29" y="82"/>
                      <a:pt x="32" y="80"/>
                    </a:cubicBezTo>
                    <a:cubicBezTo>
                      <a:pt x="34" y="79"/>
                      <a:pt x="32" y="76"/>
                      <a:pt x="37" y="74"/>
                    </a:cubicBezTo>
                    <a:cubicBezTo>
                      <a:pt x="41" y="73"/>
                      <a:pt x="38" y="65"/>
                      <a:pt x="44" y="62"/>
                    </a:cubicBezTo>
                    <a:cubicBezTo>
                      <a:pt x="51" y="60"/>
                      <a:pt x="44" y="62"/>
                      <a:pt x="48" y="56"/>
                    </a:cubicBezTo>
                    <a:cubicBezTo>
                      <a:pt x="55" y="45"/>
                      <a:pt x="46" y="45"/>
                      <a:pt x="54" y="41"/>
                    </a:cubicBezTo>
                    <a:cubicBezTo>
                      <a:pt x="60" y="38"/>
                      <a:pt x="58" y="38"/>
                      <a:pt x="54" y="37"/>
                    </a:cubicBezTo>
                    <a:cubicBezTo>
                      <a:pt x="51" y="37"/>
                      <a:pt x="55" y="32"/>
                      <a:pt x="51" y="34"/>
                    </a:cubicBezTo>
                    <a:cubicBezTo>
                      <a:pt x="49" y="34"/>
                      <a:pt x="51" y="32"/>
                      <a:pt x="48" y="31"/>
                    </a:cubicBezTo>
                    <a:cubicBezTo>
                      <a:pt x="44" y="28"/>
                      <a:pt x="51" y="28"/>
                      <a:pt x="48" y="24"/>
                    </a:cubicBezTo>
                    <a:cubicBezTo>
                      <a:pt x="43" y="21"/>
                      <a:pt x="54" y="21"/>
                      <a:pt x="48" y="20"/>
                    </a:cubicBezTo>
                    <a:cubicBezTo>
                      <a:pt x="43" y="20"/>
                      <a:pt x="49" y="20"/>
                      <a:pt x="46" y="17"/>
                    </a:cubicBezTo>
                    <a:cubicBezTo>
                      <a:pt x="43" y="15"/>
                      <a:pt x="48" y="10"/>
                      <a:pt x="57" y="15"/>
                    </a:cubicBezTo>
                    <a:cubicBezTo>
                      <a:pt x="63" y="17"/>
                      <a:pt x="64" y="12"/>
                      <a:pt x="67" y="12"/>
                    </a:cubicBezTo>
                    <a:cubicBezTo>
                      <a:pt x="72" y="14"/>
                      <a:pt x="69" y="9"/>
                      <a:pt x="76" y="4"/>
                    </a:cubicBezTo>
                    <a:cubicBezTo>
                      <a:pt x="78" y="4"/>
                      <a:pt x="78" y="4"/>
                      <a:pt x="78" y="4"/>
                    </a:cubicBezTo>
                    <a:cubicBezTo>
                      <a:pt x="83" y="3"/>
                      <a:pt x="81" y="1"/>
                      <a:pt x="87" y="0"/>
                    </a:cubicBezTo>
                    <a:cubicBezTo>
                      <a:pt x="93" y="0"/>
                      <a:pt x="92" y="4"/>
                      <a:pt x="93" y="4"/>
                    </a:cubicBezTo>
                    <a:cubicBezTo>
                      <a:pt x="95" y="3"/>
                      <a:pt x="95" y="7"/>
                      <a:pt x="96" y="4"/>
                    </a:cubicBezTo>
                    <a:cubicBezTo>
                      <a:pt x="96" y="3"/>
                      <a:pt x="99" y="4"/>
                      <a:pt x="96" y="7"/>
                    </a:cubicBezTo>
                    <a:cubicBezTo>
                      <a:pt x="95" y="10"/>
                      <a:pt x="98" y="10"/>
                      <a:pt x="95" y="14"/>
                    </a:cubicBezTo>
                    <a:cubicBezTo>
                      <a:pt x="89" y="18"/>
                      <a:pt x="93" y="20"/>
                      <a:pt x="89" y="20"/>
                    </a:cubicBezTo>
                    <a:cubicBezTo>
                      <a:pt x="83" y="21"/>
                      <a:pt x="87" y="23"/>
                      <a:pt x="86" y="24"/>
                    </a:cubicBezTo>
                    <a:cubicBezTo>
                      <a:pt x="84" y="29"/>
                      <a:pt x="90" y="29"/>
                      <a:pt x="90" y="31"/>
                    </a:cubicBezTo>
                    <a:cubicBezTo>
                      <a:pt x="89" y="32"/>
                      <a:pt x="93" y="35"/>
                      <a:pt x="89" y="37"/>
                    </a:cubicBezTo>
                    <a:cubicBezTo>
                      <a:pt x="87" y="37"/>
                      <a:pt x="87" y="40"/>
                      <a:pt x="86" y="37"/>
                    </a:cubicBezTo>
                    <a:cubicBezTo>
                      <a:pt x="84" y="35"/>
                      <a:pt x="81" y="35"/>
                      <a:pt x="83" y="38"/>
                    </a:cubicBezTo>
                    <a:cubicBezTo>
                      <a:pt x="84" y="40"/>
                      <a:pt x="86" y="43"/>
                      <a:pt x="84" y="48"/>
                    </a:cubicBezTo>
                    <a:cubicBezTo>
                      <a:pt x="84" y="52"/>
                      <a:pt x="87" y="46"/>
                      <a:pt x="89" y="49"/>
                    </a:cubicBezTo>
                    <a:cubicBezTo>
                      <a:pt x="92" y="56"/>
                      <a:pt x="92" y="51"/>
                      <a:pt x="95" y="54"/>
                    </a:cubicBezTo>
                    <a:cubicBezTo>
                      <a:pt x="98" y="57"/>
                      <a:pt x="102" y="59"/>
                      <a:pt x="102" y="60"/>
                    </a:cubicBezTo>
                    <a:cubicBezTo>
                      <a:pt x="95" y="65"/>
                      <a:pt x="99" y="66"/>
                      <a:pt x="96" y="68"/>
                    </a:cubicBezTo>
                    <a:cubicBezTo>
                      <a:pt x="95" y="71"/>
                      <a:pt x="98" y="71"/>
                      <a:pt x="96" y="73"/>
                    </a:cubicBezTo>
                    <a:cubicBezTo>
                      <a:pt x="93" y="74"/>
                      <a:pt x="98" y="79"/>
                      <a:pt x="99" y="77"/>
                    </a:cubicBezTo>
                    <a:cubicBezTo>
                      <a:pt x="99" y="74"/>
                      <a:pt x="104" y="80"/>
                      <a:pt x="107" y="84"/>
                    </a:cubicBezTo>
                    <a:cubicBezTo>
                      <a:pt x="112" y="87"/>
                      <a:pt x="108" y="82"/>
                      <a:pt x="113" y="87"/>
                    </a:cubicBezTo>
                    <a:cubicBezTo>
                      <a:pt x="116" y="90"/>
                      <a:pt x="115" y="85"/>
                      <a:pt x="116" y="88"/>
                    </a:cubicBezTo>
                    <a:cubicBezTo>
                      <a:pt x="118" y="91"/>
                      <a:pt x="122" y="88"/>
                      <a:pt x="125" y="90"/>
                    </a:cubicBezTo>
                    <a:cubicBezTo>
                      <a:pt x="127" y="91"/>
                      <a:pt x="125" y="88"/>
                      <a:pt x="130" y="90"/>
                    </a:cubicBezTo>
                    <a:cubicBezTo>
                      <a:pt x="134" y="93"/>
                      <a:pt x="130" y="94"/>
                      <a:pt x="133" y="94"/>
                    </a:cubicBezTo>
                    <a:cubicBezTo>
                      <a:pt x="138" y="96"/>
                      <a:pt x="134" y="97"/>
                      <a:pt x="138" y="96"/>
                    </a:cubicBezTo>
                    <a:cubicBezTo>
                      <a:pt x="141" y="94"/>
                      <a:pt x="139" y="99"/>
                      <a:pt x="142" y="97"/>
                    </a:cubicBezTo>
                    <a:cubicBezTo>
                      <a:pt x="145" y="96"/>
                      <a:pt x="147" y="102"/>
                      <a:pt x="150" y="99"/>
                    </a:cubicBezTo>
                    <a:cubicBezTo>
                      <a:pt x="153" y="97"/>
                      <a:pt x="150" y="102"/>
                      <a:pt x="154" y="101"/>
                    </a:cubicBezTo>
                    <a:cubicBezTo>
                      <a:pt x="159" y="99"/>
                      <a:pt x="157" y="102"/>
                      <a:pt x="159" y="99"/>
                    </a:cubicBezTo>
                    <a:cubicBezTo>
                      <a:pt x="160" y="94"/>
                      <a:pt x="157" y="94"/>
                      <a:pt x="159" y="90"/>
                    </a:cubicBezTo>
                    <a:cubicBezTo>
                      <a:pt x="160" y="85"/>
                      <a:pt x="160" y="87"/>
                      <a:pt x="159" y="85"/>
                    </a:cubicBezTo>
                    <a:cubicBezTo>
                      <a:pt x="170" y="79"/>
                      <a:pt x="163" y="87"/>
                      <a:pt x="165" y="91"/>
                    </a:cubicBezTo>
                    <a:cubicBezTo>
                      <a:pt x="162" y="93"/>
                      <a:pt x="167" y="96"/>
                      <a:pt x="168" y="96"/>
                    </a:cubicBezTo>
                    <a:cubicBezTo>
                      <a:pt x="171" y="94"/>
                      <a:pt x="171" y="99"/>
                      <a:pt x="176" y="96"/>
                    </a:cubicBezTo>
                    <a:cubicBezTo>
                      <a:pt x="180" y="94"/>
                      <a:pt x="179" y="99"/>
                      <a:pt x="183" y="96"/>
                    </a:cubicBezTo>
                    <a:cubicBezTo>
                      <a:pt x="188" y="94"/>
                      <a:pt x="186" y="97"/>
                      <a:pt x="188" y="96"/>
                    </a:cubicBezTo>
                    <a:cubicBezTo>
                      <a:pt x="189" y="94"/>
                      <a:pt x="191" y="97"/>
                      <a:pt x="191" y="94"/>
                    </a:cubicBezTo>
                    <a:cubicBezTo>
                      <a:pt x="189" y="91"/>
                      <a:pt x="192" y="88"/>
                      <a:pt x="189" y="90"/>
                    </a:cubicBezTo>
                    <a:cubicBezTo>
                      <a:pt x="186" y="90"/>
                      <a:pt x="186" y="87"/>
                      <a:pt x="186" y="87"/>
                    </a:cubicBezTo>
                    <a:cubicBezTo>
                      <a:pt x="192" y="87"/>
                      <a:pt x="195" y="85"/>
                      <a:pt x="195" y="84"/>
                    </a:cubicBezTo>
                    <a:cubicBezTo>
                      <a:pt x="195" y="80"/>
                      <a:pt x="199" y="82"/>
                      <a:pt x="199" y="79"/>
                    </a:cubicBezTo>
                    <a:cubicBezTo>
                      <a:pt x="200" y="76"/>
                      <a:pt x="203" y="77"/>
                      <a:pt x="206" y="74"/>
                    </a:cubicBezTo>
                    <a:cubicBezTo>
                      <a:pt x="209" y="71"/>
                      <a:pt x="211" y="69"/>
                      <a:pt x="212" y="71"/>
                    </a:cubicBezTo>
                    <a:cubicBezTo>
                      <a:pt x="215" y="73"/>
                      <a:pt x="217" y="73"/>
                      <a:pt x="218" y="71"/>
                    </a:cubicBezTo>
                    <a:cubicBezTo>
                      <a:pt x="218" y="69"/>
                      <a:pt x="223" y="68"/>
                      <a:pt x="223" y="69"/>
                    </a:cubicBezTo>
                    <a:cubicBezTo>
                      <a:pt x="224" y="73"/>
                      <a:pt x="226" y="69"/>
                      <a:pt x="224" y="73"/>
                    </a:cubicBezTo>
                    <a:cubicBezTo>
                      <a:pt x="221" y="76"/>
                      <a:pt x="226" y="71"/>
                      <a:pt x="226" y="74"/>
                    </a:cubicBezTo>
                    <a:cubicBezTo>
                      <a:pt x="227" y="79"/>
                      <a:pt x="220" y="80"/>
                      <a:pt x="226" y="80"/>
                    </a:cubicBezTo>
                    <a:cubicBezTo>
                      <a:pt x="231" y="79"/>
                      <a:pt x="231" y="80"/>
                      <a:pt x="232" y="82"/>
                    </a:cubicBezTo>
                    <a:cubicBezTo>
                      <a:pt x="234" y="87"/>
                      <a:pt x="227" y="87"/>
                      <a:pt x="229" y="90"/>
                    </a:cubicBezTo>
                    <a:cubicBezTo>
                      <a:pt x="232" y="94"/>
                      <a:pt x="231" y="94"/>
                      <a:pt x="229" y="91"/>
                    </a:cubicBezTo>
                    <a:cubicBezTo>
                      <a:pt x="226" y="88"/>
                      <a:pt x="221" y="93"/>
                      <a:pt x="218" y="96"/>
                    </a:cubicBezTo>
                    <a:cubicBezTo>
                      <a:pt x="215" y="99"/>
                      <a:pt x="215" y="96"/>
                      <a:pt x="215" y="99"/>
                    </a:cubicBezTo>
                    <a:cubicBezTo>
                      <a:pt x="214" y="102"/>
                      <a:pt x="217" y="101"/>
                      <a:pt x="215" y="105"/>
                    </a:cubicBezTo>
                    <a:cubicBezTo>
                      <a:pt x="212" y="111"/>
                      <a:pt x="209" y="111"/>
                      <a:pt x="211" y="113"/>
                    </a:cubicBezTo>
                    <a:cubicBezTo>
                      <a:pt x="214" y="116"/>
                      <a:pt x="209" y="116"/>
                      <a:pt x="208" y="122"/>
                    </a:cubicBezTo>
                    <a:cubicBezTo>
                      <a:pt x="206" y="130"/>
                      <a:pt x="206" y="125"/>
                      <a:pt x="203" y="125"/>
                    </a:cubicBezTo>
                    <a:cubicBezTo>
                      <a:pt x="200" y="124"/>
                      <a:pt x="200" y="121"/>
                      <a:pt x="200" y="129"/>
                    </a:cubicBezTo>
                    <a:cubicBezTo>
                      <a:pt x="202" y="141"/>
                      <a:pt x="199" y="130"/>
                      <a:pt x="199" y="138"/>
                    </a:cubicBezTo>
                    <a:cubicBezTo>
                      <a:pt x="199" y="141"/>
                      <a:pt x="200" y="139"/>
                      <a:pt x="199" y="144"/>
                    </a:cubicBezTo>
                    <a:cubicBezTo>
                      <a:pt x="195" y="149"/>
                      <a:pt x="197" y="141"/>
                      <a:pt x="194" y="146"/>
                    </a:cubicBezTo>
                    <a:cubicBezTo>
                      <a:pt x="194" y="136"/>
                      <a:pt x="191" y="136"/>
                      <a:pt x="192" y="130"/>
                    </a:cubicBezTo>
                    <a:cubicBezTo>
                      <a:pt x="192" y="127"/>
                      <a:pt x="189" y="127"/>
                      <a:pt x="189" y="130"/>
                    </a:cubicBezTo>
                    <a:cubicBezTo>
                      <a:pt x="188" y="138"/>
                      <a:pt x="185" y="136"/>
                      <a:pt x="183" y="129"/>
                    </a:cubicBezTo>
                    <a:cubicBezTo>
                      <a:pt x="182" y="122"/>
                      <a:pt x="191" y="124"/>
                      <a:pt x="191" y="118"/>
                    </a:cubicBezTo>
                    <a:cubicBezTo>
                      <a:pt x="191" y="113"/>
                      <a:pt x="195" y="118"/>
                      <a:pt x="194" y="115"/>
                    </a:cubicBezTo>
                    <a:cubicBezTo>
                      <a:pt x="191" y="111"/>
                      <a:pt x="173" y="115"/>
                      <a:pt x="173" y="111"/>
                    </a:cubicBezTo>
                    <a:cubicBezTo>
                      <a:pt x="173" y="107"/>
                      <a:pt x="173" y="101"/>
                      <a:pt x="171" y="104"/>
                    </a:cubicBezTo>
                    <a:cubicBezTo>
                      <a:pt x="170" y="108"/>
                      <a:pt x="168" y="101"/>
                      <a:pt x="167" y="101"/>
                    </a:cubicBezTo>
                    <a:cubicBezTo>
                      <a:pt x="162" y="104"/>
                      <a:pt x="163" y="99"/>
                      <a:pt x="162" y="99"/>
                    </a:cubicBezTo>
                    <a:cubicBezTo>
                      <a:pt x="160" y="97"/>
                      <a:pt x="160" y="99"/>
                      <a:pt x="162" y="101"/>
                    </a:cubicBezTo>
                    <a:cubicBezTo>
                      <a:pt x="163" y="101"/>
                      <a:pt x="156" y="105"/>
                      <a:pt x="159" y="107"/>
                    </a:cubicBezTo>
                    <a:cubicBezTo>
                      <a:pt x="162" y="107"/>
                      <a:pt x="162" y="110"/>
                      <a:pt x="163" y="110"/>
                    </a:cubicBezTo>
                    <a:cubicBezTo>
                      <a:pt x="165" y="110"/>
                      <a:pt x="165" y="110"/>
                      <a:pt x="165" y="111"/>
                    </a:cubicBezTo>
                    <a:cubicBezTo>
                      <a:pt x="168" y="115"/>
                      <a:pt x="160" y="110"/>
                      <a:pt x="162" y="113"/>
                    </a:cubicBezTo>
                    <a:cubicBezTo>
                      <a:pt x="162" y="118"/>
                      <a:pt x="159" y="113"/>
                      <a:pt x="159" y="118"/>
                    </a:cubicBezTo>
                    <a:cubicBezTo>
                      <a:pt x="157" y="122"/>
                      <a:pt x="163" y="119"/>
                      <a:pt x="163" y="124"/>
                    </a:cubicBezTo>
                    <a:cubicBezTo>
                      <a:pt x="165" y="129"/>
                      <a:pt x="160" y="127"/>
                      <a:pt x="163" y="129"/>
                    </a:cubicBezTo>
                    <a:cubicBezTo>
                      <a:pt x="165" y="132"/>
                      <a:pt x="162" y="133"/>
                      <a:pt x="165" y="133"/>
                    </a:cubicBezTo>
                    <a:cubicBezTo>
                      <a:pt x="167" y="133"/>
                      <a:pt x="165" y="133"/>
                      <a:pt x="165" y="139"/>
                    </a:cubicBezTo>
                    <a:cubicBezTo>
                      <a:pt x="167" y="143"/>
                      <a:pt x="167" y="144"/>
                      <a:pt x="167" y="146"/>
                    </a:cubicBezTo>
                    <a:cubicBezTo>
                      <a:pt x="165" y="146"/>
                      <a:pt x="165" y="146"/>
                      <a:pt x="167" y="147"/>
                    </a:cubicBezTo>
                    <a:cubicBezTo>
                      <a:pt x="168" y="150"/>
                      <a:pt x="167" y="150"/>
                      <a:pt x="165" y="149"/>
                    </a:cubicBezTo>
                    <a:cubicBezTo>
                      <a:pt x="162" y="149"/>
                      <a:pt x="160" y="152"/>
                      <a:pt x="160" y="147"/>
                    </a:cubicBezTo>
                    <a:cubicBezTo>
                      <a:pt x="159" y="143"/>
                      <a:pt x="159" y="147"/>
                      <a:pt x="153" y="150"/>
                    </a:cubicBezTo>
                    <a:cubicBezTo>
                      <a:pt x="145" y="153"/>
                      <a:pt x="154" y="155"/>
                      <a:pt x="148" y="163"/>
                    </a:cubicBezTo>
                    <a:cubicBezTo>
                      <a:pt x="142" y="171"/>
                      <a:pt x="144" y="166"/>
                      <a:pt x="139" y="169"/>
                    </a:cubicBezTo>
                    <a:cubicBezTo>
                      <a:pt x="131" y="174"/>
                      <a:pt x="130" y="181"/>
                      <a:pt x="119" y="191"/>
                    </a:cubicBezTo>
                    <a:cubicBezTo>
                      <a:pt x="108" y="200"/>
                      <a:pt x="116" y="195"/>
                      <a:pt x="112" y="202"/>
                    </a:cubicBezTo>
                    <a:cubicBezTo>
                      <a:pt x="107" y="206"/>
                      <a:pt x="105" y="199"/>
                      <a:pt x="104" y="205"/>
                    </a:cubicBezTo>
                    <a:cubicBezTo>
                      <a:pt x="102" y="211"/>
                      <a:pt x="92" y="203"/>
                      <a:pt x="95" y="216"/>
                    </a:cubicBezTo>
                    <a:cubicBezTo>
                      <a:pt x="98" y="223"/>
                      <a:pt x="95" y="222"/>
                      <a:pt x="96" y="225"/>
                    </a:cubicBezTo>
                    <a:cubicBezTo>
                      <a:pt x="98" y="236"/>
                      <a:pt x="96" y="237"/>
                      <a:pt x="93" y="244"/>
                    </a:cubicBezTo>
                    <a:cubicBezTo>
                      <a:pt x="90" y="254"/>
                      <a:pt x="96" y="262"/>
                      <a:pt x="92" y="262"/>
                    </a:cubicBezTo>
                    <a:cubicBezTo>
                      <a:pt x="86" y="262"/>
                      <a:pt x="90" y="262"/>
                      <a:pt x="87" y="267"/>
                    </a:cubicBezTo>
                    <a:cubicBezTo>
                      <a:pt x="84" y="272"/>
                      <a:pt x="90" y="272"/>
                      <a:pt x="90" y="273"/>
                    </a:cubicBezTo>
                    <a:cubicBezTo>
                      <a:pt x="90" y="273"/>
                      <a:pt x="89" y="272"/>
                      <a:pt x="83" y="273"/>
                    </a:cubicBezTo>
                    <a:cubicBezTo>
                      <a:pt x="78" y="275"/>
                      <a:pt x="83" y="278"/>
                      <a:pt x="76" y="282"/>
                    </a:cubicBezTo>
                    <a:cubicBezTo>
                      <a:pt x="72" y="289"/>
                      <a:pt x="66" y="276"/>
                      <a:pt x="63" y="261"/>
                    </a:cubicBezTo>
                    <a:cubicBezTo>
                      <a:pt x="60" y="245"/>
                      <a:pt x="54" y="245"/>
                      <a:pt x="54" y="236"/>
                    </a:cubicBezTo>
                    <a:cubicBezTo>
                      <a:pt x="52" y="227"/>
                      <a:pt x="46" y="211"/>
                      <a:pt x="43" y="206"/>
                    </a:cubicBezTo>
                    <a:cubicBezTo>
                      <a:pt x="41" y="203"/>
                      <a:pt x="40" y="194"/>
                      <a:pt x="37" y="177"/>
                    </a:cubicBezTo>
                    <a:cubicBezTo>
                      <a:pt x="34" y="160"/>
                      <a:pt x="40" y="161"/>
                      <a:pt x="37" y="155"/>
                    </a:cubicBezTo>
                    <a:cubicBezTo>
                      <a:pt x="34" y="149"/>
                      <a:pt x="37" y="150"/>
                      <a:pt x="35" y="147"/>
                    </a:cubicBezTo>
                    <a:cubicBezTo>
                      <a:pt x="34" y="144"/>
                      <a:pt x="38" y="141"/>
                      <a:pt x="34" y="143"/>
                    </a:cubicBezTo>
                    <a:cubicBezTo>
                      <a:pt x="31" y="144"/>
                      <a:pt x="35" y="150"/>
                      <a:pt x="31" y="153"/>
                    </a:cubicBezTo>
                    <a:cubicBezTo>
                      <a:pt x="22" y="161"/>
                      <a:pt x="20" y="160"/>
                      <a:pt x="11" y="149"/>
                    </a:cubicBezTo>
                    <a:cubicBezTo>
                      <a:pt x="2" y="136"/>
                      <a:pt x="6" y="143"/>
                      <a:pt x="12" y="141"/>
                    </a:cubicBezTo>
                    <a:cubicBezTo>
                      <a:pt x="20" y="139"/>
                      <a:pt x="19" y="133"/>
                      <a:pt x="14" y="136"/>
                    </a:cubicBezTo>
                    <a:cubicBezTo>
                      <a:pt x="11" y="139"/>
                      <a:pt x="5" y="135"/>
                      <a:pt x="3" y="132"/>
                    </a:cubicBezTo>
                    <a:cubicBezTo>
                      <a:pt x="2" y="129"/>
                      <a:pt x="0" y="130"/>
                      <a:pt x="0" y="129"/>
                    </a:cubicBezTo>
                    <a:cubicBezTo>
                      <a:pt x="0" y="124"/>
                      <a:pt x="6" y="127"/>
                      <a:pt x="5" y="124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48" name="Freeform 42"/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5796228" y="3068474"/>
                <a:ext cx="154395" cy="101759"/>
              </a:xfrm>
              <a:custGeom>
                <a:avLst/>
                <a:gdLst/>
                <a:ahLst/>
                <a:cxnLst>
                  <a:cxn ang="0">
                    <a:pos x="9" y="3"/>
                  </a:cxn>
                  <a:cxn ang="0">
                    <a:pos x="3" y="11"/>
                  </a:cxn>
                  <a:cxn ang="0">
                    <a:pos x="3" y="16"/>
                  </a:cxn>
                  <a:cxn ang="0">
                    <a:pos x="6" y="20"/>
                  </a:cxn>
                  <a:cxn ang="0">
                    <a:pos x="14" y="27"/>
                  </a:cxn>
                  <a:cxn ang="0">
                    <a:pos x="20" y="30"/>
                  </a:cxn>
                  <a:cxn ang="0">
                    <a:pos x="23" y="31"/>
                  </a:cxn>
                  <a:cxn ang="0">
                    <a:pos x="32" y="33"/>
                  </a:cxn>
                  <a:cxn ang="0">
                    <a:pos x="37" y="33"/>
                  </a:cxn>
                  <a:cxn ang="0">
                    <a:pos x="40" y="37"/>
                  </a:cxn>
                  <a:cxn ang="0">
                    <a:pos x="45" y="39"/>
                  </a:cxn>
                  <a:cxn ang="0">
                    <a:pos x="49" y="40"/>
                  </a:cxn>
                  <a:cxn ang="0">
                    <a:pos x="57" y="42"/>
                  </a:cxn>
                  <a:cxn ang="0">
                    <a:pos x="62" y="44"/>
                  </a:cxn>
                  <a:cxn ang="0">
                    <a:pos x="66" y="42"/>
                  </a:cxn>
                  <a:cxn ang="0">
                    <a:pos x="66" y="33"/>
                  </a:cxn>
                  <a:cxn ang="0">
                    <a:pos x="66" y="28"/>
                  </a:cxn>
                  <a:cxn ang="0">
                    <a:pos x="63" y="28"/>
                  </a:cxn>
                  <a:cxn ang="0">
                    <a:pos x="60" y="28"/>
                  </a:cxn>
                  <a:cxn ang="0">
                    <a:pos x="54" y="27"/>
                  </a:cxn>
                  <a:cxn ang="0">
                    <a:pos x="51" y="27"/>
                  </a:cxn>
                  <a:cxn ang="0">
                    <a:pos x="49" y="28"/>
                  </a:cxn>
                  <a:cxn ang="0">
                    <a:pos x="46" y="23"/>
                  </a:cxn>
                  <a:cxn ang="0">
                    <a:pos x="43" y="22"/>
                  </a:cxn>
                  <a:cxn ang="0">
                    <a:pos x="42" y="20"/>
                  </a:cxn>
                  <a:cxn ang="0">
                    <a:pos x="35" y="16"/>
                  </a:cxn>
                  <a:cxn ang="0">
                    <a:pos x="31" y="14"/>
                  </a:cxn>
                  <a:cxn ang="0">
                    <a:pos x="26" y="9"/>
                  </a:cxn>
                  <a:cxn ang="0">
                    <a:pos x="20" y="6"/>
                  </a:cxn>
                  <a:cxn ang="0">
                    <a:pos x="15" y="2"/>
                  </a:cxn>
                  <a:cxn ang="0">
                    <a:pos x="9" y="3"/>
                  </a:cxn>
                </a:cxnLst>
                <a:rect l="0" t="0" r="r" b="b"/>
                <a:pathLst>
                  <a:path w="68" h="45">
                    <a:moveTo>
                      <a:pt x="9" y="3"/>
                    </a:moveTo>
                    <a:cubicBezTo>
                      <a:pt x="2" y="8"/>
                      <a:pt x="6" y="9"/>
                      <a:pt x="3" y="11"/>
                    </a:cubicBezTo>
                    <a:cubicBezTo>
                      <a:pt x="2" y="14"/>
                      <a:pt x="5" y="14"/>
                      <a:pt x="3" y="16"/>
                    </a:cubicBezTo>
                    <a:cubicBezTo>
                      <a:pt x="0" y="17"/>
                      <a:pt x="5" y="22"/>
                      <a:pt x="6" y="20"/>
                    </a:cubicBezTo>
                    <a:cubicBezTo>
                      <a:pt x="6" y="17"/>
                      <a:pt x="11" y="23"/>
                      <a:pt x="14" y="27"/>
                    </a:cubicBezTo>
                    <a:cubicBezTo>
                      <a:pt x="19" y="30"/>
                      <a:pt x="15" y="25"/>
                      <a:pt x="20" y="30"/>
                    </a:cubicBezTo>
                    <a:cubicBezTo>
                      <a:pt x="23" y="33"/>
                      <a:pt x="22" y="28"/>
                      <a:pt x="23" y="31"/>
                    </a:cubicBezTo>
                    <a:cubicBezTo>
                      <a:pt x="25" y="34"/>
                      <a:pt x="29" y="31"/>
                      <a:pt x="32" y="33"/>
                    </a:cubicBezTo>
                    <a:cubicBezTo>
                      <a:pt x="34" y="34"/>
                      <a:pt x="32" y="31"/>
                      <a:pt x="37" y="33"/>
                    </a:cubicBezTo>
                    <a:cubicBezTo>
                      <a:pt x="42" y="36"/>
                      <a:pt x="37" y="37"/>
                      <a:pt x="40" y="37"/>
                    </a:cubicBezTo>
                    <a:cubicBezTo>
                      <a:pt x="45" y="39"/>
                      <a:pt x="42" y="40"/>
                      <a:pt x="45" y="39"/>
                    </a:cubicBezTo>
                    <a:cubicBezTo>
                      <a:pt x="48" y="37"/>
                      <a:pt x="46" y="42"/>
                      <a:pt x="49" y="40"/>
                    </a:cubicBezTo>
                    <a:cubicBezTo>
                      <a:pt x="52" y="39"/>
                      <a:pt x="54" y="45"/>
                      <a:pt x="57" y="42"/>
                    </a:cubicBezTo>
                    <a:cubicBezTo>
                      <a:pt x="60" y="40"/>
                      <a:pt x="57" y="45"/>
                      <a:pt x="62" y="44"/>
                    </a:cubicBezTo>
                    <a:cubicBezTo>
                      <a:pt x="66" y="42"/>
                      <a:pt x="65" y="45"/>
                      <a:pt x="66" y="42"/>
                    </a:cubicBezTo>
                    <a:cubicBezTo>
                      <a:pt x="68" y="37"/>
                      <a:pt x="65" y="37"/>
                      <a:pt x="66" y="33"/>
                    </a:cubicBezTo>
                    <a:cubicBezTo>
                      <a:pt x="68" y="28"/>
                      <a:pt x="68" y="30"/>
                      <a:pt x="66" y="28"/>
                    </a:cubicBezTo>
                    <a:cubicBezTo>
                      <a:pt x="66" y="28"/>
                      <a:pt x="65" y="28"/>
                      <a:pt x="63" y="28"/>
                    </a:cubicBezTo>
                    <a:cubicBezTo>
                      <a:pt x="63" y="30"/>
                      <a:pt x="63" y="28"/>
                      <a:pt x="60" y="28"/>
                    </a:cubicBezTo>
                    <a:cubicBezTo>
                      <a:pt x="58" y="30"/>
                      <a:pt x="55" y="23"/>
                      <a:pt x="54" y="27"/>
                    </a:cubicBezTo>
                    <a:cubicBezTo>
                      <a:pt x="54" y="28"/>
                      <a:pt x="52" y="28"/>
                      <a:pt x="51" y="27"/>
                    </a:cubicBezTo>
                    <a:cubicBezTo>
                      <a:pt x="49" y="23"/>
                      <a:pt x="51" y="28"/>
                      <a:pt x="49" y="28"/>
                    </a:cubicBezTo>
                    <a:cubicBezTo>
                      <a:pt x="48" y="28"/>
                      <a:pt x="48" y="23"/>
                      <a:pt x="46" y="23"/>
                    </a:cubicBezTo>
                    <a:cubicBezTo>
                      <a:pt x="43" y="23"/>
                      <a:pt x="42" y="25"/>
                      <a:pt x="43" y="22"/>
                    </a:cubicBezTo>
                    <a:cubicBezTo>
                      <a:pt x="43" y="20"/>
                      <a:pt x="43" y="20"/>
                      <a:pt x="42" y="20"/>
                    </a:cubicBezTo>
                    <a:cubicBezTo>
                      <a:pt x="40" y="22"/>
                      <a:pt x="35" y="19"/>
                      <a:pt x="35" y="16"/>
                    </a:cubicBezTo>
                    <a:cubicBezTo>
                      <a:pt x="35" y="12"/>
                      <a:pt x="34" y="14"/>
                      <a:pt x="31" y="14"/>
                    </a:cubicBezTo>
                    <a:cubicBezTo>
                      <a:pt x="29" y="16"/>
                      <a:pt x="28" y="9"/>
                      <a:pt x="26" y="9"/>
                    </a:cubicBezTo>
                    <a:cubicBezTo>
                      <a:pt x="23" y="9"/>
                      <a:pt x="23" y="6"/>
                      <a:pt x="20" y="6"/>
                    </a:cubicBezTo>
                    <a:cubicBezTo>
                      <a:pt x="17" y="5"/>
                      <a:pt x="22" y="3"/>
                      <a:pt x="15" y="2"/>
                    </a:cubicBezTo>
                    <a:cubicBezTo>
                      <a:pt x="11" y="0"/>
                      <a:pt x="12" y="9"/>
                      <a:pt x="9" y="3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49" name="Freeform 43"/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5952962" y="3118768"/>
                <a:ext cx="67840" cy="44446"/>
              </a:xfrm>
              <a:custGeom>
                <a:avLst/>
                <a:gdLst/>
                <a:ahLst/>
                <a:cxnLst>
                  <a:cxn ang="0">
                    <a:pos x="3" y="12"/>
                  </a:cxn>
                  <a:cxn ang="0">
                    <a:pos x="6" y="17"/>
                  </a:cxn>
                  <a:cxn ang="0">
                    <a:pos x="14" y="17"/>
                  </a:cxn>
                  <a:cxn ang="0">
                    <a:pos x="21" y="17"/>
                  </a:cxn>
                  <a:cxn ang="0">
                    <a:pos x="26" y="17"/>
                  </a:cxn>
                  <a:cxn ang="0">
                    <a:pos x="29" y="15"/>
                  </a:cxn>
                  <a:cxn ang="0">
                    <a:pos x="27" y="11"/>
                  </a:cxn>
                  <a:cxn ang="0">
                    <a:pos x="24" y="8"/>
                  </a:cxn>
                  <a:cxn ang="0">
                    <a:pos x="23" y="4"/>
                  </a:cxn>
                  <a:cxn ang="0">
                    <a:pos x="20" y="4"/>
                  </a:cxn>
                  <a:cxn ang="0">
                    <a:pos x="15" y="3"/>
                  </a:cxn>
                  <a:cxn ang="0">
                    <a:pos x="9" y="4"/>
                  </a:cxn>
                  <a:cxn ang="0">
                    <a:pos x="6" y="8"/>
                  </a:cxn>
                  <a:cxn ang="0">
                    <a:pos x="3" y="12"/>
                  </a:cxn>
                </a:cxnLst>
                <a:rect l="0" t="0" r="r" b="b"/>
                <a:pathLst>
                  <a:path w="30" h="20">
                    <a:moveTo>
                      <a:pt x="3" y="12"/>
                    </a:moveTo>
                    <a:cubicBezTo>
                      <a:pt x="0" y="14"/>
                      <a:pt x="5" y="17"/>
                      <a:pt x="6" y="17"/>
                    </a:cubicBezTo>
                    <a:cubicBezTo>
                      <a:pt x="9" y="15"/>
                      <a:pt x="9" y="20"/>
                      <a:pt x="14" y="17"/>
                    </a:cubicBezTo>
                    <a:cubicBezTo>
                      <a:pt x="18" y="15"/>
                      <a:pt x="17" y="20"/>
                      <a:pt x="21" y="17"/>
                    </a:cubicBezTo>
                    <a:cubicBezTo>
                      <a:pt x="26" y="15"/>
                      <a:pt x="24" y="19"/>
                      <a:pt x="26" y="17"/>
                    </a:cubicBezTo>
                    <a:cubicBezTo>
                      <a:pt x="27" y="15"/>
                      <a:pt x="29" y="19"/>
                      <a:pt x="29" y="15"/>
                    </a:cubicBezTo>
                    <a:cubicBezTo>
                      <a:pt x="27" y="12"/>
                      <a:pt x="30" y="9"/>
                      <a:pt x="27" y="11"/>
                    </a:cubicBezTo>
                    <a:cubicBezTo>
                      <a:pt x="24" y="11"/>
                      <a:pt x="24" y="8"/>
                      <a:pt x="24" y="8"/>
                    </a:cubicBezTo>
                    <a:cubicBezTo>
                      <a:pt x="26" y="4"/>
                      <a:pt x="24" y="4"/>
                      <a:pt x="23" y="4"/>
                    </a:cubicBezTo>
                    <a:cubicBezTo>
                      <a:pt x="21" y="3"/>
                      <a:pt x="21" y="6"/>
                      <a:pt x="20" y="4"/>
                    </a:cubicBezTo>
                    <a:cubicBezTo>
                      <a:pt x="18" y="3"/>
                      <a:pt x="14" y="4"/>
                      <a:pt x="15" y="3"/>
                    </a:cubicBezTo>
                    <a:cubicBezTo>
                      <a:pt x="17" y="1"/>
                      <a:pt x="11" y="0"/>
                      <a:pt x="9" y="4"/>
                    </a:cubicBezTo>
                    <a:cubicBezTo>
                      <a:pt x="8" y="8"/>
                      <a:pt x="6" y="4"/>
                      <a:pt x="6" y="8"/>
                    </a:cubicBezTo>
                    <a:cubicBezTo>
                      <a:pt x="5" y="11"/>
                      <a:pt x="5" y="9"/>
                      <a:pt x="3" y="12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50" name="Freeform 44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5940096" y="3160875"/>
                <a:ext cx="87725" cy="143865"/>
              </a:xfrm>
              <a:custGeom>
                <a:avLst/>
                <a:gdLst/>
                <a:ahLst/>
                <a:cxnLst>
                  <a:cxn ang="0">
                    <a:pos x="9" y="41"/>
                  </a:cxn>
                  <a:cxn ang="0">
                    <a:pos x="9" y="35"/>
                  </a:cxn>
                  <a:cxn ang="0">
                    <a:pos x="8" y="31"/>
                  </a:cxn>
                  <a:cxn ang="0">
                    <a:pos x="8" y="26"/>
                  </a:cxn>
                  <a:cxn ang="0">
                    <a:pos x="3" y="20"/>
                  </a:cxn>
                  <a:cxn ang="0">
                    <a:pos x="6" y="15"/>
                  </a:cxn>
                  <a:cxn ang="0">
                    <a:pos x="9" y="13"/>
                  </a:cxn>
                  <a:cxn ang="0">
                    <a:pos x="8" y="12"/>
                  </a:cxn>
                  <a:cxn ang="0">
                    <a:pos x="3" y="9"/>
                  </a:cxn>
                  <a:cxn ang="0">
                    <a:pos x="6" y="3"/>
                  </a:cxn>
                  <a:cxn ang="0">
                    <a:pos x="6" y="1"/>
                  </a:cxn>
                  <a:cxn ang="0">
                    <a:pos x="11" y="3"/>
                  </a:cxn>
                  <a:cxn ang="0">
                    <a:pos x="15" y="6"/>
                  </a:cxn>
                  <a:cxn ang="0">
                    <a:pos x="17" y="13"/>
                  </a:cxn>
                  <a:cxn ang="0">
                    <a:pos x="38" y="17"/>
                  </a:cxn>
                  <a:cxn ang="0">
                    <a:pos x="35" y="20"/>
                  </a:cxn>
                  <a:cxn ang="0">
                    <a:pos x="27" y="31"/>
                  </a:cxn>
                  <a:cxn ang="0">
                    <a:pos x="33" y="32"/>
                  </a:cxn>
                  <a:cxn ang="0">
                    <a:pos x="36" y="32"/>
                  </a:cxn>
                  <a:cxn ang="0">
                    <a:pos x="38" y="48"/>
                  </a:cxn>
                  <a:cxn ang="0">
                    <a:pos x="35" y="57"/>
                  </a:cxn>
                  <a:cxn ang="0">
                    <a:pos x="35" y="57"/>
                  </a:cxn>
                  <a:cxn ang="0">
                    <a:pos x="33" y="52"/>
                  </a:cxn>
                  <a:cxn ang="0">
                    <a:pos x="33" y="48"/>
                  </a:cxn>
                  <a:cxn ang="0">
                    <a:pos x="29" y="40"/>
                  </a:cxn>
                  <a:cxn ang="0">
                    <a:pos x="24" y="38"/>
                  </a:cxn>
                  <a:cxn ang="0">
                    <a:pos x="23" y="32"/>
                  </a:cxn>
                  <a:cxn ang="0">
                    <a:pos x="21" y="34"/>
                  </a:cxn>
                  <a:cxn ang="0">
                    <a:pos x="23" y="41"/>
                  </a:cxn>
                  <a:cxn ang="0">
                    <a:pos x="18" y="49"/>
                  </a:cxn>
                  <a:cxn ang="0">
                    <a:pos x="15" y="49"/>
                  </a:cxn>
                  <a:cxn ang="0">
                    <a:pos x="11" y="48"/>
                  </a:cxn>
                  <a:cxn ang="0">
                    <a:pos x="9" y="41"/>
                  </a:cxn>
                </a:cxnLst>
                <a:rect l="0" t="0" r="r" b="b"/>
                <a:pathLst>
                  <a:path w="39" h="63">
                    <a:moveTo>
                      <a:pt x="9" y="41"/>
                    </a:moveTo>
                    <a:cubicBezTo>
                      <a:pt x="9" y="35"/>
                      <a:pt x="11" y="35"/>
                      <a:pt x="9" y="35"/>
                    </a:cubicBezTo>
                    <a:cubicBezTo>
                      <a:pt x="6" y="35"/>
                      <a:pt x="9" y="34"/>
                      <a:pt x="8" y="31"/>
                    </a:cubicBezTo>
                    <a:cubicBezTo>
                      <a:pt x="5" y="29"/>
                      <a:pt x="9" y="31"/>
                      <a:pt x="8" y="26"/>
                    </a:cubicBezTo>
                    <a:cubicBezTo>
                      <a:pt x="8" y="21"/>
                      <a:pt x="2" y="24"/>
                      <a:pt x="3" y="20"/>
                    </a:cubicBezTo>
                    <a:cubicBezTo>
                      <a:pt x="3" y="15"/>
                      <a:pt x="6" y="20"/>
                      <a:pt x="6" y="15"/>
                    </a:cubicBezTo>
                    <a:cubicBezTo>
                      <a:pt x="5" y="12"/>
                      <a:pt x="12" y="17"/>
                      <a:pt x="9" y="13"/>
                    </a:cubicBezTo>
                    <a:cubicBezTo>
                      <a:pt x="9" y="12"/>
                      <a:pt x="9" y="12"/>
                      <a:pt x="8" y="12"/>
                    </a:cubicBezTo>
                    <a:cubicBezTo>
                      <a:pt x="6" y="12"/>
                      <a:pt x="6" y="9"/>
                      <a:pt x="3" y="9"/>
                    </a:cubicBezTo>
                    <a:cubicBezTo>
                      <a:pt x="0" y="7"/>
                      <a:pt x="8" y="3"/>
                      <a:pt x="6" y="3"/>
                    </a:cubicBezTo>
                    <a:cubicBezTo>
                      <a:pt x="5" y="1"/>
                      <a:pt x="5" y="0"/>
                      <a:pt x="6" y="1"/>
                    </a:cubicBezTo>
                    <a:cubicBezTo>
                      <a:pt x="8" y="1"/>
                      <a:pt x="6" y="6"/>
                      <a:pt x="11" y="3"/>
                    </a:cubicBezTo>
                    <a:cubicBezTo>
                      <a:pt x="12" y="3"/>
                      <a:pt x="14" y="10"/>
                      <a:pt x="15" y="6"/>
                    </a:cubicBezTo>
                    <a:cubicBezTo>
                      <a:pt x="17" y="3"/>
                      <a:pt x="17" y="9"/>
                      <a:pt x="17" y="13"/>
                    </a:cubicBezTo>
                    <a:cubicBezTo>
                      <a:pt x="17" y="17"/>
                      <a:pt x="35" y="13"/>
                      <a:pt x="38" y="17"/>
                    </a:cubicBezTo>
                    <a:cubicBezTo>
                      <a:pt x="39" y="20"/>
                      <a:pt x="35" y="15"/>
                      <a:pt x="35" y="20"/>
                    </a:cubicBezTo>
                    <a:cubicBezTo>
                      <a:pt x="35" y="26"/>
                      <a:pt x="26" y="24"/>
                      <a:pt x="27" y="31"/>
                    </a:cubicBezTo>
                    <a:cubicBezTo>
                      <a:pt x="29" y="38"/>
                      <a:pt x="32" y="40"/>
                      <a:pt x="33" y="32"/>
                    </a:cubicBezTo>
                    <a:cubicBezTo>
                      <a:pt x="33" y="29"/>
                      <a:pt x="36" y="29"/>
                      <a:pt x="36" y="32"/>
                    </a:cubicBezTo>
                    <a:cubicBezTo>
                      <a:pt x="35" y="38"/>
                      <a:pt x="38" y="38"/>
                      <a:pt x="38" y="48"/>
                    </a:cubicBezTo>
                    <a:cubicBezTo>
                      <a:pt x="39" y="63"/>
                      <a:pt x="35" y="46"/>
                      <a:pt x="35" y="57"/>
                    </a:cubicBezTo>
                    <a:cubicBezTo>
                      <a:pt x="36" y="60"/>
                      <a:pt x="35" y="59"/>
                      <a:pt x="35" y="57"/>
                    </a:cubicBezTo>
                    <a:cubicBezTo>
                      <a:pt x="33" y="55"/>
                      <a:pt x="33" y="54"/>
                      <a:pt x="33" y="52"/>
                    </a:cubicBezTo>
                    <a:cubicBezTo>
                      <a:pt x="35" y="51"/>
                      <a:pt x="33" y="51"/>
                      <a:pt x="33" y="48"/>
                    </a:cubicBezTo>
                    <a:cubicBezTo>
                      <a:pt x="30" y="41"/>
                      <a:pt x="30" y="38"/>
                      <a:pt x="29" y="40"/>
                    </a:cubicBezTo>
                    <a:cubicBezTo>
                      <a:pt x="26" y="43"/>
                      <a:pt x="24" y="41"/>
                      <a:pt x="24" y="38"/>
                    </a:cubicBezTo>
                    <a:cubicBezTo>
                      <a:pt x="23" y="35"/>
                      <a:pt x="23" y="31"/>
                      <a:pt x="23" y="32"/>
                    </a:cubicBezTo>
                    <a:cubicBezTo>
                      <a:pt x="21" y="34"/>
                      <a:pt x="21" y="32"/>
                      <a:pt x="21" y="34"/>
                    </a:cubicBezTo>
                    <a:cubicBezTo>
                      <a:pt x="23" y="37"/>
                      <a:pt x="21" y="38"/>
                      <a:pt x="23" y="41"/>
                    </a:cubicBezTo>
                    <a:cubicBezTo>
                      <a:pt x="23" y="45"/>
                      <a:pt x="20" y="51"/>
                      <a:pt x="18" y="49"/>
                    </a:cubicBezTo>
                    <a:cubicBezTo>
                      <a:pt x="17" y="46"/>
                      <a:pt x="15" y="52"/>
                      <a:pt x="15" y="49"/>
                    </a:cubicBezTo>
                    <a:cubicBezTo>
                      <a:pt x="14" y="48"/>
                      <a:pt x="12" y="52"/>
                      <a:pt x="11" y="48"/>
                    </a:cubicBezTo>
                    <a:cubicBezTo>
                      <a:pt x="11" y="46"/>
                      <a:pt x="11" y="45"/>
                      <a:pt x="9" y="41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51" name="Freeform 45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5450009" y="2873144"/>
                <a:ext cx="258494" cy="231589"/>
              </a:xfrm>
              <a:custGeom>
                <a:avLst/>
                <a:gdLst/>
                <a:ahLst/>
                <a:cxnLst>
                  <a:cxn ang="0">
                    <a:pos x="6" y="33"/>
                  </a:cxn>
                  <a:cxn ang="0">
                    <a:pos x="0" y="50"/>
                  </a:cxn>
                  <a:cxn ang="0">
                    <a:pos x="3" y="74"/>
                  </a:cxn>
                  <a:cxn ang="0">
                    <a:pos x="10" y="80"/>
                  </a:cxn>
                  <a:cxn ang="0">
                    <a:pos x="3" y="94"/>
                  </a:cxn>
                  <a:cxn ang="0">
                    <a:pos x="29" y="97"/>
                  </a:cxn>
                  <a:cxn ang="0">
                    <a:pos x="47" y="88"/>
                  </a:cxn>
                  <a:cxn ang="0">
                    <a:pos x="59" y="75"/>
                  </a:cxn>
                  <a:cxn ang="0">
                    <a:pos x="69" y="74"/>
                  </a:cxn>
                  <a:cxn ang="0">
                    <a:pos x="70" y="64"/>
                  </a:cxn>
                  <a:cxn ang="0">
                    <a:pos x="76" y="53"/>
                  </a:cxn>
                  <a:cxn ang="0">
                    <a:pos x="85" y="46"/>
                  </a:cxn>
                  <a:cxn ang="0">
                    <a:pos x="87" y="33"/>
                  </a:cxn>
                  <a:cxn ang="0">
                    <a:pos x="96" y="21"/>
                  </a:cxn>
                  <a:cxn ang="0">
                    <a:pos x="111" y="16"/>
                  </a:cxn>
                  <a:cxn ang="0">
                    <a:pos x="113" y="15"/>
                  </a:cxn>
                  <a:cxn ang="0">
                    <a:pos x="108" y="13"/>
                  </a:cxn>
                  <a:cxn ang="0">
                    <a:pos x="105" y="13"/>
                  </a:cxn>
                  <a:cxn ang="0">
                    <a:pos x="101" y="13"/>
                  </a:cxn>
                  <a:cxn ang="0">
                    <a:pos x="97" y="16"/>
                  </a:cxn>
                  <a:cxn ang="0">
                    <a:pos x="91" y="19"/>
                  </a:cxn>
                  <a:cxn ang="0">
                    <a:pos x="88" y="10"/>
                  </a:cxn>
                  <a:cxn ang="0">
                    <a:pos x="85" y="7"/>
                  </a:cxn>
                  <a:cxn ang="0">
                    <a:pos x="84" y="2"/>
                  </a:cxn>
                  <a:cxn ang="0">
                    <a:pos x="78" y="7"/>
                  </a:cxn>
                  <a:cxn ang="0">
                    <a:pos x="78" y="11"/>
                  </a:cxn>
                  <a:cxn ang="0">
                    <a:pos x="72" y="11"/>
                  </a:cxn>
                  <a:cxn ang="0">
                    <a:pos x="70" y="16"/>
                  </a:cxn>
                  <a:cxn ang="0">
                    <a:pos x="67" y="15"/>
                  </a:cxn>
                  <a:cxn ang="0">
                    <a:pos x="61" y="16"/>
                  </a:cxn>
                  <a:cxn ang="0">
                    <a:pos x="58" y="16"/>
                  </a:cxn>
                  <a:cxn ang="0">
                    <a:pos x="55" y="15"/>
                  </a:cxn>
                  <a:cxn ang="0">
                    <a:pos x="49" y="13"/>
                  </a:cxn>
                  <a:cxn ang="0">
                    <a:pos x="41" y="13"/>
                  </a:cxn>
                  <a:cxn ang="0">
                    <a:pos x="33" y="21"/>
                  </a:cxn>
                  <a:cxn ang="0">
                    <a:pos x="24" y="28"/>
                  </a:cxn>
                  <a:cxn ang="0">
                    <a:pos x="17" y="36"/>
                  </a:cxn>
                  <a:cxn ang="0">
                    <a:pos x="10" y="35"/>
                  </a:cxn>
                  <a:cxn ang="0">
                    <a:pos x="6" y="33"/>
                  </a:cxn>
                </a:cxnLst>
                <a:rect l="0" t="0" r="r" b="b"/>
                <a:pathLst>
                  <a:path w="114" h="102">
                    <a:moveTo>
                      <a:pt x="6" y="33"/>
                    </a:moveTo>
                    <a:cubicBezTo>
                      <a:pt x="4" y="47"/>
                      <a:pt x="0" y="43"/>
                      <a:pt x="0" y="50"/>
                    </a:cubicBezTo>
                    <a:cubicBezTo>
                      <a:pt x="1" y="58"/>
                      <a:pt x="3" y="66"/>
                      <a:pt x="3" y="74"/>
                    </a:cubicBezTo>
                    <a:cubicBezTo>
                      <a:pt x="1" y="81"/>
                      <a:pt x="10" y="74"/>
                      <a:pt x="10" y="80"/>
                    </a:cubicBezTo>
                    <a:cubicBezTo>
                      <a:pt x="12" y="86"/>
                      <a:pt x="3" y="89"/>
                      <a:pt x="3" y="94"/>
                    </a:cubicBezTo>
                    <a:cubicBezTo>
                      <a:pt x="7" y="92"/>
                      <a:pt x="14" y="102"/>
                      <a:pt x="29" y="97"/>
                    </a:cubicBezTo>
                    <a:cubicBezTo>
                      <a:pt x="46" y="94"/>
                      <a:pt x="47" y="94"/>
                      <a:pt x="47" y="88"/>
                    </a:cubicBezTo>
                    <a:cubicBezTo>
                      <a:pt x="46" y="80"/>
                      <a:pt x="55" y="78"/>
                      <a:pt x="59" y="75"/>
                    </a:cubicBezTo>
                    <a:cubicBezTo>
                      <a:pt x="64" y="70"/>
                      <a:pt x="67" y="77"/>
                      <a:pt x="69" y="74"/>
                    </a:cubicBezTo>
                    <a:cubicBezTo>
                      <a:pt x="70" y="72"/>
                      <a:pt x="69" y="70"/>
                      <a:pt x="70" y="64"/>
                    </a:cubicBezTo>
                    <a:cubicBezTo>
                      <a:pt x="73" y="56"/>
                      <a:pt x="81" y="61"/>
                      <a:pt x="76" y="53"/>
                    </a:cubicBezTo>
                    <a:cubicBezTo>
                      <a:pt x="70" y="44"/>
                      <a:pt x="85" y="55"/>
                      <a:pt x="85" y="46"/>
                    </a:cubicBezTo>
                    <a:cubicBezTo>
                      <a:pt x="85" y="41"/>
                      <a:pt x="90" y="39"/>
                      <a:pt x="87" y="33"/>
                    </a:cubicBezTo>
                    <a:cubicBezTo>
                      <a:pt x="84" y="27"/>
                      <a:pt x="85" y="24"/>
                      <a:pt x="96" y="21"/>
                    </a:cubicBezTo>
                    <a:cubicBezTo>
                      <a:pt x="105" y="16"/>
                      <a:pt x="108" y="22"/>
                      <a:pt x="111" y="16"/>
                    </a:cubicBezTo>
                    <a:cubicBezTo>
                      <a:pt x="110" y="16"/>
                      <a:pt x="110" y="15"/>
                      <a:pt x="113" y="15"/>
                    </a:cubicBezTo>
                    <a:cubicBezTo>
                      <a:pt x="114" y="13"/>
                      <a:pt x="111" y="11"/>
                      <a:pt x="108" y="13"/>
                    </a:cubicBezTo>
                    <a:cubicBezTo>
                      <a:pt x="105" y="16"/>
                      <a:pt x="104" y="16"/>
                      <a:pt x="105" y="13"/>
                    </a:cubicBezTo>
                    <a:cubicBezTo>
                      <a:pt x="107" y="11"/>
                      <a:pt x="102" y="11"/>
                      <a:pt x="101" y="13"/>
                    </a:cubicBezTo>
                    <a:cubicBezTo>
                      <a:pt x="99" y="15"/>
                      <a:pt x="97" y="15"/>
                      <a:pt x="97" y="16"/>
                    </a:cubicBezTo>
                    <a:cubicBezTo>
                      <a:pt x="97" y="18"/>
                      <a:pt x="94" y="18"/>
                      <a:pt x="91" y="19"/>
                    </a:cubicBezTo>
                    <a:cubicBezTo>
                      <a:pt x="88" y="22"/>
                      <a:pt x="87" y="19"/>
                      <a:pt x="88" y="10"/>
                    </a:cubicBezTo>
                    <a:cubicBezTo>
                      <a:pt x="88" y="4"/>
                      <a:pt x="87" y="8"/>
                      <a:pt x="85" y="7"/>
                    </a:cubicBezTo>
                    <a:cubicBezTo>
                      <a:pt x="85" y="5"/>
                      <a:pt x="88" y="4"/>
                      <a:pt x="84" y="2"/>
                    </a:cubicBezTo>
                    <a:cubicBezTo>
                      <a:pt x="79" y="0"/>
                      <a:pt x="81" y="5"/>
                      <a:pt x="78" y="7"/>
                    </a:cubicBezTo>
                    <a:cubicBezTo>
                      <a:pt x="76" y="8"/>
                      <a:pt x="79" y="10"/>
                      <a:pt x="78" y="11"/>
                    </a:cubicBezTo>
                    <a:cubicBezTo>
                      <a:pt x="76" y="13"/>
                      <a:pt x="75" y="10"/>
                      <a:pt x="72" y="11"/>
                    </a:cubicBezTo>
                    <a:cubicBezTo>
                      <a:pt x="70" y="13"/>
                      <a:pt x="72" y="16"/>
                      <a:pt x="70" y="16"/>
                    </a:cubicBezTo>
                    <a:cubicBezTo>
                      <a:pt x="70" y="16"/>
                      <a:pt x="69" y="13"/>
                      <a:pt x="67" y="15"/>
                    </a:cubicBezTo>
                    <a:cubicBezTo>
                      <a:pt x="64" y="15"/>
                      <a:pt x="62" y="15"/>
                      <a:pt x="61" y="16"/>
                    </a:cubicBezTo>
                    <a:cubicBezTo>
                      <a:pt x="61" y="19"/>
                      <a:pt x="59" y="19"/>
                      <a:pt x="58" y="16"/>
                    </a:cubicBezTo>
                    <a:cubicBezTo>
                      <a:pt x="56" y="15"/>
                      <a:pt x="56" y="15"/>
                      <a:pt x="55" y="15"/>
                    </a:cubicBezTo>
                    <a:cubicBezTo>
                      <a:pt x="53" y="16"/>
                      <a:pt x="53" y="11"/>
                      <a:pt x="49" y="13"/>
                    </a:cubicBezTo>
                    <a:cubicBezTo>
                      <a:pt x="44" y="15"/>
                      <a:pt x="43" y="10"/>
                      <a:pt x="41" y="13"/>
                    </a:cubicBezTo>
                    <a:cubicBezTo>
                      <a:pt x="38" y="16"/>
                      <a:pt x="35" y="13"/>
                      <a:pt x="33" y="21"/>
                    </a:cubicBezTo>
                    <a:cubicBezTo>
                      <a:pt x="32" y="28"/>
                      <a:pt x="27" y="27"/>
                      <a:pt x="24" y="28"/>
                    </a:cubicBezTo>
                    <a:cubicBezTo>
                      <a:pt x="21" y="30"/>
                      <a:pt x="21" y="35"/>
                      <a:pt x="17" y="36"/>
                    </a:cubicBezTo>
                    <a:cubicBezTo>
                      <a:pt x="12" y="38"/>
                      <a:pt x="15" y="33"/>
                      <a:pt x="10" y="35"/>
                    </a:cubicBezTo>
                    <a:cubicBezTo>
                      <a:pt x="7" y="35"/>
                      <a:pt x="9" y="33"/>
                      <a:pt x="6" y="33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52" name="Freeform 46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455857" y="2909402"/>
                <a:ext cx="304112" cy="321650"/>
              </a:xfrm>
              <a:custGeom>
                <a:avLst/>
                <a:gdLst/>
                <a:ahLst/>
                <a:cxnLst>
                  <a:cxn ang="0">
                    <a:pos x="108" y="0"/>
                  </a:cxn>
                  <a:cxn ang="0">
                    <a:pos x="116" y="3"/>
                  </a:cxn>
                  <a:cxn ang="0">
                    <a:pos x="120" y="6"/>
                  </a:cxn>
                  <a:cxn ang="0">
                    <a:pos x="120" y="12"/>
                  </a:cxn>
                  <a:cxn ang="0">
                    <a:pos x="125" y="14"/>
                  </a:cxn>
                  <a:cxn ang="0">
                    <a:pos x="134" y="17"/>
                  </a:cxn>
                  <a:cxn ang="0">
                    <a:pos x="125" y="25"/>
                  </a:cxn>
                  <a:cxn ang="0">
                    <a:pos x="114" y="28"/>
                  </a:cxn>
                  <a:cxn ang="0">
                    <a:pos x="103" y="30"/>
                  </a:cxn>
                  <a:cxn ang="0">
                    <a:pos x="105" y="33"/>
                  </a:cxn>
                  <a:cxn ang="0">
                    <a:pos x="105" y="37"/>
                  </a:cxn>
                  <a:cxn ang="0">
                    <a:pos x="105" y="44"/>
                  </a:cxn>
                  <a:cxn ang="0">
                    <a:pos x="108" y="47"/>
                  </a:cxn>
                  <a:cxn ang="0">
                    <a:pos x="111" y="50"/>
                  </a:cxn>
                  <a:cxn ang="0">
                    <a:pos x="111" y="54"/>
                  </a:cxn>
                  <a:cxn ang="0">
                    <a:pos x="105" y="69"/>
                  </a:cxn>
                  <a:cxn ang="0">
                    <a:pos x="102" y="75"/>
                  </a:cxn>
                  <a:cxn ang="0">
                    <a:pos x="94" y="87"/>
                  </a:cxn>
                  <a:cxn ang="0">
                    <a:pos x="90" y="93"/>
                  </a:cxn>
                  <a:cxn ang="0">
                    <a:pos x="86" y="98"/>
                  </a:cxn>
                  <a:cxn ang="0">
                    <a:pos x="77" y="98"/>
                  </a:cxn>
                  <a:cxn ang="0">
                    <a:pos x="71" y="103"/>
                  </a:cxn>
                  <a:cxn ang="0">
                    <a:pos x="71" y="110"/>
                  </a:cxn>
                  <a:cxn ang="0">
                    <a:pos x="76" y="120"/>
                  </a:cxn>
                  <a:cxn ang="0">
                    <a:pos x="81" y="129"/>
                  </a:cxn>
                  <a:cxn ang="0">
                    <a:pos x="81" y="134"/>
                  </a:cxn>
                  <a:cxn ang="0">
                    <a:pos x="77" y="135"/>
                  </a:cxn>
                  <a:cxn ang="0">
                    <a:pos x="73" y="135"/>
                  </a:cxn>
                  <a:cxn ang="0">
                    <a:pos x="67" y="135"/>
                  </a:cxn>
                  <a:cxn ang="0">
                    <a:pos x="62" y="137"/>
                  </a:cxn>
                  <a:cxn ang="0">
                    <a:pos x="58" y="142"/>
                  </a:cxn>
                  <a:cxn ang="0">
                    <a:pos x="53" y="140"/>
                  </a:cxn>
                  <a:cxn ang="0">
                    <a:pos x="52" y="137"/>
                  </a:cxn>
                  <a:cxn ang="0">
                    <a:pos x="50" y="134"/>
                  </a:cxn>
                  <a:cxn ang="0">
                    <a:pos x="48" y="129"/>
                  </a:cxn>
                  <a:cxn ang="0">
                    <a:pos x="45" y="124"/>
                  </a:cxn>
                  <a:cxn ang="0">
                    <a:pos x="30" y="124"/>
                  </a:cxn>
                  <a:cxn ang="0">
                    <a:pos x="24" y="124"/>
                  </a:cxn>
                  <a:cxn ang="0">
                    <a:pos x="18" y="126"/>
                  </a:cxn>
                  <a:cxn ang="0">
                    <a:pos x="12" y="126"/>
                  </a:cxn>
                  <a:cxn ang="0">
                    <a:pos x="6" y="126"/>
                  </a:cxn>
                  <a:cxn ang="0">
                    <a:pos x="7" y="117"/>
                  </a:cxn>
                  <a:cxn ang="0">
                    <a:pos x="12" y="112"/>
                  </a:cxn>
                  <a:cxn ang="0">
                    <a:pos x="18" y="110"/>
                  </a:cxn>
                  <a:cxn ang="0">
                    <a:pos x="20" y="104"/>
                  </a:cxn>
                  <a:cxn ang="0">
                    <a:pos x="15" y="103"/>
                  </a:cxn>
                  <a:cxn ang="0">
                    <a:pos x="15" y="95"/>
                  </a:cxn>
                  <a:cxn ang="0">
                    <a:pos x="13" y="93"/>
                  </a:cxn>
                  <a:cxn ang="0">
                    <a:pos x="6" y="87"/>
                  </a:cxn>
                  <a:cxn ang="0">
                    <a:pos x="0" y="78"/>
                  </a:cxn>
                  <a:cxn ang="0">
                    <a:pos x="26" y="81"/>
                  </a:cxn>
                  <a:cxn ang="0">
                    <a:pos x="44" y="72"/>
                  </a:cxn>
                  <a:cxn ang="0">
                    <a:pos x="56" y="59"/>
                  </a:cxn>
                  <a:cxn ang="0">
                    <a:pos x="65" y="58"/>
                  </a:cxn>
                  <a:cxn ang="0">
                    <a:pos x="67" y="48"/>
                  </a:cxn>
                  <a:cxn ang="0">
                    <a:pos x="73" y="37"/>
                  </a:cxn>
                  <a:cxn ang="0">
                    <a:pos x="82" y="30"/>
                  </a:cxn>
                  <a:cxn ang="0">
                    <a:pos x="83" y="17"/>
                  </a:cxn>
                  <a:cxn ang="0">
                    <a:pos x="93" y="5"/>
                  </a:cxn>
                  <a:cxn ang="0">
                    <a:pos x="108" y="0"/>
                  </a:cxn>
                </a:cxnLst>
                <a:rect l="0" t="0" r="r" b="b"/>
                <a:pathLst>
                  <a:path w="134" h="142">
                    <a:moveTo>
                      <a:pt x="108" y="0"/>
                    </a:moveTo>
                    <a:cubicBezTo>
                      <a:pt x="111" y="3"/>
                      <a:pt x="114" y="0"/>
                      <a:pt x="116" y="3"/>
                    </a:cubicBezTo>
                    <a:cubicBezTo>
                      <a:pt x="116" y="6"/>
                      <a:pt x="117" y="2"/>
                      <a:pt x="120" y="6"/>
                    </a:cubicBezTo>
                    <a:cubicBezTo>
                      <a:pt x="122" y="11"/>
                      <a:pt x="119" y="9"/>
                      <a:pt x="120" y="12"/>
                    </a:cubicBezTo>
                    <a:cubicBezTo>
                      <a:pt x="123" y="16"/>
                      <a:pt x="125" y="12"/>
                      <a:pt x="125" y="14"/>
                    </a:cubicBezTo>
                    <a:cubicBezTo>
                      <a:pt x="126" y="16"/>
                      <a:pt x="131" y="17"/>
                      <a:pt x="134" y="17"/>
                    </a:cubicBezTo>
                    <a:cubicBezTo>
                      <a:pt x="126" y="22"/>
                      <a:pt x="129" y="27"/>
                      <a:pt x="125" y="25"/>
                    </a:cubicBezTo>
                    <a:cubicBezTo>
                      <a:pt x="122" y="25"/>
                      <a:pt x="120" y="30"/>
                      <a:pt x="114" y="28"/>
                    </a:cubicBezTo>
                    <a:cubicBezTo>
                      <a:pt x="105" y="23"/>
                      <a:pt x="100" y="28"/>
                      <a:pt x="103" y="30"/>
                    </a:cubicBezTo>
                    <a:cubicBezTo>
                      <a:pt x="106" y="33"/>
                      <a:pt x="100" y="33"/>
                      <a:pt x="105" y="33"/>
                    </a:cubicBezTo>
                    <a:cubicBezTo>
                      <a:pt x="111" y="34"/>
                      <a:pt x="100" y="34"/>
                      <a:pt x="105" y="37"/>
                    </a:cubicBezTo>
                    <a:cubicBezTo>
                      <a:pt x="108" y="40"/>
                      <a:pt x="102" y="40"/>
                      <a:pt x="105" y="44"/>
                    </a:cubicBezTo>
                    <a:cubicBezTo>
                      <a:pt x="108" y="45"/>
                      <a:pt x="106" y="47"/>
                      <a:pt x="108" y="47"/>
                    </a:cubicBezTo>
                    <a:cubicBezTo>
                      <a:pt x="112" y="45"/>
                      <a:pt x="108" y="50"/>
                      <a:pt x="111" y="50"/>
                    </a:cubicBezTo>
                    <a:cubicBezTo>
                      <a:pt x="116" y="51"/>
                      <a:pt x="117" y="51"/>
                      <a:pt x="111" y="54"/>
                    </a:cubicBezTo>
                    <a:cubicBezTo>
                      <a:pt x="103" y="58"/>
                      <a:pt x="112" y="58"/>
                      <a:pt x="105" y="69"/>
                    </a:cubicBezTo>
                    <a:cubicBezTo>
                      <a:pt x="102" y="75"/>
                      <a:pt x="108" y="73"/>
                      <a:pt x="102" y="75"/>
                    </a:cubicBezTo>
                    <a:cubicBezTo>
                      <a:pt x="96" y="78"/>
                      <a:pt x="99" y="86"/>
                      <a:pt x="94" y="87"/>
                    </a:cubicBezTo>
                    <a:cubicBezTo>
                      <a:pt x="90" y="89"/>
                      <a:pt x="91" y="92"/>
                      <a:pt x="90" y="93"/>
                    </a:cubicBezTo>
                    <a:cubicBezTo>
                      <a:pt x="86" y="95"/>
                      <a:pt x="90" y="98"/>
                      <a:pt x="86" y="98"/>
                    </a:cubicBezTo>
                    <a:cubicBezTo>
                      <a:pt x="81" y="98"/>
                      <a:pt x="79" y="101"/>
                      <a:pt x="77" y="98"/>
                    </a:cubicBezTo>
                    <a:cubicBezTo>
                      <a:pt x="74" y="93"/>
                      <a:pt x="74" y="100"/>
                      <a:pt x="71" y="103"/>
                    </a:cubicBezTo>
                    <a:cubicBezTo>
                      <a:pt x="68" y="106"/>
                      <a:pt x="65" y="110"/>
                      <a:pt x="71" y="110"/>
                    </a:cubicBezTo>
                    <a:cubicBezTo>
                      <a:pt x="77" y="112"/>
                      <a:pt x="70" y="120"/>
                      <a:pt x="76" y="120"/>
                    </a:cubicBezTo>
                    <a:cubicBezTo>
                      <a:pt x="81" y="121"/>
                      <a:pt x="74" y="121"/>
                      <a:pt x="81" y="129"/>
                    </a:cubicBezTo>
                    <a:cubicBezTo>
                      <a:pt x="82" y="131"/>
                      <a:pt x="79" y="132"/>
                      <a:pt x="81" y="134"/>
                    </a:cubicBezTo>
                    <a:cubicBezTo>
                      <a:pt x="82" y="134"/>
                      <a:pt x="77" y="137"/>
                      <a:pt x="77" y="135"/>
                    </a:cubicBezTo>
                    <a:cubicBezTo>
                      <a:pt x="76" y="132"/>
                      <a:pt x="74" y="134"/>
                      <a:pt x="73" y="135"/>
                    </a:cubicBezTo>
                    <a:cubicBezTo>
                      <a:pt x="71" y="139"/>
                      <a:pt x="71" y="134"/>
                      <a:pt x="67" y="135"/>
                    </a:cubicBezTo>
                    <a:cubicBezTo>
                      <a:pt x="65" y="135"/>
                      <a:pt x="62" y="134"/>
                      <a:pt x="62" y="137"/>
                    </a:cubicBezTo>
                    <a:cubicBezTo>
                      <a:pt x="64" y="140"/>
                      <a:pt x="58" y="137"/>
                      <a:pt x="58" y="142"/>
                    </a:cubicBezTo>
                    <a:cubicBezTo>
                      <a:pt x="55" y="139"/>
                      <a:pt x="55" y="142"/>
                      <a:pt x="53" y="140"/>
                    </a:cubicBezTo>
                    <a:cubicBezTo>
                      <a:pt x="52" y="139"/>
                      <a:pt x="53" y="139"/>
                      <a:pt x="52" y="137"/>
                    </a:cubicBezTo>
                    <a:cubicBezTo>
                      <a:pt x="50" y="135"/>
                      <a:pt x="52" y="135"/>
                      <a:pt x="50" y="134"/>
                    </a:cubicBezTo>
                    <a:cubicBezTo>
                      <a:pt x="48" y="132"/>
                      <a:pt x="52" y="129"/>
                      <a:pt x="48" y="129"/>
                    </a:cubicBezTo>
                    <a:cubicBezTo>
                      <a:pt x="44" y="129"/>
                      <a:pt x="47" y="128"/>
                      <a:pt x="45" y="124"/>
                    </a:cubicBezTo>
                    <a:cubicBezTo>
                      <a:pt x="45" y="123"/>
                      <a:pt x="32" y="124"/>
                      <a:pt x="30" y="124"/>
                    </a:cubicBezTo>
                    <a:cubicBezTo>
                      <a:pt x="30" y="128"/>
                      <a:pt x="30" y="126"/>
                      <a:pt x="24" y="124"/>
                    </a:cubicBezTo>
                    <a:cubicBezTo>
                      <a:pt x="18" y="123"/>
                      <a:pt x="23" y="128"/>
                      <a:pt x="18" y="126"/>
                    </a:cubicBezTo>
                    <a:cubicBezTo>
                      <a:pt x="12" y="123"/>
                      <a:pt x="13" y="128"/>
                      <a:pt x="12" y="126"/>
                    </a:cubicBezTo>
                    <a:cubicBezTo>
                      <a:pt x="10" y="124"/>
                      <a:pt x="7" y="131"/>
                      <a:pt x="6" y="126"/>
                    </a:cubicBezTo>
                    <a:cubicBezTo>
                      <a:pt x="6" y="123"/>
                      <a:pt x="6" y="120"/>
                      <a:pt x="7" y="117"/>
                    </a:cubicBezTo>
                    <a:cubicBezTo>
                      <a:pt x="9" y="114"/>
                      <a:pt x="12" y="115"/>
                      <a:pt x="12" y="112"/>
                    </a:cubicBezTo>
                    <a:cubicBezTo>
                      <a:pt x="12" y="110"/>
                      <a:pt x="18" y="112"/>
                      <a:pt x="18" y="110"/>
                    </a:cubicBezTo>
                    <a:cubicBezTo>
                      <a:pt x="18" y="107"/>
                      <a:pt x="20" y="106"/>
                      <a:pt x="20" y="104"/>
                    </a:cubicBezTo>
                    <a:cubicBezTo>
                      <a:pt x="18" y="104"/>
                      <a:pt x="13" y="106"/>
                      <a:pt x="15" y="103"/>
                    </a:cubicBezTo>
                    <a:cubicBezTo>
                      <a:pt x="17" y="101"/>
                      <a:pt x="15" y="98"/>
                      <a:pt x="15" y="95"/>
                    </a:cubicBezTo>
                    <a:cubicBezTo>
                      <a:pt x="15" y="92"/>
                      <a:pt x="15" y="97"/>
                      <a:pt x="13" y="93"/>
                    </a:cubicBezTo>
                    <a:cubicBezTo>
                      <a:pt x="12" y="90"/>
                      <a:pt x="7" y="93"/>
                      <a:pt x="6" y="87"/>
                    </a:cubicBezTo>
                    <a:cubicBezTo>
                      <a:pt x="4" y="82"/>
                      <a:pt x="3" y="81"/>
                      <a:pt x="0" y="78"/>
                    </a:cubicBezTo>
                    <a:cubicBezTo>
                      <a:pt x="4" y="76"/>
                      <a:pt x="10" y="86"/>
                      <a:pt x="26" y="81"/>
                    </a:cubicBezTo>
                    <a:cubicBezTo>
                      <a:pt x="42" y="78"/>
                      <a:pt x="44" y="78"/>
                      <a:pt x="44" y="72"/>
                    </a:cubicBezTo>
                    <a:cubicBezTo>
                      <a:pt x="42" y="64"/>
                      <a:pt x="52" y="62"/>
                      <a:pt x="56" y="59"/>
                    </a:cubicBezTo>
                    <a:cubicBezTo>
                      <a:pt x="61" y="54"/>
                      <a:pt x="64" y="61"/>
                      <a:pt x="65" y="58"/>
                    </a:cubicBezTo>
                    <a:cubicBezTo>
                      <a:pt x="67" y="56"/>
                      <a:pt x="65" y="54"/>
                      <a:pt x="67" y="48"/>
                    </a:cubicBezTo>
                    <a:cubicBezTo>
                      <a:pt x="70" y="40"/>
                      <a:pt x="77" y="45"/>
                      <a:pt x="73" y="37"/>
                    </a:cubicBezTo>
                    <a:cubicBezTo>
                      <a:pt x="67" y="28"/>
                      <a:pt x="82" y="39"/>
                      <a:pt x="82" y="30"/>
                    </a:cubicBezTo>
                    <a:cubicBezTo>
                      <a:pt x="82" y="25"/>
                      <a:pt x="86" y="23"/>
                      <a:pt x="83" y="17"/>
                    </a:cubicBezTo>
                    <a:cubicBezTo>
                      <a:pt x="81" y="11"/>
                      <a:pt x="82" y="8"/>
                      <a:pt x="93" y="5"/>
                    </a:cubicBezTo>
                    <a:cubicBezTo>
                      <a:pt x="102" y="0"/>
                      <a:pt x="105" y="6"/>
                      <a:pt x="108" y="0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53" name="Freeform 47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5151746" y="2839224"/>
                <a:ext cx="347388" cy="357909"/>
              </a:xfrm>
              <a:custGeom>
                <a:avLst/>
                <a:gdLst/>
                <a:ahLst/>
                <a:cxnLst>
                  <a:cxn ang="0">
                    <a:pos x="50" y="29"/>
                  </a:cxn>
                  <a:cxn ang="0">
                    <a:pos x="79" y="33"/>
                  </a:cxn>
                  <a:cxn ang="0">
                    <a:pos x="79" y="28"/>
                  </a:cxn>
                  <a:cxn ang="0">
                    <a:pos x="99" y="20"/>
                  </a:cxn>
                  <a:cxn ang="0">
                    <a:pos x="106" y="20"/>
                  </a:cxn>
                  <a:cxn ang="0">
                    <a:pos x="118" y="25"/>
                  </a:cxn>
                  <a:cxn ang="0">
                    <a:pos x="131" y="36"/>
                  </a:cxn>
                  <a:cxn ang="0">
                    <a:pos x="137" y="40"/>
                  </a:cxn>
                  <a:cxn ang="0">
                    <a:pos x="137" y="48"/>
                  </a:cxn>
                  <a:cxn ang="0">
                    <a:pos x="134" y="88"/>
                  </a:cxn>
                  <a:cxn ang="0">
                    <a:pos x="134" y="108"/>
                  </a:cxn>
                  <a:cxn ang="0">
                    <a:pos x="147" y="124"/>
                  </a:cxn>
                  <a:cxn ang="0">
                    <a:pos x="149" y="133"/>
                  </a:cxn>
                  <a:cxn ang="0">
                    <a:pos x="152" y="141"/>
                  </a:cxn>
                  <a:cxn ang="0">
                    <a:pos x="141" y="147"/>
                  </a:cxn>
                  <a:cxn ang="0">
                    <a:pos x="137" y="157"/>
                  </a:cxn>
                  <a:cxn ang="0">
                    <a:pos x="131" y="155"/>
                  </a:cxn>
                  <a:cxn ang="0">
                    <a:pos x="115" y="152"/>
                  </a:cxn>
                  <a:cxn ang="0">
                    <a:pos x="105" y="149"/>
                  </a:cxn>
                  <a:cxn ang="0">
                    <a:pos x="94" y="138"/>
                  </a:cxn>
                  <a:cxn ang="0">
                    <a:pos x="83" y="143"/>
                  </a:cxn>
                  <a:cxn ang="0">
                    <a:pos x="68" y="133"/>
                  </a:cxn>
                  <a:cxn ang="0">
                    <a:pos x="55" y="119"/>
                  </a:cxn>
                  <a:cxn ang="0">
                    <a:pos x="45" y="105"/>
                  </a:cxn>
                  <a:cxn ang="0">
                    <a:pos x="36" y="107"/>
                  </a:cxn>
                  <a:cxn ang="0">
                    <a:pos x="30" y="96"/>
                  </a:cxn>
                  <a:cxn ang="0">
                    <a:pos x="18" y="73"/>
                  </a:cxn>
                  <a:cxn ang="0">
                    <a:pos x="17" y="50"/>
                  </a:cxn>
                  <a:cxn ang="0">
                    <a:pos x="11" y="42"/>
                  </a:cxn>
                  <a:cxn ang="0">
                    <a:pos x="4" y="25"/>
                  </a:cxn>
                  <a:cxn ang="0">
                    <a:pos x="4" y="19"/>
                  </a:cxn>
                  <a:cxn ang="0">
                    <a:pos x="3" y="12"/>
                  </a:cxn>
                  <a:cxn ang="0">
                    <a:pos x="1" y="9"/>
                  </a:cxn>
                  <a:cxn ang="0">
                    <a:pos x="3" y="6"/>
                  </a:cxn>
                  <a:cxn ang="0">
                    <a:pos x="6" y="3"/>
                  </a:cxn>
                  <a:cxn ang="0">
                    <a:pos x="18" y="12"/>
                  </a:cxn>
                  <a:cxn ang="0">
                    <a:pos x="20" y="12"/>
                  </a:cxn>
                  <a:cxn ang="0">
                    <a:pos x="23" y="9"/>
                  </a:cxn>
                  <a:cxn ang="0">
                    <a:pos x="27" y="6"/>
                  </a:cxn>
                  <a:cxn ang="0">
                    <a:pos x="35" y="6"/>
                  </a:cxn>
                  <a:cxn ang="0">
                    <a:pos x="35" y="9"/>
                  </a:cxn>
                  <a:cxn ang="0">
                    <a:pos x="32" y="12"/>
                  </a:cxn>
                  <a:cxn ang="0">
                    <a:pos x="35" y="15"/>
                  </a:cxn>
                  <a:cxn ang="0">
                    <a:pos x="39" y="17"/>
                  </a:cxn>
                </a:cxnLst>
                <a:rect l="0" t="0" r="r" b="b"/>
                <a:pathLst>
                  <a:path w="153" h="158">
                    <a:moveTo>
                      <a:pt x="39" y="17"/>
                    </a:moveTo>
                    <a:cubicBezTo>
                      <a:pt x="39" y="33"/>
                      <a:pt x="47" y="23"/>
                      <a:pt x="50" y="29"/>
                    </a:cubicBezTo>
                    <a:cubicBezTo>
                      <a:pt x="52" y="34"/>
                      <a:pt x="62" y="37"/>
                      <a:pt x="64" y="37"/>
                    </a:cubicBezTo>
                    <a:cubicBezTo>
                      <a:pt x="67" y="36"/>
                      <a:pt x="77" y="33"/>
                      <a:pt x="79" y="33"/>
                    </a:cubicBezTo>
                    <a:cubicBezTo>
                      <a:pt x="79" y="34"/>
                      <a:pt x="74" y="34"/>
                      <a:pt x="79" y="34"/>
                    </a:cubicBezTo>
                    <a:cubicBezTo>
                      <a:pt x="82" y="34"/>
                      <a:pt x="79" y="31"/>
                      <a:pt x="79" y="28"/>
                    </a:cubicBezTo>
                    <a:cubicBezTo>
                      <a:pt x="90" y="28"/>
                      <a:pt x="82" y="25"/>
                      <a:pt x="90" y="22"/>
                    </a:cubicBezTo>
                    <a:cubicBezTo>
                      <a:pt x="94" y="19"/>
                      <a:pt x="97" y="23"/>
                      <a:pt x="99" y="20"/>
                    </a:cubicBezTo>
                    <a:cubicBezTo>
                      <a:pt x="99" y="19"/>
                      <a:pt x="102" y="17"/>
                      <a:pt x="103" y="19"/>
                    </a:cubicBezTo>
                    <a:cubicBezTo>
                      <a:pt x="103" y="20"/>
                      <a:pt x="105" y="17"/>
                      <a:pt x="106" y="20"/>
                    </a:cubicBezTo>
                    <a:cubicBezTo>
                      <a:pt x="106" y="23"/>
                      <a:pt x="112" y="22"/>
                      <a:pt x="112" y="25"/>
                    </a:cubicBezTo>
                    <a:cubicBezTo>
                      <a:pt x="114" y="26"/>
                      <a:pt x="114" y="23"/>
                      <a:pt x="118" y="25"/>
                    </a:cubicBezTo>
                    <a:cubicBezTo>
                      <a:pt x="124" y="26"/>
                      <a:pt x="120" y="29"/>
                      <a:pt x="124" y="31"/>
                    </a:cubicBezTo>
                    <a:cubicBezTo>
                      <a:pt x="129" y="33"/>
                      <a:pt x="127" y="36"/>
                      <a:pt x="131" y="36"/>
                    </a:cubicBezTo>
                    <a:cubicBezTo>
                      <a:pt x="134" y="36"/>
                      <a:pt x="135" y="36"/>
                      <a:pt x="137" y="37"/>
                    </a:cubicBezTo>
                    <a:cubicBezTo>
                      <a:pt x="137" y="39"/>
                      <a:pt x="135" y="37"/>
                      <a:pt x="137" y="40"/>
                    </a:cubicBezTo>
                    <a:cubicBezTo>
                      <a:pt x="137" y="42"/>
                      <a:pt x="135" y="43"/>
                      <a:pt x="137" y="43"/>
                    </a:cubicBezTo>
                    <a:cubicBezTo>
                      <a:pt x="138" y="45"/>
                      <a:pt x="137" y="46"/>
                      <a:pt x="137" y="48"/>
                    </a:cubicBezTo>
                    <a:cubicBezTo>
                      <a:pt x="135" y="62"/>
                      <a:pt x="131" y="57"/>
                      <a:pt x="131" y="65"/>
                    </a:cubicBezTo>
                    <a:cubicBezTo>
                      <a:pt x="132" y="73"/>
                      <a:pt x="134" y="81"/>
                      <a:pt x="134" y="88"/>
                    </a:cubicBezTo>
                    <a:cubicBezTo>
                      <a:pt x="132" y="96"/>
                      <a:pt x="141" y="88"/>
                      <a:pt x="141" y="95"/>
                    </a:cubicBezTo>
                    <a:cubicBezTo>
                      <a:pt x="143" y="101"/>
                      <a:pt x="134" y="104"/>
                      <a:pt x="134" y="108"/>
                    </a:cubicBezTo>
                    <a:cubicBezTo>
                      <a:pt x="137" y="112"/>
                      <a:pt x="138" y="113"/>
                      <a:pt x="140" y="118"/>
                    </a:cubicBezTo>
                    <a:cubicBezTo>
                      <a:pt x="141" y="124"/>
                      <a:pt x="146" y="121"/>
                      <a:pt x="147" y="124"/>
                    </a:cubicBezTo>
                    <a:cubicBezTo>
                      <a:pt x="149" y="127"/>
                      <a:pt x="149" y="122"/>
                      <a:pt x="149" y="126"/>
                    </a:cubicBezTo>
                    <a:cubicBezTo>
                      <a:pt x="149" y="129"/>
                      <a:pt x="150" y="132"/>
                      <a:pt x="149" y="133"/>
                    </a:cubicBezTo>
                    <a:cubicBezTo>
                      <a:pt x="147" y="136"/>
                      <a:pt x="152" y="135"/>
                      <a:pt x="153" y="135"/>
                    </a:cubicBezTo>
                    <a:cubicBezTo>
                      <a:pt x="153" y="136"/>
                      <a:pt x="152" y="138"/>
                      <a:pt x="152" y="141"/>
                    </a:cubicBezTo>
                    <a:cubicBezTo>
                      <a:pt x="152" y="143"/>
                      <a:pt x="146" y="141"/>
                      <a:pt x="146" y="143"/>
                    </a:cubicBezTo>
                    <a:cubicBezTo>
                      <a:pt x="146" y="146"/>
                      <a:pt x="143" y="144"/>
                      <a:pt x="141" y="147"/>
                    </a:cubicBezTo>
                    <a:cubicBezTo>
                      <a:pt x="140" y="150"/>
                      <a:pt x="140" y="153"/>
                      <a:pt x="140" y="157"/>
                    </a:cubicBezTo>
                    <a:cubicBezTo>
                      <a:pt x="138" y="155"/>
                      <a:pt x="140" y="158"/>
                      <a:pt x="137" y="157"/>
                    </a:cubicBezTo>
                    <a:cubicBezTo>
                      <a:pt x="134" y="155"/>
                      <a:pt x="132" y="157"/>
                      <a:pt x="132" y="155"/>
                    </a:cubicBezTo>
                    <a:cubicBezTo>
                      <a:pt x="131" y="153"/>
                      <a:pt x="131" y="153"/>
                      <a:pt x="131" y="155"/>
                    </a:cubicBezTo>
                    <a:cubicBezTo>
                      <a:pt x="131" y="157"/>
                      <a:pt x="123" y="153"/>
                      <a:pt x="121" y="153"/>
                    </a:cubicBezTo>
                    <a:cubicBezTo>
                      <a:pt x="118" y="155"/>
                      <a:pt x="120" y="153"/>
                      <a:pt x="115" y="152"/>
                    </a:cubicBezTo>
                    <a:cubicBezTo>
                      <a:pt x="112" y="152"/>
                      <a:pt x="114" y="153"/>
                      <a:pt x="111" y="152"/>
                    </a:cubicBezTo>
                    <a:cubicBezTo>
                      <a:pt x="109" y="150"/>
                      <a:pt x="106" y="152"/>
                      <a:pt x="105" y="149"/>
                    </a:cubicBezTo>
                    <a:cubicBezTo>
                      <a:pt x="105" y="147"/>
                      <a:pt x="105" y="138"/>
                      <a:pt x="100" y="136"/>
                    </a:cubicBezTo>
                    <a:cubicBezTo>
                      <a:pt x="96" y="135"/>
                      <a:pt x="96" y="138"/>
                      <a:pt x="94" y="138"/>
                    </a:cubicBezTo>
                    <a:cubicBezTo>
                      <a:pt x="91" y="138"/>
                      <a:pt x="93" y="139"/>
                      <a:pt x="91" y="139"/>
                    </a:cubicBezTo>
                    <a:cubicBezTo>
                      <a:pt x="88" y="139"/>
                      <a:pt x="86" y="144"/>
                      <a:pt x="83" y="143"/>
                    </a:cubicBezTo>
                    <a:cubicBezTo>
                      <a:pt x="80" y="139"/>
                      <a:pt x="79" y="143"/>
                      <a:pt x="74" y="138"/>
                    </a:cubicBezTo>
                    <a:cubicBezTo>
                      <a:pt x="73" y="136"/>
                      <a:pt x="68" y="135"/>
                      <a:pt x="68" y="133"/>
                    </a:cubicBezTo>
                    <a:cubicBezTo>
                      <a:pt x="70" y="130"/>
                      <a:pt x="61" y="130"/>
                      <a:pt x="58" y="127"/>
                    </a:cubicBezTo>
                    <a:cubicBezTo>
                      <a:pt x="55" y="122"/>
                      <a:pt x="58" y="122"/>
                      <a:pt x="55" y="119"/>
                    </a:cubicBezTo>
                    <a:cubicBezTo>
                      <a:pt x="53" y="116"/>
                      <a:pt x="55" y="113"/>
                      <a:pt x="52" y="110"/>
                    </a:cubicBezTo>
                    <a:cubicBezTo>
                      <a:pt x="47" y="107"/>
                      <a:pt x="50" y="102"/>
                      <a:pt x="45" y="105"/>
                    </a:cubicBezTo>
                    <a:cubicBezTo>
                      <a:pt x="42" y="108"/>
                      <a:pt x="39" y="101"/>
                      <a:pt x="39" y="104"/>
                    </a:cubicBezTo>
                    <a:cubicBezTo>
                      <a:pt x="39" y="107"/>
                      <a:pt x="38" y="105"/>
                      <a:pt x="36" y="107"/>
                    </a:cubicBezTo>
                    <a:cubicBezTo>
                      <a:pt x="36" y="104"/>
                      <a:pt x="35" y="104"/>
                      <a:pt x="33" y="102"/>
                    </a:cubicBezTo>
                    <a:cubicBezTo>
                      <a:pt x="32" y="102"/>
                      <a:pt x="32" y="99"/>
                      <a:pt x="30" y="96"/>
                    </a:cubicBezTo>
                    <a:cubicBezTo>
                      <a:pt x="29" y="93"/>
                      <a:pt x="32" y="90"/>
                      <a:pt x="29" y="84"/>
                    </a:cubicBezTo>
                    <a:cubicBezTo>
                      <a:pt x="26" y="79"/>
                      <a:pt x="18" y="77"/>
                      <a:pt x="18" y="73"/>
                    </a:cubicBezTo>
                    <a:cubicBezTo>
                      <a:pt x="17" y="67"/>
                      <a:pt x="11" y="68"/>
                      <a:pt x="12" y="62"/>
                    </a:cubicBezTo>
                    <a:cubicBezTo>
                      <a:pt x="12" y="56"/>
                      <a:pt x="20" y="54"/>
                      <a:pt x="17" y="50"/>
                    </a:cubicBezTo>
                    <a:cubicBezTo>
                      <a:pt x="15" y="45"/>
                      <a:pt x="20" y="46"/>
                      <a:pt x="20" y="45"/>
                    </a:cubicBezTo>
                    <a:cubicBezTo>
                      <a:pt x="18" y="43"/>
                      <a:pt x="11" y="45"/>
                      <a:pt x="11" y="42"/>
                    </a:cubicBezTo>
                    <a:cubicBezTo>
                      <a:pt x="11" y="39"/>
                      <a:pt x="8" y="36"/>
                      <a:pt x="6" y="31"/>
                    </a:cubicBezTo>
                    <a:cubicBezTo>
                      <a:pt x="6" y="28"/>
                      <a:pt x="4" y="28"/>
                      <a:pt x="4" y="25"/>
                    </a:cubicBezTo>
                    <a:cubicBezTo>
                      <a:pt x="6" y="23"/>
                      <a:pt x="1" y="23"/>
                      <a:pt x="1" y="22"/>
                    </a:cubicBezTo>
                    <a:cubicBezTo>
                      <a:pt x="1" y="20"/>
                      <a:pt x="4" y="20"/>
                      <a:pt x="4" y="19"/>
                    </a:cubicBezTo>
                    <a:cubicBezTo>
                      <a:pt x="4" y="17"/>
                      <a:pt x="3" y="17"/>
                      <a:pt x="3" y="17"/>
                    </a:cubicBezTo>
                    <a:cubicBezTo>
                      <a:pt x="3" y="15"/>
                      <a:pt x="3" y="14"/>
                      <a:pt x="3" y="12"/>
                    </a:cubicBezTo>
                    <a:cubicBezTo>
                      <a:pt x="3" y="11"/>
                      <a:pt x="1" y="11"/>
                      <a:pt x="1" y="11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8"/>
                      <a:pt x="0" y="8"/>
                      <a:pt x="0" y="6"/>
                    </a:cubicBezTo>
                    <a:cubicBezTo>
                      <a:pt x="0" y="5"/>
                      <a:pt x="3" y="6"/>
                      <a:pt x="3" y="6"/>
                    </a:cubicBezTo>
                    <a:cubicBezTo>
                      <a:pt x="4" y="5"/>
                      <a:pt x="3" y="0"/>
                      <a:pt x="6" y="3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9" y="6"/>
                      <a:pt x="11" y="11"/>
                      <a:pt x="15" y="12"/>
                    </a:cubicBezTo>
                    <a:cubicBezTo>
                      <a:pt x="17" y="12"/>
                      <a:pt x="17" y="12"/>
                      <a:pt x="18" y="12"/>
                    </a:cubicBezTo>
                    <a:cubicBezTo>
                      <a:pt x="18" y="12"/>
                      <a:pt x="18" y="11"/>
                      <a:pt x="20" y="11"/>
                    </a:cubicBezTo>
                    <a:cubicBezTo>
                      <a:pt x="20" y="12"/>
                      <a:pt x="20" y="12"/>
                      <a:pt x="20" y="12"/>
                    </a:cubicBezTo>
                    <a:cubicBezTo>
                      <a:pt x="21" y="12"/>
                      <a:pt x="21" y="12"/>
                      <a:pt x="21" y="11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4" y="8"/>
                      <a:pt x="24" y="8"/>
                      <a:pt x="24" y="8"/>
                    </a:cubicBezTo>
                    <a:cubicBezTo>
                      <a:pt x="24" y="8"/>
                      <a:pt x="26" y="6"/>
                      <a:pt x="27" y="6"/>
                    </a:cubicBezTo>
                    <a:cubicBezTo>
                      <a:pt x="27" y="5"/>
                      <a:pt x="30" y="2"/>
                      <a:pt x="32" y="3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5" y="6"/>
                      <a:pt x="33" y="6"/>
                      <a:pt x="33" y="8"/>
                    </a:cubicBezTo>
                    <a:cubicBezTo>
                      <a:pt x="33" y="9"/>
                      <a:pt x="35" y="9"/>
                      <a:pt x="35" y="9"/>
                    </a:cubicBezTo>
                    <a:cubicBezTo>
                      <a:pt x="35" y="11"/>
                      <a:pt x="32" y="11"/>
                      <a:pt x="32" y="11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3" y="12"/>
                      <a:pt x="33" y="12"/>
                      <a:pt x="33" y="14"/>
                    </a:cubicBezTo>
                    <a:cubicBezTo>
                      <a:pt x="33" y="14"/>
                      <a:pt x="33" y="15"/>
                      <a:pt x="35" y="15"/>
                    </a:cubicBezTo>
                    <a:cubicBezTo>
                      <a:pt x="35" y="14"/>
                      <a:pt x="35" y="14"/>
                      <a:pt x="35" y="14"/>
                    </a:cubicBezTo>
                    <a:cubicBezTo>
                      <a:pt x="36" y="15"/>
                      <a:pt x="35" y="19"/>
                      <a:pt x="39" y="17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54" name="Freeform 48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4830090" y="2778403"/>
                <a:ext cx="335692" cy="162580"/>
              </a:xfrm>
              <a:custGeom>
                <a:avLst/>
                <a:gdLst/>
                <a:ahLst/>
                <a:cxnLst>
                  <a:cxn ang="0">
                    <a:pos x="139" y="14"/>
                  </a:cxn>
                  <a:cxn ang="0">
                    <a:pos x="140" y="19"/>
                  </a:cxn>
                  <a:cxn ang="0">
                    <a:pos x="140" y="24"/>
                  </a:cxn>
                  <a:cxn ang="0">
                    <a:pos x="146" y="27"/>
                  </a:cxn>
                  <a:cxn ang="0">
                    <a:pos x="148" y="30"/>
                  </a:cxn>
                  <a:cxn ang="0">
                    <a:pos x="142" y="33"/>
                  </a:cxn>
                  <a:cxn ang="0">
                    <a:pos x="143" y="38"/>
                  </a:cxn>
                  <a:cxn ang="0">
                    <a:pos x="145" y="44"/>
                  </a:cxn>
                  <a:cxn ang="0">
                    <a:pos x="143" y="49"/>
                  </a:cxn>
                  <a:cxn ang="0">
                    <a:pos x="148" y="58"/>
                  </a:cxn>
                  <a:cxn ang="0">
                    <a:pos x="145" y="60"/>
                  </a:cxn>
                  <a:cxn ang="0">
                    <a:pos x="139" y="56"/>
                  </a:cxn>
                  <a:cxn ang="0">
                    <a:pos x="134" y="55"/>
                  </a:cxn>
                  <a:cxn ang="0">
                    <a:pos x="133" y="55"/>
                  </a:cxn>
                  <a:cxn ang="0">
                    <a:pos x="133" y="55"/>
                  </a:cxn>
                  <a:cxn ang="0">
                    <a:pos x="130" y="56"/>
                  </a:cxn>
                  <a:cxn ang="0">
                    <a:pos x="124" y="58"/>
                  </a:cxn>
                  <a:cxn ang="0">
                    <a:pos x="104" y="63"/>
                  </a:cxn>
                  <a:cxn ang="0">
                    <a:pos x="90" y="63"/>
                  </a:cxn>
                  <a:cxn ang="0">
                    <a:pos x="84" y="61"/>
                  </a:cxn>
                  <a:cxn ang="0">
                    <a:pos x="84" y="67"/>
                  </a:cxn>
                  <a:cxn ang="0">
                    <a:pos x="79" y="72"/>
                  </a:cxn>
                  <a:cxn ang="0">
                    <a:pos x="78" y="67"/>
                  </a:cxn>
                  <a:cxn ang="0">
                    <a:pos x="75" y="63"/>
                  </a:cxn>
                  <a:cxn ang="0">
                    <a:pos x="55" y="70"/>
                  </a:cxn>
                  <a:cxn ang="0">
                    <a:pos x="35" y="67"/>
                  </a:cxn>
                  <a:cxn ang="0">
                    <a:pos x="24" y="64"/>
                  </a:cxn>
                  <a:cxn ang="0">
                    <a:pos x="15" y="63"/>
                  </a:cxn>
                  <a:cxn ang="0">
                    <a:pos x="15" y="60"/>
                  </a:cxn>
                  <a:cxn ang="0">
                    <a:pos x="11" y="56"/>
                  </a:cxn>
                  <a:cxn ang="0">
                    <a:pos x="9" y="50"/>
                  </a:cxn>
                  <a:cxn ang="0">
                    <a:pos x="3" y="46"/>
                  </a:cxn>
                  <a:cxn ang="0">
                    <a:pos x="6" y="42"/>
                  </a:cxn>
                  <a:cxn ang="0">
                    <a:pos x="5" y="35"/>
                  </a:cxn>
                  <a:cxn ang="0">
                    <a:pos x="0" y="28"/>
                  </a:cxn>
                  <a:cxn ang="0">
                    <a:pos x="11" y="22"/>
                  </a:cxn>
                  <a:cxn ang="0">
                    <a:pos x="15" y="21"/>
                  </a:cxn>
                  <a:cxn ang="0">
                    <a:pos x="26" y="19"/>
                  </a:cxn>
                  <a:cxn ang="0">
                    <a:pos x="24" y="14"/>
                  </a:cxn>
                  <a:cxn ang="0">
                    <a:pos x="37" y="13"/>
                  </a:cxn>
                  <a:cxn ang="0">
                    <a:pos x="55" y="5"/>
                  </a:cxn>
                  <a:cxn ang="0">
                    <a:pos x="76" y="7"/>
                  </a:cxn>
                  <a:cxn ang="0">
                    <a:pos x="89" y="14"/>
                  </a:cxn>
                  <a:cxn ang="0">
                    <a:pos x="108" y="14"/>
                  </a:cxn>
                  <a:cxn ang="0">
                    <a:pos x="127" y="10"/>
                  </a:cxn>
                  <a:cxn ang="0">
                    <a:pos x="131" y="8"/>
                  </a:cxn>
                  <a:cxn ang="0">
                    <a:pos x="136" y="11"/>
                  </a:cxn>
                  <a:cxn ang="0">
                    <a:pos x="139" y="13"/>
                  </a:cxn>
                </a:cxnLst>
                <a:rect l="0" t="0" r="r" b="b"/>
                <a:pathLst>
                  <a:path w="148" h="72">
                    <a:moveTo>
                      <a:pt x="139" y="14"/>
                    </a:moveTo>
                    <a:cubicBezTo>
                      <a:pt x="139" y="14"/>
                      <a:pt x="139" y="14"/>
                      <a:pt x="139" y="14"/>
                    </a:cubicBezTo>
                    <a:cubicBezTo>
                      <a:pt x="139" y="14"/>
                      <a:pt x="137" y="14"/>
                      <a:pt x="139" y="14"/>
                    </a:cubicBezTo>
                    <a:cubicBezTo>
                      <a:pt x="139" y="16"/>
                      <a:pt x="140" y="18"/>
                      <a:pt x="140" y="19"/>
                    </a:cubicBezTo>
                    <a:cubicBezTo>
                      <a:pt x="140" y="21"/>
                      <a:pt x="139" y="21"/>
                      <a:pt x="139" y="22"/>
                    </a:cubicBezTo>
                    <a:cubicBezTo>
                      <a:pt x="139" y="24"/>
                      <a:pt x="140" y="24"/>
                      <a:pt x="140" y="24"/>
                    </a:cubicBezTo>
                    <a:cubicBezTo>
                      <a:pt x="140" y="25"/>
                      <a:pt x="139" y="25"/>
                      <a:pt x="139" y="25"/>
                    </a:cubicBezTo>
                    <a:cubicBezTo>
                      <a:pt x="142" y="27"/>
                      <a:pt x="145" y="25"/>
                      <a:pt x="146" y="27"/>
                    </a:cubicBezTo>
                    <a:cubicBezTo>
                      <a:pt x="148" y="28"/>
                      <a:pt x="148" y="28"/>
                      <a:pt x="148" y="30"/>
                    </a:cubicBezTo>
                    <a:cubicBezTo>
                      <a:pt x="148" y="30"/>
                      <a:pt x="148" y="30"/>
                      <a:pt x="148" y="30"/>
                    </a:cubicBezTo>
                    <a:cubicBezTo>
                      <a:pt x="145" y="27"/>
                      <a:pt x="146" y="32"/>
                      <a:pt x="145" y="33"/>
                    </a:cubicBezTo>
                    <a:cubicBezTo>
                      <a:pt x="145" y="33"/>
                      <a:pt x="142" y="32"/>
                      <a:pt x="142" y="33"/>
                    </a:cubicBezTo>
                    <a:cubicBezTo>
                      <a:pt x="142" y="35"/>
                      <a:pt x="143" y="35"/>
                      <a:pt x="143" y="36"/>
                    </a:cubicBezTo>
                    <a:cubicBezTo>
                      <a:pt x="143" y="38"/>
                      <a:pt x="143" y="38"/>
                      <a:pt x="143" y="38"/>
                    </a:cubicBezTo>
                    <a:cubicBezTo>
                      <a:pt x="143" y="38"/>
                      <a:pt x="145" y="38"/>
                      <a:pt x="145" y="39"/>
                    </a:cubicBezTo>
                    <a:cubicBezTo>
                      <a:pt x="145" y="41"/>
                      <a:pt x="145" y="42"/>
                      <a:pt x="145" y="44"/>
                    </a:cubicBezTo>
                    <a:cubicBezTo>
                      <a:pt x="145" y="44"/>
                      <a:pt x="146" y="44"/>
                      <a:pt x="146" y="46"/>
                    </a:cubicBezTo>
                    <a:cubicBezTo>
                      <a:pt x="146" y="47"/>
                      <a:pt x="143" y="47"/>
                      <a:pt x="143" y="49"/>
                    </a:cubicBezTo>
                    <a:cubicBezTo>
                      <a:pt x="143" y="50"/>
                      <a:pt x="148" y="50"/>
                      <a:pt x="146" y="52"/>
                    </a:cubicBezTo>
                    <a:cubicBezTo>
                      <a:pt x="146" y="55"/>
                      <a:pt x="148" y="55"/>
                      <a:pt x="148" y="58"/>
                    </a:cubicBezTo>
                    <a:cubicBezTo>
                      <a:pt x="148" y="58"/>
                      <a:pt x="148" y="58"/>
                      <a:pt x="146" y="58"/>
                    </a:cubicBezTo>
                    <a:cubicBezTo>
                      <a:pt x="145" y="60"/>
                      <a:pt x="145" y="60"/>
                      <a:pt x="145" y="60"/>
                    </a:cubicBezTo>
                    <a:cubicBezTo>
                      <a:pt x="143" y="58"/>
                      <a:pt x="145" y="56"/>
                      <a:pt x="143" y="56"/>
                    </a:cubicBezTo>
                    <a:cubicBezTo>
                      <a:pt x="142" y="55"/>
                      <a:pt x="142" y="58"/>
                      <a:pt x="139" y="56"/>
                    </a:cubicBezTo>
                    <a:cubicBezTo>
                      <a:pt x="137" y="56"/>
                      <a:pt x="137" y="55"/>
                      <a:pt x="136" y="55"/>
                    </a:cubicBezTo>
                    <a:cubicBezTo>
                      <a:pt x="136" y="55"/>
                      <a:pt x="136" y="55"/>
                      <a:pt x="134" y="55"/>
                    </a:cubicBezTo>
                    <a:cubicBezTo>
                      <a:pt x="134" y="56"/>
                      <a:pt x="134" y="56"/>
                      <a:pt x="134" y="56"/>
                    </a:cubicBezTo>
                    <a:cubicBezTo>
                      <a:pt x="134" y="56"/>
                      <a:pt x="134" y="55"/>
                      <a:pt x="133" y="55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3" y="55"/>
                      <a:pt x="133" y="55"/>
                      <a:pt x="133" y="55"/>
                    </a:cubicBezTo>
                    <a:cubicBezTo>
                      <a:pt x="131" y="56"/>
                      <a:pt x="131" y="58"/>
                      <a:pt x="130" y="58"/>
                    </a:cubicBezTo>
                    <a:cubicBezTo>
                      <a:pt x="130" y="56"/>
                      <a:pt x="130" y="56"/>
                      <a:pt x="130" y="56"/>
                    </a:cubicBezTo>
                    <a:cubicBezTo>
                      <a:pt x="130" y="56"/>
                      <a:pt x="128" y="55"/>
                      <a:pt x="128" y="56"/>
                    </a:cubicBezTo>
                    <a:cubicBezTo>
                      <a:pt x="127" y="58"/>
                      <a:pt x="125" y="58"/>
                      <a:pt x="124" y="58"/>
                    </a:cubicBezTo>
                    <a:cubicBezTo>
                      <a:pt x="121" y="58"/>
                      <a:pt x="119" y="58"/>
                      <a:pt x="117" y="58"/>
                    </a:cubicBezTo>
                    <a:cubicBezTo>
                      <a:pt x="113" y="60"/>
                      <a:pt x="110" y="63"/>
                      <a:pt x="104" y="63"/>
                    </a:cubicBezTo>
                    <a:cubicBezTo>
                      <a:pt x="101" y="63"/>
                      <a:pt x="101" y="61"/>
                      <a:pt x="98" y="60"/>
                    </a:cubicBezTo>
                    <a:cubicBezTo>
                      <a:pt x="95" y="60"/>
                      <a:pt x="93" y="63"/>
                      <a:pt x="90" y="63"/>
                    </a:cubicBezTo>
                    <a:cubicBezTo>
                      <a:pt x="89" y="63"/>
                      <a:pt x="89" y="63"/>
                      <a:pt x="89" y="63"/>
                    </a:cubicBezTo>
                    <a:cubicBezTo>
                      <a:pt x="87" y="63"/>
                      <a:pt x="84" y="61"/>
                      <a:pt x="84" y="61"/>
                    </a:cubicBezTo>
                    <a:cubicBezTo>
                      <a:pt x="84" y="61"/>
                      <a:pt x="82" y="64"/>
                      <a:pt x="84" y="66"/>
                    </a:cubicBezTo>
                    <a:cubicBezTo>
                      <a:pt x="84" y="67"/>
                      <a:pt x="84" y="67"/>
                      <a:pt x="84" y="67"/>
                    </a:cubicBezTo>
                    <a:cubicBezTo>
                      <a:pt x="82" y="67"/>
                      <a:pt x="82" y="67"/>
                      <a:pt x="82" y="67"/>
                    </a:cubicBezTo>
                    <a:cubicBezTo>
                      <a:pt x="81" y="67"/>
                      <a:pt x="81" y="72"/>
                      <a:pt x="79" y="72"/>
                    </a:cubicBezTo>
                    <a:cubicBezTo>
                      <a:pt x="79" y="72"/>
                      <a:pt x="79" y="70"/>
                      <a:pt x="78" y="70"/>
                    </a:cubicBezTo>
                    <a:cubicBezTo>
                      <a:pt x="79" y="69"/>
                      <a:pt x="78" y="69"/>
                      <a:pt x="78" y="67"/>
                    </a:cubicBezTo>
                    <a:cubicBezTo>
                      <a:pt x="76" y="66"/>
                      <a:pt x="81" y="64"/>
                      <a:pt x="81" y="61"/>
                    </a:cubicBezTo>
                    <a:cubicBezTo>
                      <a:pt x="79" y="60"/>
                      <a:pt x="79" y="60"/>
                      <a:pt x="75" y="63"/>
                    </a:cubicBezTo>
                    <a:cubicBezTo>
                      <a:pt x="72" y="67"/>
                      <a:pt x="72" y="56"/>
                      <a:pt x="64" y="64"/>
                    </a:cubicBezTo>
                    <a:cubicBezTo>
                      <a:pt x="60" y="70"/>
                      <a:pt x="60" y="67"/>
                      <a:pt x="55" y="70"/>
                    </a:cubicBezTo>
                    <a:cubicBezTo>
                      <a:pt x="50" y="72"/>
                      <a:pt x="50" y="64"/>
                      <a:pt x="41" y="61"/>
                    </a:cubicBezTo>
                    <a:cubicBezTo>
                      <a:pt x="32" y="58"/>
                      <a:pt x="37" y="66"/>
                      <a:pt x="35" y="67"/>
                    </a:cubicBezTo>
                    <a:cubicBezTo>
                      <a:pt x="34" y="69"/>
                      <a:pt x="34" y="66"/>
                      <a:pt x="31" y="69"/>
                    </a:cubicBezTo>
                    <a:cubicBezTo>
                      <a:pt x="29" y="70"/>
                      <a:pt x="24" y="67"/>
                      <a:pt x="24" y="64"/>
                    </a:cubicBezTo>
                    <a:cubicBezTo>
                      <a:pt x="23" y="60"/>
                      <a:pt x="23" y="64"/>
                      <a:pt x="20" y="63"/>
                    </a:cubicBezTo>
                    <a:cubicBezTo>
                      <a:pt x="18" y="60"/>
                      <a:pt x="15" y="66"/>
                      <a:pt x="15" y="63"/>
                    </a:cubicBezTo>
                    <a:cubicBezTo>
                      <a:pt x="15" y="61"/>
                      <a:pt x="11" y="64"/>
                      <a:pt x="11" y="63"/>
                    </a:cubicBezTo>
                    <a:cubicBezTo>
                      <a:pt x="9" y="61"/>
                      <a:pt x="14" y="63"/>
                      <a:pt x="15" y="60"/>
                    </a:cubicBezTo>
                    <a:cubicBezTo>
                      <a:pt x="17" y="58"/>
                      <a:pt x="11" y="61"/>
                      <a:pt x="9" y="60"/>
                    </a:cubicBezTo>
                    <a:cubicBezTo>
                      <a:pt x="8" y="56"/>
                      <a:pt x="12" y="60"/>
                      <a:pt x="11" y="56"/>
                    </a:cubicBezTo>
                    <a:cubicBezTo>
                      <a:pt x="11" y="55"/>
                      <a:pt x="9" y="56"/>
                      <a:pt x="9" y="55"/>
                    </a:cubicBezTo>
                    <a:cubicBezTo>
                      <a:pt x="9" y="52"/>
                      <a:pt x="8" y="53"/>
                      <a:pt x="9" y="50"/>
                    </a:cubicBezTo>
                    <a:cubicBezTo>
                      <a:pt x="11" y="47"/>
                      <a:pt x="8" y="49"/>
                      <a:pt x="6" y="47"/>
                    </a:cubicBezTo>
                    <a:cubicBezTo>
                      <a:pt x="5" y="46"/>
                      <a:pt x="5" y="49"/>
                      <a:pt x="3" y="46"/>
                    </a:cubicBezTo>
                    <a:cubicBezTo>
                      <a:pt x="2" y="44"/>
                      <a:pt x="3" y="39"/>
                      <a:pt x="5" y="42"/>
                    </a:cubicBezTo>
                    <a:cubicBezTo>
                      <a:pt x="5" y="47"/>
                      <a:pt x="9" y="44"/>
                      <a:pt x="6" y="42"/>
                    </a:cubicBezTo>
                    <a:cubicBezTo>
                      <a:pt x="3" y="41"/>
                      <a:pt x="9" y="39"/>
                      <a:pt x="6" y="38"/>
                    </a:cubicBezTo>
                    <a:cubicBezTo>
                      <a:pt x="5" y="38"/>
                      <a:pt x="8" y="36"/>
                      <a:pt x="5" y="35"/>
                    </a:cubicBezTo>
                    <a:cubicBezTo>
                      <a:pt x="3" y="33"/>
                      <a:pt x="9" y="30"/>
                      <a:pt x="5" y="32"/>
                    </a:cubicBezTo>
                    <a:cubicBezTo>
                      <a:pt x="0" y="33"/>
                      <a:pt x="0" y="33"/>
                      <a:pt x="0" y="28"/>
                    </a:cubicBezTo>
                    <a:cubicBezTo>
                      <a:pt x="2" y="25"/>
                      <a:pt x="2" y="27"/>
                      <a:pt x="3" y="25"/>
                    </a:cubicBezTo>
                    <a:cubicBezTo>
                      <a:pt x="6" y="21"/>
                      <a:pt x="9" y="21"/>
                      <a:pt x="11" y="22"/>
                    </a:cubicBezTo>
                    <a:cubicBezTo>
                      <a:pt x="11" y="24"/>
                      <a:pt x="14" y="24"/>
                      <a:pt x="12" y="22"/>
                    </a:cubicBezTo>
                    <a:cubicBezTo>
                      <a:pt x="11" y="21"/>
                      <a:pt x="17" y="19"/>
                      <a:pt x="15" y="21"/>
                    </a:cubicBezTo>
                    <a:cubicBezTo>
                      <a:pt x="15" y="22"/>
                      <a:pt x="23" y="22"/>
                      <a:pt x="23" y="22"/>
                    </a:cubicBezTo>
                    <a:cubicBezTo>
                      <a:pt x="24" y="21"/>
                      <a:pt x="17" y="21"/>
                      <a:pt x="26" y="19"/>
                    </a:cubicBezTo>
                    <a:cubicBezTo>
                      <a:pt x="34" y="18"/>
                      <a:pt x="28" y="19"/>
                      <a:pt x="26" y="18"/>
                    </a:cubicBezTo>
                    <a:cubicBezTo>
                      <a:pt x="24" y="16"/>
                      <a:pt x="23" y="16"/>
                      <a:pt x="24" y="14"/>
                    </a:cubicBezTo>
                    <a:cubicBezTo>
                      <a:pt x="24" y="13"/>
                      <a:pt x="24" y="13"/>
                      <a:pt x="29" y="13"/>
                    </a:cubicBezTo>
                    <a:cubicBezTo>
                      <a:pt x="32" y="14"/>
                      <a:pt x="32" y="11"/>
                      <a:pt x="37" y="13"/>
                    </a:cubicBezTo>
                    <a:cubicBezTo>
                      <a:pt x="40" y="14"/>
                      <a:pt x="41" y="14"/>
                      <a:pt x="43" y="13"/>
                    </a:cubicBezTo>
                    <a:cubicBezTo>
                      <a:pt x="43" y="11"/>
                      <a:pt x="46" y="8"/>
                      <a:pt x="55" y="5"/>
                    </a:cubicBezTo>
                    <a:cubicBezTo>
                      <a:pt x="63" y="2"/>
                      <a:pt x="66" y="7"/>
                      <a:pt x="70" y="4"/>
                    </a:cubicBezTo>
                    <a:cubicBezTo>
                      <a:pt x="75" y="0"/>
                      <a:pt x="70" y="10"/>
                      <a:pt x="76" y="7"/>
                    </a:cubicBezTo>
                    <a:cubicBezTo>
                      <a:pt x="82" y="5"/>
                      <a:pt x="79" y="13"/>
                      <a:pt x="84" y="11"/>
                    </a:cubicBezTo>
                    <a:cubicBezTo>
                      <a:pt x="87" y="10"/>
                      <a:pt x="84" y="11"/>
                      <a:pt x="89" y="14"/>
                    </a:cubicBezTo>
                    <a:cubicBezTo>
                      <a:pt x="93" y="16"/>
                      <a:pt x="90" y="11"/>
                      <a:pt x="95" y="14"/>
                    </a:cubicBezTo>
                    <a:cubicBezTo>
                      <a:pt x="98" y="19"/>
                      <a:pt x="104" y="11"/>
                      <a:pt x="108" y="14"/>
                    </a:cubicBezTo>
                    <a:cubicBezTo>
                      <a:pt x="113" y="19"/>
                      <a:pt x="122" y="11"/>
                      <a:pt x="122" y="10"/>
                    </a:cubicBezTo>
                    <a:cubicBezTo>
                      <a:pt x="125" y="11"/>
                      <a:pt x="124" y="10"/>
                      <a:pt x="127" y="10"/>
                    </a:cubicBezTo>
                    <a:cubicBezTo>
                      <a:pt x="127" y="10"/>
                      <a:pt x="130" y="11"/>
                      <a:pt x="130" y="10"/>
                    </a:cubicBezTo>
                    <a:cubicBezTo>
                      <a:pt x="131" y="8"/>
                      <a:pt x="131" y="8"/>
                      <a:pt x="131" y="8"/>
                    </a:cubicBezTo>
                    <a:cubicBezTo>
                      <a:pt x="131" y="8"/>
                      <a:pt x="133" y="8"/>
                      <a:pt x="136" y="11"/>
                    </a:cubicBezTo>
                    <a:cubicBezTo>
                      <a:pt x="136" y="11"/>
                      <a:pt x="136" y="11"/>
                      <a:pt x="136" y="11"/>
                    </a:cubicBezTo>
                    <a:cubicBezTo>
                      <a:pt x="136" y="13"/>
                      <a:pt x="136" y="13"/>
                      <a:pt x="136" y="13"/>
                    </a:cubicBezTo>
                    <a:cubicBezTo>
                      <a:pt x="137" y="14"/>
                      <a:pt x="137" y="13"/>
                      <a:pt x="139" y="13"/>
                    </a:cubicBezTo>
                    <a:cubicBezTo>
                      <a:pt x="139" y="14"/>
                      <a:pt x="139" y="14"/>
                      <a:pt x="139" y="14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55" name="Freeform 49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5301463" y="2764368"/>
                <a:ext cx="262004" cy="195329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5" y="14"/>
                  </a:cxn>
                  <a:cxn ang="0">
                    <a:pos x="13" y="11"/>
                  </a:cxn>
                  <a:cxn ang="0">
                    <a:pos x="17" y="24"/>
                  </a:cxn>
                  <a:cxn ang="0">
                    <a:pos x="11" y="24"/>
                  </a:cxn>
                  <a:cxn ang="0">
                    <a:pos x="7" y="24"/>
                  </a:cxn>
                  <a:cxn ang="0">
                    <a:pos x="3" y="30"/>
                  </a:cxn>
                  <a:cxn ang="0">
                    <a:pos x="7" y="33"/>
                  </a:cxn>
                  <a:cxn ang="0">
                    <a:pos x="9" y="36"/>
                  </a:cxn>
                  <a:cxn ang="0">
                    <a:pos x="8" y="36"/>
                  </a:cxn>
                  <a:cxn ang="0">
                    <a:pos x="8" y="39"/>
                  </a:cxn>
                  <a:cxn ang="0">
                    <a:pos x="13" y="45"/>
                  </a:cxn>
                  <a:cxn ang="0">
                    <a:pos x="13" y="61"/>
                  </a:cxn>
                  <a:cxn ang="0">
                    <a:pos x="32" y="53"/>
                  </a:cxn>
                  <a:cxn ang="0">
                    <a:pos x="40" y="53"/>
                  </a:cxn>
                  <a:cxn ang="0">
                    <a:pos x="52" y="58"/>
                  </a:cxn>
                  <a:cxn ang="0">
                    <a:pos x="64" y="68"/>
                  </a:cxn>
                  <a:cxn ang="0">
                    <a:pos x="71" y="73"/>
                  </a:cxn>
                  <a:cxn ang="0">
                    <a:pos x="71" y="81"/>
                  </a:cxn>
                  <a:cxn ang="0">
                    <a:pos x="81" y="84"/>
                  </a:cxn>
                  <a:cxn ang="0">
                    <a:pos x="98" y="68"/>
                  </a:cxn>
                  <a:cxn ang="0">
                    <a:pos x="113" y="61"/>
                  </a:cxn>
                  <a:cxn ang="0">
                    <a:pos x="107" y="51"/>
                  </a:cxn>
                  <a:cxn ang="0">
                    <a:pos x="84" y="34"/>
                  </a:cxn>
                  <a:cxn ang="0">
                    <a:pos x="75" y="19"/>
                  </a:cxn>
                  <a:cxn ang="0">
                    <a:pos x="63" y="17"/>
                  </a:cxn>
                  <a:cxn ang="0">
                    <a:pos x="63" y="11"/>
                  </a:cxn>
                  <a:cxn ang="0">
                    <a:pos x="54" y="5"/>
                  </a:cxn>
                  <a:cxn ang="0">
                    <a:pos x="46" y="4"/>
                  </a:cxn>
                  <a:cxn ang="0">
                    <a:pos x="37" y="11"/>
                  </a:cxn>
                  <a:cxn ang="0">
                    <a:pos x="29" y="17"/>
                  </a:cxn>
                  <a:cxn ang="0">
                    <a:pos x="19" y="10"/>
                  </a:cxn>
                  <a:cxn ang="0">
                    <a:pos x="5" y="10"/>
                  </a:cxn>
                </a:cxnLst>
                <a:rect l="0" t="0" r="r" b="b"/>
                <a:pathLst>
                  <a:path w="115" h="86">
                    <a:moveTo>
                      <a:pt x="0" y="13"/>
                    </a:moveTo>
                    <a:cubicBezTo>
                      <a:pt x="3" y="14"/>
                      <a:pt x="2" y="14"/>
                      <a:pt x="2" y="16"/>
                    </a:cubicBezTo>
                    <a:cubicBezTo>
                      <a:pt x="3" y="17"/>
                      <a:pt x="3" y="21"/>
                      <a:pt x="3" y="17"/>
                    </a:cubicBezTo>
                    <a:cubicBezTo>
                      <a:pt x="3" y="16"/>
                      <a:pt x="5" y="14"/>
                      <a:pt x="5" y="14"/>
                    </a:cubicBezTo>
                    <a:cubicBezTo>
                      <a:pt x="3" y="14"/>
                      <a:pt x="3" y="10"/>
                      <a:pt x="8" y="10"/>
                    </a:cubicBezTo>
                    <a:cubicBezTo>
                      <a:pt x="11" y="8"/>
                      <a:pt x="13" y="8"/>
                      <a:pt x="13" y="11"/>
                    </a:cubicBezTo>
                    <a:cubicBezTo>
                      <a:pt x="13" y="13"/>
                      <a:pt x="13" y="16"/>
                      <a:pt x="17" y="19"/>
                    </a:cubicBezTo>
                    <a:cubicBezTo>
                      <a:pt x="22" y="21"/>
                      <a:pt x="17" y="25"/>
                      <a:pt x="17" y="24"/>
                    </a:cubicBezTo>
                    <a:cubicBezTo>
                      <a:pt x="16" y="22"/>
                      <a:pt x="14" y="22"/>
                      <a:pt x="16" y="24"/>
                    </a:cubicBezTo>
                    <a:cubicBezTo>
                      <a:pt x="16" y="25"/>
                      <a:pt x="11" y="27"/>
                      <a:pt x="11" y="24"/>
                    </a:cubicBezTo>
                    <a:cubicBezTo>
                      <a:pt x="11" y="21"/>
                      <a:pt x="9" y="25"/>
                      <a:pt x="8" y="24"/>
                    </a:cubicBezTo>
                    <a:cubicBezTo>
                      <a:pt x="8" y="22"/>
                      <a:pt x="7" y="25"/>
                      <a:pt x="7" y="24"/>
                    </a:cubicBezTo>
                    <a:cubicBezTo>
                      <a:pt x="7" y="22"/>
                      <a:pt x="3" y="19"/>
                      <a:pt x="5" y="22"/>
                    </a:cubicBezTo>
                    <a:cubicBezTo>
                      <a:pt x="5" y="25"/>
                      <a:pt x="2" y="28"/>
                      <a:pt x="3" y="30"/>
                    </a:cubicBezTo>
                    <a:cubicBezTo>
                      <a:pt x="3" y="31"/>
                      <a:pt x="5" y="36"/>
                      <a:pt x="5" y="34"/>
                    </a:cubicBezTo>
                    <a:cubicBezTo>
                      <a:pt x="7" y="34"/>
                      <a:pt x="5" y="33"/>
                      <a:pt x="7" y="33"/>
                    </a:cubicBezTo>
                    <a:cubicBezTo>
                      <a:pt x="8" y="33"/>
                      <a:pt x="9" y="31"/>
                      <a:pt x="9" y="33"/>
                    </a:cubicBezTo>
                    <a:cubicBezTo>
                      <a:pt x="8" y="36"/>
                      <a:pt x="8" y="36"/>
                      <a:pt x="9" y="36"/>
                    </a:cubicBezTo>
                    <a:cubicBezTo>
                      <a:pt x="11" y="36"/>
                      <a:pt x="11" y="38"/>
                      <a:pt x="9" y="38"/>
                    </a:cubicBezTo>
                    <a:cubicBezTo>
                      <a:pt x="7" y="38"/>
                      <a:pt x="8" y="36"/>
                      <a:pt x="8" y="36"/>
                    </a:cubicBezTo>
                    <a:cubicBezTo>
                      <a:pt x="7" y="36"/>
                      <a:pt x="5" y="41"/>
                      <a:pt x="7" y="41"/>
                    </a:cubicBezTo>
                    <a:cubicBezTo>
                      <a:pt x="8" y="42"/>
                      <a:pt x="7" y="39"/>
                      <a:pt x="8" y="39"/>
                    </a:cubicBezTo>
                    <a:cubicBezTo>
                      <a:pt x="9" y="41"/>
                      <a:pt x="9" y="41"/>
                      <a:pt x="11" y="42"/>
                    </a:cubicBezTo>
                    <a:cubicBezTo>
                      <a:pt x="11" y="44"/>
                      <a:pt x="14" y="44"/>
                      <a:pt x="13" y="45"/>
                    </a:cubicBezTo>
                    <a:cubicBezTo>
                      <a:pt x="11" y="47"/>
                      <a:pt x="11" y="51"/>
                      <a:pt x="13" y="61"/>
                    </a:cubicBezTo>
                    <a:cubicBezTo>
                      <a:pt x="13" y="61"/>
                      <a:pt x="13" y="61"/>
                      <a:pt x="13" y="61"/>
                    </a:cubicBezTo>
                    <a:cubicBezTo>
                      <a:pt x="23" y="61"/>
                      <a:pt x="16" y="58"/>
                      <a:pt x="23" y="55"/>
                    </a:cubicBezTo>
                    <a:cubicBezTo>
                      <a:pt x="28" y="51"/>
                      <a:pt x="31" y="56"/>
                      <a:pt x="32" y="53"/>
                    </a:cubicBezTo>
                    <a:cubicBezTo>
                      <a:pt x="32" y="51"/>
                      <a:pt x="35" y="50"/>
                      <a:pt x="37" y="51"/>
                    </a:cubicBezTo>
                    <a:cubicBezTo>
                      <a:pt x="37" y="53"/>
                      <a:pt x="39" y="50"/>
                      <a:pt x="40" y="53"/>
                    </a:cubicBezTo>
                    <a:cubicBezTo>
                      <a:pt x="40" y="56"/>
                      <a:pt x="46" y="55"/>
                      <a:pt x="46" y="58"/>
                    </a:cubicBezTo>
                    <a:cubicBezTo>
                      <a:pt x="48" y="59"/>
                      <a:pt x="48" y="56"/>
                      <a:pt x="52" y="58"/>
                    </a:cubicBezTo>
                    <a:cubicBezTo>
                      <a:pt x="58" y="59"/>
                      <a:pt x="54" y="62"/>
                      <a:pt x="58" y="64"/>
                    </a:cubicBezTo>
                    <a:cubicBezTo>
                      <a:pt x="63" y="65"/>
                      <a:pt x="61" y="68"/>
                      <a:pt x="64" y="68"/>
                    </a:cubicBezTo>
                    <a:cubicBezTo>
                      <a:pt x="67" y="68"/>
                      <a:pt x="69" y="68"/>
                      <a:pt x="71" y="70"/>
                    </a:cubicBezTo>
                    <a:cubicBezTo>
                      <a:pt x="71" y="72"/>
                      <a:pt x="69" y="70"/>
                      <a:pt x="71" y="73"/>
                    </a:cubicBezTo>
                    <a:cubicBezTo>
                      <a:pt x="71" y="75"/>
                      <a:pt x="69" y="76"/>
                      <a:pt x="71" y="76"/>
                    </a:cubicBezTo>
                    <a:cubicBezTo>
                      <a:pt x="72" y="78"/>
                      <a:pt x="71" y="79"/>
                      <a:pt x="71" y="81"/>
                    </a:cubicBezTo>
                    <a:cubicBezTo>
                      <a:pt x="74" y="81"/>
                      <a:pt x="72" y="82"/>
                      <a:pt x="75" y="82"/>
                    </a:cubicBezTo>
                    <a:cubicBezTo>
                      <a:pt x="80" y="81"/>
                      <a:pt x="77" y="86"/>
                      <a:pt x="81" y="84"/>
                    </a:cubicBezTo>
                    <a:cubicBezTo>
                      <a:pt x="86" y="82"/>
                      <a:pt x="86" y="78"/>
                      <a:pt x="89" y="76"/>
                    </a:cubicBezTo>
                    <a:cubicBezTo>
                      <a:pt x="92" y="75"/>
                      <a:pt x="96" y="76"/>
                      <a:pt x="98" y="68"/>
                    </a:cubicBezTo>
                    <a:cubicBezTo>
                      <a:pt x="100" y="61"/>
                      <a:pt x="103" y="64"/>
                      <a:pt x="106" y="61"/>
                    </a:cubicBezTo>
                    <a:cubicBezTo>
                      <a:pt x="107" y="58"/>
                      <a:pt x="109" y="62"/>
                      <a:pt x="113" y="61"/>
                    </a:cubicBezTo>
                    <a:cubicBezTo>
                      <a:pt x="112" y="55"/>
                      <a:pt x="115" y="55"/>
                      <a:pt x="113" y="55"/>
                    </a:cubicBezTo>
                    <a:cubicBezTo>
                      <a:pt x="110" y="53"/>
                      <a:pt x="109" y="50"/>
                      <a:pt x="107" y="51"/>
                    </a:cubicBezTo>
                    <a:cubicBezTo>
                      <a:pt x="104" y="53"/>
                      <a:pt x="96" y="44"/>
                      <a:pt x="95" y="44"/>
                    </a:cubicBezTo>
                    <a:cubicBezTo>
                      <a:pt x="92" y="44"/>
                      <a:pt x="89" y="39"/>
                      <a:pt x="84" y="34"/>
                    </a:cubicBezTo>
                    <a:cubicBezTo>
                      <a:pt x="80" y="31"/>
                      <a:pt x="81" y="28"/>
                      <a:pt x="78" y="27"/>
                    </a:cubicBezTo>
                    <a:cubicBezTo>
                      <a:pt x="77" y="25"/>
                      <a:pt x="78" y="21"/>
                      <a:pt x="75" y="19"/>
                    </a:cubicBezTo>
                    <a:cubicBezTo>
                      <a:pt x="71" y="17"/>
                      <a:pt x="72" y="21"/>
                      <a:pt x="71" y="19"/>
                    </a:cubicBezTo>
                    <a:cubicBezTo>
                      <a:pt x="67" y="17"/>
                      <a:pt x="66" y="21"/>
                      <a:pt x="63" y="17"/>
                    </a:cubicBezTo>
                    <a:cubicBezTo>
                      <a:pt x="60" y="14"/>
                      <a:pt x="63" y="16"/>
                      <a:pt x="61" y="14"/>
                    </a:cubicBezTo>
                    <a:cubicBezTo>
                      <a:pt x="60" y="13"/>
                      <a:pt x="64" y="13"/>
                      <a:pt x="63" y="11"/>
                    </a:cubicBezTo>
                    <a:cubicBezTo>
                      <a:pt x="58" y="8"/>
                      <a:pt x="64" y="7"/>
                      <a:pt x="60" y="7"/>
                    </a:cubicBezTo>
                    <a:cubicBezTo>
                      <a:pt x="52" y="7"/>
                      <a:pt x="57" y="5"/>
                      <a:pt x="54" y="5"/>
                    </a:cubicBezTo>
                    <a:cubicBezTo>
                      <a:pt x="51" y="4"/>
                      <a:pt x="51" y="0"/>
                      <a:pt x="49" y="2"/>
                    </a:cubicBezTo>
                    <a:cubicBezTo>
                      <a:pt x="48" y="4"/>
                      <a:pt x="45" y="2"/>
                      <a:pt x="46" y="4"/>
                    </a:cubicBezTo>
                    <a:cubicBezTo>
                      <a:pt x="51" y="7"/>
                      <a:pt x="45" y="4"/>
                      <a:pt x="45" y="7"/>
                    </a:cubicBezTo>
                    <a:cubicBezTo>
                      <a:pt x="45" y="10"/>
                      <a:pt x="39" y="7"/>
                      <a:pt x="37" y="11"/>
                    </a:cubicBezTo>
                    <a:cubicBezTo>
                      <a:pt x="35" y="16"/>
                      <a:pt x="39" y="16"/>
                      <a:pt x="39" y="17"/>
                    </a:cubicBezTo>
                    <a:cubicBezTo>
                      <a:pt x="37" y="19"/>
                      <a:pt x="32" y="17"/>
                      <a:pt x="29" y="17"/>
                    </a:cubicBezTo>
                    <a:cubicBezTo>
                      <a:pt x="26" y="17"/>
                      <a:pt x="25" y="19"/>
                      <a:pt x="25" y="17"/>
                    </a:cubicBezTo>
                    <a:cubicBezTo>
                      <a:pt x="20" y="11"/>
                      <a:pt x="22" y="11"/>
                      <a:pt x="19" y="10"/>
                    </a:cubicBezTo>
                    <a:cubicBezTo>
                      <a:pt x="17" y="8"/>
                      <a:pt x="16" y="5"/>
                      <a:pt x="13" y="7"/>
                    </a:cubicBezTo>
                    <a:cubicBezTo>
                      <a:pt x="9" y="7"/>
                      <a:pt x="7" y="8"/>
                      <a:pt x="5" y="10"/>
                    </a:cubicBezTo>
                    <a:cubicBezTo>
                      <a:pt x="2" y="11"/>
                      <a:pt x="0" y="13"/>
                      <a:pt x="0" y="1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56" name="Freeform 50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5365794" y="2694189"/>
                <a:ext cx="316978" cy="215214"/>
              </a:xfrm>
              <a:custGeom>
                <a:avLst/>
                <a:gdLst/>
                <a:ahLst/>
                <a:cxnLst>
                  <a:cxn ang="0">
                    <a:pos x="41" y="20"/>
                  </a:cxn>
                  <a:cxn ang="0">
                    <a:pos x="32" y="25"/>
                  </a:cxn>
                  <a:cxn ang="0">
                    <a:pos x="20" y="22"/>
                  </a:cxn>
                  <a:cxn ang="0">
                    <a:pos x="21" y="0"/>
                  </a:cxn>
                  <a:cxn ang="0">
                    <a:pos x="1" y="11"/>
                  </a:cxn>
                  <a:cxn ang="0">
                    <a:pos x="11" y="48"/>
                  </a:cxn>
                  <a:cxn ang="0">
                    <a:pos x="17" y="37"/>
                  </a:cxn>
                  <a:cxn ang="0">
                    <a:pos x="21" y="33"/>
                  </a:cxn>
                  <a:cxn ang="0">
                    <a:pos x="32" y="37"/>
                  </a:cxn>
                  <a:cxn ang="0">
                    <a:pos x="33" y="45"/>
                  </a:cxn>
                  <a:cxn ang="0">
                    <a:pos x="43" y="50"/>
                  </a:cxn>
                  <a:cxn ang="0">
                    <a:pos x="50" y="58"/>
                  </a:cxn>
                  <a:cxn ang="0">
                    <a:pos x="67" y="75"/>
                  </a:cxn>
                  <a:cxn ang="0">
                    <a:pos x="85" y="86"/>
                  </a:cxn>
                  <a:cxn ang="0">
                    <a:pos x="91" y="93"/>
                  </a:cxn>
                  <a:cxn ang="0">
                    <a:pos x="96" y="89"/>
                  </a:cxn>
                  <a:cxn ang="0">
                    <a:pos x="97" y="75"/>
                  </a:cxn>
                  <a:cxn ang="0">
                    <a:pos x="91" y="72"/>
                  </a:cxn>
                  <a:cxn ang="0">
                    <a:pos x="102" y="65"/>
                  </a:cxn>
                  <a:cxn ang="0">
                    <a:pos x="108" y="54"/>
                  </a:cxn>
                  <a:cxn ang="0">
                    <a:pos x="116" y="51"/>
                  </a:cxn>
                  <a:cxn ang="0">
                    <a:pos x="117" y="56"/>
                  </a:cxn>
                  <a:cxn ang="0">
                    <a:pos x="120" y="61"/>
                  </a:cxn>
                  <a:cxn ang="0">
                    <a:pos x="130" y="59"/>
                  </a:cxn>
                  <a:cxn ang="0">
                    <a:pos x="131" y="51"/>
                  </a:cxn>
                  <a:cxn ang="0">
                    <a:pos x="114" y="47"/>
                  </a:cxn>
                  <a:cxn ang="0">
                    <a:pos x="119" y="39"/>
                  </a:cxn>
                  <a:cxn ang="0">
                    <a:pos x="116" y="40"/>
                  </a:cxn>
                  <a:cxn ang="0">
                    <a:pos x="107" y="47"/>
                  </a:cxn>
                  <a:cxn ang="0">
                    <a:pos x="101" y="54"/>
                  </a:cxn>
                  <a:cxn ang="0">
                    <a:pos x="96" y="54"/>
                  </a:cxn>
                  <a:cxn ang="0">
                    <a:pos x="96" y="51"/>
                  </a:cxn>
                  <a:cxn ang="0">
                    <a:pos x="85" y="47"/>
                  </a:cxn>
                  <a:cxn ang="0">
                    <a:pos x="81" y="40"/>
                  </a:cxn>
                  <a:cxn ang="0">
                    <a:pos x="81" y="31"/>
                  </a:cxn>
                  <a:cxn ang="0">
                    <a:pos x="70" y="22"/>
                  </a:cxn>
                  <a:cxn ang="0">
                    <a:pos x="46" y="22"/>
                  </a:cxn>
                  <a:cxn ang="0">
                    <a:pos x="43" y="14"/>
                  </a:cxn>
                </a:cxnLst>
                <a:rect l="0" t="0" r="r" b="b"/>
                <a:pathLst>
                  <a:path w="140" h="95">
                    <a:moveTo>
                      <a:pt x="43" y="14"/>
                    </a:moveTo>
                    <a:cubicBezTo>
                      <a:pt x="36" y="20"/>
                      <a:pt x="40" y="19"/>
                      <a:pt x="41" y="20"/>
                    </a:cubicBezTo>
                    <a:cubicBezTo>
                      <a:pt x="43" y="22"/>
                      <a:pt x="38" y="23"/>
                      <a:pt x="36" y="23"/>
                    </a:cubicBezTo>
                    <a:cubicBezTo>
                      <a:pt x="33" y="22"/>
                      <a:pt x="35" y="25"/>
                      <a:pt x="32" y="25"/>
                    </a:cubicBezTo>
                    <a:cubicBezTo>
                      <a:pt x="29" y="25"/>
                      <a:pt x="33" y="22"/>
                      <a:pt x="29" y="20"/>
                    </a:cubicBezTo>
                    <a:cubicBezTo>
                      <a:pt x="23" y="20"/>
                      <a:pt x="20" y="25"/>
                      <a:pt x="20" y="22"/>
                    </a:cubicBezTo>
                    <a:cubicBezTo>
                      <a:pt x="20" y="17"/>
                      <a:pt x="18" y="14"/>
                      <a:pt x="20" y="12"/>
                    </a:cubicBezTo>
                    <a:cubicBezTo>
                      <a:pt x="20" y="11"/>
                      <a:pt x="17" y="11"/>
                      <a:pt x="21" y="0"/>
                    </a:cubicBezTo>
                    <a:cubicBezTo>
                      <a:pt x="20" y="0"/>
                      <a:pt x="6" y="5"/>
                      <a:pt x="3" y="6"/>
                    </a:cubicBezTo>
                    <a:cubicBezTo>
                      <a:pt x="0" y="6"/>
                      <a:pt x="1" y="6"/>
                      <a:pt x="1" y="11"/>
                    </a:cubicBezTo>
                    <a:cubicBezTo>
                      <a:pt x="1" y="14"/>
                      <a:pt x="1" y="48"/>
                      <a:pt x="1" y="48"/>
                    </a:cubicBezTo>
                    <a:cubicBezTo>
                      <a:pt x="4" y="48"/>
                      <a:pt x="9" y="50"/>
                      <a:pt x="11" y="48"/>
                    </a:cubicBezTo>
                    <a:cubicBezTo>
                      <a:pt x="11" y="47"/>
                      <a:pt x="7" y="47"/>
                      <a:pt x="9" y="42"/>
                    </a:cubicBezTo>
                    <a:cubicBezTo>
                      <a:pt x="11" y="37"/>
                      <a:pt x="17" y="40"/>
                      <a:pt x="17" y="37"/>
                    </a:cubicBezTo>
                    <a:cubicBezTo>
                      <a:pt x="17" y="34"/>
                      <a:pt x="23" y="37"/>
                      <a:pt x="18" y="34"/>
                    </a:cubicBezTo>
                    <a:cubicBezTo>
                      <a:pt x="17" y="33"/>
                      <a:pt x="20" y="34"/>
                      <a:pt x="21" y="33"/>
                    </a:cubicBezTo>
                    <a:cubicBezTo>
                      <a:pt x="23" y="31"/>
                      <a:pt x="23" y="34"/>
                      <a:pt x="26" y="36"/>
                    </a:cubicBezTo>
                    <a:cubicBezTo>
                      <a:pt x="29" y="36"/>
                      <a:pt x="24" y="37"/>
                      <a:pt x="32" y="37"/>
                    </a:cubicBezTo>
                    <a:cubicBezTo>
                      <a:pt x="36" y="37"/>
                      <a:pt x="30" y="39"/>
                      <a:pt x="35" y="42"/>
                    </a:cubicBezTo>
                    <a:cubicBezTo>
                      <a:pt x="36" y="44"/>
                      <a:pt x="32" y="44"/>
                      <a:pt x="33" y="45"/>
                    </a:cubicBezTo>
                    <a:cubicBezTo>
                      <a:pt x="35" y="47"/>
                      <a:pt x="32" y="45"/>
                      <a:pt x="35" y="48"/>
                    </a:cubicBezTo>
                    <a:cubicBezTo>
                      <a:pt x="38" y="51"/>
                      <a:pt x="40" y="48"/>
                      <a:pt x="43" y="50"/>
                    </a:cubicBezTo>
                    <a:cubicBezTo>
                      <a:pt x="44" y="51"/>
                      <a:pt x="43" y="48"/>
                      <a:pt x="47" y="50"/>
                    </a:cubicBezTo>
                    <a:cubicBezTo>
                      <a:pt x="50" y="51"/>
                      <a:pt x="49" y="56"/>
                      <a:pt x="50" y="58"/>
                    </a:cubicBezTo>
                    <a:cubicBezTo>
                      <a:pt x="53" y="59"/>
                      <a:pt x="52" y="62"/>
                      <a:pt x="56" y="65"/>
                    </a:cubicBezTo>
                    <a:cubicBezTo>
                      <a:pt x="61" y="70"/>
                      <a:pt x="64" y="75"/>
                      <a:pt x="67" y="75"/>
                    </a:cubicBezTo>
                    <a:cubicBezTo>
                      <a:pt x="68" y="75"/>
                      <a:pt x="76" y="84"/>
                      <a:pt x="79" y="83"/>
                    </a:cubicBezTo>
                    <a:cubicBezTo>
                      <a:pt x="81" y="81"/>
                      <a:pt x="82" y="84"/>
                      <a:pt x="85" y="86"/>
                    </a:cubicBezTo>
                    <a:cubicBezTo>
                      <a:pt x="87" y="86"/>
                      <a:pt x="84" y="86"/>
                      <a:pt x="85" y="92"/>
                    </a:cubicBezTo>
                    <a:cubicBezTo>
                      <a:pt x="90" y="90"/>
                      <a:pt x="90" y="95"/>
                      <a:pt x="91" y="93"/>
                    </a:cubicBezTo>
                    <a:cubicBezTo>
                      <a:pt x="93" y="93"/>
                      <a:pt x="93" y="93"/>
                      <a:pt x="94" y="95"/>
                    </a:cubicBezTo>
                    <a:cubicBezTo>
                      <a:pt x="94" y="93"/>
                      <a:pt x="94" y="92"/>
                      <a:pt x="96" y="89"/>
                    </a:cubicBezTo>
                    <a:cubicBezTo>
                      <a:pt x="99" y="84"/>
                      <a:pt x="101" y="84"/>
                      <a:pt x="97" y="81"/>
                    </a:cubicBezTo>
                    <a:cubicBezTo>
                      <a:pt x="96" y="78"/>
                      <a:pt x="99" y="76"/>
                      <a:pt x="97" y="75"/>
                    </a:cubicBezTo>
                    <a:cubicBezTo>
                      <a:pt x="96" y="73"/>
                      <a:pt x="94" y="76"/>
                      <a:pt x="94" y="73"/>
                    </a:cubicBezTo>
                    <a:cubicBezTo>
                      <a:pt x="94" y="72"/>
                      <a:pt x="93" y="72"/>
                      <a:pt x="91" y="72"/>
                    </a:cubicBezTo>
                    <a:cubicBezTo>
                      <a:pt x="90" y="72"/>
                      <a:pt x="93" y="67"/>
                      <a:pt x="96" y="67"/>
                    </a:cubicBezTo>
                    <a:cubicBezTo>
                      <a:pt x="99" y="69"/>
                      <a:pt x="101" y="69"/>
                      <a:pt x="102" y="65"/>
                    </a:cubicBezTo>
                    <a:cubicBezTo>
                      <a:pt x="105" y="61"/>
                      <a:pt x="101" y="61"/>
                      <a:pt x="105" y="61"/>
                    </a:cubicBezTo>
                    <a:cubicBezTo>
                      <a:pt x="108" y="61"/>
                      <a:pt x="105" y="56"/>
                      <a:pt x="108" y="54"/>
                    </a:cubicBezTo>
                    <a:cubicBezTo>
                      <a:pt x="108" y="53"/>
                      <a:pt x="108" y="56"/>
                      <a:pt x="113" y="54"/>
                    </a:cubicBezTo>
                    <a:cubicBezTo>
                      <a:pt x="116" y="53"/>
                      <a:pt x="114" y="51"/>
                      <a:pt x="116" y="51"/>
                    </a:cubicBezTo>
                    <a:cubicBezTo>
                      <a:pt x="117" y="51"/>
                      <a:pt x="117" y="54"/>
                      <a:pt x="117" y="54"/>
                    </a:cubicBezTo>
                    <a:cubicBezTo>
                      <a:pt x="119" y="54"/>
                      <a:pt x="119" y="54"/>
                      <a:pt x="117" y="56"/>
                    </a:cubicBezTo>
                    <a:cubicBezTo>
                      <a:pt x="116" y="58"/>
                      <a:pt x="114" y="59"/>
                      <a:pt x="116" y="59"/>
                    </a:cubicBezTo>
                    <a:cubicBezTo>
                      <a:pt x="117" y="59"/>
                      <a:pt x="116" y="62"/>
                      <a:pt x="120" y="61"/>
                    </a:cubicBezTo>
                    <a:cubicBezTo>
                      <a:pt x="122" y="59"/>
                      <a:pt x="122" y="59"/>
                      <a:pt x="125" y="62"/>
                    </a:cubicBezTo>
                    <a:cubicBezTo>
                      <a:pt x="128" y="64"/>
                      <a:pt x="128" y="58"/>
                      <a:pt x="130" y="59"/>
                    </a:cubicBezTo>
                    <a:cubicBezTo>
                      <a:pt x="133" y="59"/>
                      <a:pt x="133" y="58"/>
                      <a:pt x="136" y="54"/>
                    </a:cubicBezTo>
                    <a:cubicBezTo>
                      <a:pt x="140" y="53"/>
                      <a:pt x="136" y="54"/>
                      <a:pt x="131" y="51"/>
                    </a:cubicBezTo>
                    <a:cubicBezTo>
                      <a:pt x="125" y="48"/>
                      <a:pt x="126" y="44"/>
                      <a:pt x="123" y="48"/>
                    </a:cubicBezTo>
                    <a:cubicBezTo>
                      <a:pt x="122" y="53"/>
                      <a:pt x="117" y="48"/>
                      <a:pt x="114" y="47"/>
                    </a:cubicBezTo>
                    <a:cubicBezTo>
                      <a:pt x="111" y="45"/>
                      <a:pt x="126" y="39"/>
                      <a:pt x="120" y="37"/>
                    </a:cubicBezTo>
                    <a:cubicBezTo>
                      <a:pt x="119" y="39"/>
                      <a:pt x="119" y="39"/>
                      <a:pt x="119" y="39"/>
                    </a:cubicBezTo>
                    <a:cubicBezTo>
                      <a:pt x="117" y="39"/>
                      <a:pt x="119" y="40"/>
                      <a:pt x="117" y="40"/>
                    </a:cubicBezTo>
                    <a:cubicBezTo>
                      <a:pt x="116" y="40"/>
                      <a:pt x="117" y="39"/>
                      <a:pt x="116" y="40"/>
                    </a:cubicBezTo>
                    <a:cubicBezTo>
                      <a:pt x="113" y="42"/>
                      <a:pt x="111" y="44"/>
                      <a:pt x="110" y="45"/>
                    </a:cubicBezTo>
                    <a:cubicBezTo>
                      <a:pt x="108" y="47"/>
                      <a:pt x="108" y="47"/>
                      <a:pt x="107" y="47"/>
                    </a:cubicBezTo>
                    <a:cubicBezTo>
                      <a:pt x="104" y="48"/>
                      <a:pt x="105" y="50"/>
                      <a:pt x="104" y="50"/>
                    </a:cubicBezTo>
                    <a:cubicBezTo>
                      <a:pt x="102" y="51"/>
                      <a:pt x="101" y="53"/>
                      <a:pt x="101" y="54"/>
                    </a:cubicBezTo>
                    <a:cubicBezTo>
                      <a:pt x="102" y="56"/>
                      <a:pt x="101" y="58"/>
                      <a:pt x="99" y="56"/>
                    </a:cubicBezTo>
                    <a:cubicBezTo>
                      <a:pt x="96" y="54"/>
                      <a:pt x="96" y="54"/>
                      <a:pt x="96" y="54"/>
                    </a:cubicBezTo>
                    <a:cubicBezTo>
                      <a:pt x="97" y="51"/>
                      <a:pt x="97" y="51"/>
                      <a:pt x="97" y="51"/>
                    </a:cubicBezTo>
                    <a:cubicBezTo>
                      <a:pt x="97" y="51"/>
                      <a:pt x="97" y="53"/>
                      <a:pt x="96" y="51"/>
                    </a:cubicBezTo>
                    <a:cubicBezTo>
                      <a:pt x="96" y="50"/>
                      <a:pt x="96" y="50"/>
                      <a:pt x="90" y="50"/>
                    </a:cubicBezTo>
                    <a:cubicBezTo>
                      <a:pt x="85" y="51"/>
                      <a:pt x="85" y="50"/>
                      <a:pt x="85" y="47"/>
                    </a:cubicBezTo>
                    <a:cubicBezTo>
                      <a:pt x="85" y="44"/>
                      <a:pt x="85" y="40"/>
                      <a:pt x="84" y="40"/>
                    </a:cubicBezTo>
                    <a:cubicBezTo>
                      <a:pt x="81" y="40"/>
                      <a:pt x="81" y="40"/>
                      <a:pt x="81" y="40"/>
                    </a:cubicBezTo>
                    <a:cubicBezTo>
                      <a:pt x="81" y="40"/>
                      <a:pt x="81" y="39"/>
                      <a:pt x="81" y="36"/>
                    </a:cubicBezTo>
                    <a:cubicBezTo>
                      <a:pt x="82" y="31"/>
                      <a:pt x="82" y="28"/>
                      <a:pt x="81" y="31"/>
                    </a:cubicBezTo>
                    <a:cubicBezTo>
                      <a:pt x="78" y="33"/>
                      <a:pt x="79" y="26"/>
                      <a:pt x="76" y="25"/>
                    </a:cubicBezTo>
                    <a:cubicBezTo>
                      <a:pt x="73" y="23"/>
                      <a:pt x="73" y="20"/>
                      <a:pt x="70" y="22"/>
                    </a:cubicBezTo>
                    <a:cubicBezTo>
                      <a:pt x="65" y="25"/>
                      <a:pt x="62" y="22"/>
                      <a:pt x="55" y="23"/>
                    </a:cubicBezTo>
                    <a:cubicBezTo>
                      <a:pt x="49" y="25"/>
                      <a:pt x="49" y="25"/>
                      <a:pt x="46" y="22"/>
                    </a:cubicBezTo>
                    <a:cubicBezTo>
                      <a:pt x="44" y="19"/>
                      <a:pt x="43" y="17"/>
                      <a:pt x="43" y="16"/>
                    </a:cubicBezTo>
                    <a:cubicBezTo>
                      <a:pt x="41" y="16"/>
                      <a:pt x="43" y="14"/>
                      <a:pt x="43" y="14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57" name="Freeform 51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5607913" y="2755010"/>
                <a:ext cx="195333" cy="104098"/>
              </a:xfrm>
              <a:custGeom>
                <a:avLst/>
                <a:gdLst/>
                <a:ahLst/>
                <a:cxnLst>
                  <a:cxn ang="0">
                    <a:pos x="13" y="10"/>
                  </a:cxn>
                  <a:cxn ang="0">
                    <a:pos x="7" y="20"/>
                  </a:cxn>
                  <a:cxn ang="0">
                    <a:pos x="16" y="21"/>
                  </a:cxn>
                  <a:cxn ang="0">
                    <a:pos x="24" y="24"/>
                  </a:cxn>
                  <a:cxn ang="0">
                    <a:pos x="29" y="27"/>
                  </a:cxn>
                  <a:cxn ang="0">
                    <a:pos x="22" y="32"/>
                  </a:cxn>
                  <a:cxn ang="0">
                    <a:pos x="18" y="35"/>
                  </a:cxn>
                  <a:cxn ang="0">
                    <a:pos x="13" y="34"/>
                  </a:cxn>
                  <a:cxn ang="0">
                    <a:pos x="10" y="37"/>
                  </a:cxn>
                  <a:cxn ang="0">
                    <a:pos x="9" y="35"/>
                  </a:cxn>
                  <a:cxn ang="0">
                    <a:pos x="1" y="35"/>
                  </a:cxn>
                  <a:cxn ang="0">
                    <a:pos x="0" y="38"/>
                  </a:cxn>
                  <a:cxn ang="0">
                    <a:pos x="10" y="41"/>
                  </a:cxn>
                  <a:cxn ang="0">
                    <a:pos x="18" y="41"/>
                  </a:cxn>
                  <a:cxn ang="0">
                    <a:pos x="22" y="44"/>
                  </a:cxn>
                  <a:cxn ang="0">
                    <a:pos x="29" y="43"/>
                  </a:cxn>
                  <a:cxn ang="0">
                    <a:pos x="35" y="43"/>
                  </a:cxn>
                  <a:cxn ang="0">
                    <a:pos x="39" y="35"/>
                  </a:cxn>
                  <a:cxn ang="0">
                    <a:pos x="45" y="31"/>
                  </a:cxn>
                  <a:cxn ang="0">
                    <a:pos x="50" y="31"/>
                  </a:cxn>
                  <a:cxn ang="0">
                    <a:pos x="54" y="32"/>
                  </a:cxn>
                  <a:cxn ang="0">
                    <a:pos x="59" y="26"/>
                  </a:cxn>
                  <a:cxn ang="0">
                    <a:pos x="71" y="21"/>
                  </a:cxn>
                  <a:cxn ang="0">
                    <a:pos x="83" y="15"/>
                  </a:cxn>
                  <a:cxn ang="0">
                    <a:pos x="86" y="12"/>
                  </a:cxn>
                  <a:cxn ang="0">
                    <a:pos x="79" y="7"/>
                  </a:cxn>
                  <a:cxn ang="0">
                    <a:pos x="62" y="4"/>
                  </a:cxn>
                  <a:cxn ang="0">
                    <a:pos x="47" y="4"/>
                  </a:cxn>
                  <a:cxn ang="0">
                    <a:pos x="36" y="1"/>
                  </a:cxn>
                  <a:cxn ang="0">
                    <a:pos x="32" y="9"/>
                  </a:cxn>
                  <a:cxn ang="0">
                    <a:pos x="18" y="4"/>
                  </a:cxn>
                  <a:cxn ang="0">
                    <a:pos x="13" y="10"/>
                  </a:cxn>
                </a:cxnLst>
                <a:rect l="0" t="0" r="r" b="b"/>
                <a:pathLst>
                  <a:path w="86" h="46">
                    <a:moveTo>
                      <a:pt x="13" y="10"/>
                    </a:moveTo>
                    <a:cubicBezTo>
                      <a:pt x="19" y="12"/>
                      <a:pt x="4" y="18"/>
                      <a:pt x="7" y="20"/>
                    </a:cubicBezTo>
                    <a:cubicBezTo>
                      <a:pt x="10" y="21"/>
                      <a:pt x="15" y="26"/>
                      <a:pt x="16" y="21"/>
                    </a:cubicBezTo>
                    <a:cubicBezTo>
                      <a:pt x="19" y="17"/>
                      <a:pt x="18" y="21"/>
                      <a:pt x="24" y="24"/>
                    </a:cubicBezTo>
                    <a:cubicBezTo>
                      <a:pt x="29" y="27"/>
                      <a:pt x="33" y="26"/>
                      <a:pt x="29" y="27"/>
                    </a:cubicBezTo>
                    <a:cubicBezTo>
                      <a:pt x="25" y="31"/>
                      <a:pt x="25" y="32"/>
                      <a:pt x="22" y="32"/>
                    </a:cubicBezTo>
                    <a:cubicBezTo>
                      <a:pt x="21" y="31"/>
                      <a:pt x="21" y="37"/>
                      <a:pt x="18" y="35"/>
                    </a:cubicBezTo>
                    <a:cubicBezTo>
                      <a:pt x="15" y="32"/>
                      <a:pt x="15" y="32"/>
                      <a:pt x="13" y="34"/>
                    </a:cubicBezTo>
                    <a:cubicBezTo>
                      <a:pt x="12" y="35"/>
                      <a:pt x="12" y="34"/>
                      <a:pt x="10" y="37"/>
                    </a:cubicBezTo>
                    <a:cubicBezTo>
                      <a:pt x="9" y="38"/>
                      <a:pt x="10" y="35"/>
                      <a:pt x="9" y="35"/>
                    </a:cubicBezTo>
                    <a:cubicBezTo>
                      <a:pt x="6" y="34"/>
                      <a:pt x="1" y="34"/>
                      <a:pt x="1" y="35"/>
                    </a:cubicBezTo>
                    <a:cubicBezTo>
                      <a:pt x="1" y="38"/>
                      <a:pt x="0" y="35"/>
                      <a:pt x="0" y="38"/>
                    </a:cubicBezTo>
                    <a:cubicBezTo>
                      <a:pt x="0" y="43"/>
                      <a:pt x="10" y="40"/>
                      <a:pt x="10" y="41"/>
                    </a:cubicBezTo>
                    <a:cubicBezTo>
                      <a:pt x="12" y="44"/>
                      <a:pt x="16" y="38"/>
                      <a:pt x="18" y="41"/>
                    </a:cubicBezTo>
                    <a:cubicBezTo>
                      <a:pt x="19" y="46"/>
                      <a:pt x="21" y="43"/>
                      <a:pt x="22" y="44"/>
                    </a:cubicBezTo>
                    <a:cubicBezTo>
                      <a:pt x="24" y="46"/>
                      <a:pt x="24" y="41"/>
                      <a:pt x="29" y="43"/>
                    </a:cubicBezTo>
                    <a:cubicBezTo>
                      <a:pt x="33" y="44"/>
                      <a:pt x="32" y="41"/>
                      <a:pt x="35" y="43"/>
                    </a:cubicBezTo>
                    <a:cubicBezTo>
                      <a:pt x="41" y="41"/>
                      <a:pt x="32" y="37"/>
                      <a:pt x="39" y="35"/>
                    </a:cubicBezTo>
                    <a:cubicBezTo>
                      <a:pt x="45" y="34"/>
                      <a:pt x="42" y="31"/>
                      <a:pt x="45" y="31"/>
                    </a:cubicBezTo>
                    <a:cubicBezTo>
                      <a:pt x="50" y="32"/>
                      <a:pt x="48" y="26"/>
                      <a:pt x="50" y="31"/>
                    </a:cubicBezTo>
                    <a:cubicBezTo>
                      <a:pt x="51" y="35"/>
                      <a:pt x="53" y="31"/>
                      <a:pt x="54" y="32"/>
                    </a:cubicBezTo>
                    <a:cubicBezTo>
                      <a:pt x="57" y="34"/>
                      <a:pt x="57" y="31"/>
                      <a:pt x="59" y="26"/>
                    </a:cubicBezTo>
                    <a:cubicBezTo>
                      <a:pt x="60" y="23"/>
                      <a:pt x="69" y="27"/>
                      <a:pt x="71" y="21"/>
                    </a:cubicBezTo>
                    <a:cubicBezTo>
                      <a:pt x="72" y="18"/>
                      <a:pt x="80" y="17"/>
                      <a:pt x="83" y="15"/>
                    </a:cubicBezTo>
                    <a:cubicBezTo>
                      <a:pt x="85" y="13"/>
                      <a:pt x="85" y="15"/>
                      <a:pt x="86" y="12"/>
                    </a:cubicBezTo>
                    <a:cubicBezTo>
                      <a:pt x="83" y="7"/>
                      <a:pt x="80" y="10"/>
                      <a:pt x="79" y="7"/>
                    </a:cubicBezTo>
                    <a:cubicBezTo>
                      <a:pt x="79" y="4"/>
                      <a:pt x="72" y="4"/>
                      <a:pt x="62" y="4"/>
                    </a:cubicBezTo>
                    <a:cubicBezTo>
                      <a:pt x="50" y="3"/>
                      <a:pt x="50" y="6"/>
                      <a:pt x="47" y="4"/>
                    </a:cubicBezTo>
                    <a:cubicBezTo>
                      <a:pt x="45" y="3"/>
                      <a:pt x="41" y="0"/>
                      <a:pt x="36" y="1"/>
                    </a:cubicBezTo>
                    <a:cubicBezTo>
                      <a:pt x="30" y="3"/>
                      <a:pt x="35" y="10"/>
                      <a:pt x="32" y="9"/>
                    </a:cubicBezTo>
                    <a:cubicBezTo>
                      <a:pt x="29" y="7"/>
                      <a:pt x="22" y="4"/>
                      <a:pt x="18" y="4"/>
                    </a:cubicBezTo>
                    <a:cubicBezTo>
                      <a:pt x="13" y="6"/>
                      <a:pt x="13" y="9"/>
                      <a:pt x="13" y="1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58" name="Freeform 52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5569315" y="2809983"/>
                <a:ext cx="145038" cy="113455"/>
              </a:xfrm>
              <a:custGeom>
                <a:avLst/>
                <a:gdLst/>
                <a:ahLst/>
                <a:cxnLst>
                  <a:cxn ang="0">
                    <a:pos x="31" y="9"/>
                  </a:cxn>
                  <a:cxn ang="0">
                    <a:pos x="26" y="8"/>
                  </a:cxn>
                  <a:cxn ang="0">
                    <a:pos x="27" y="5"/>
                  </a:cxn>
                  <a:cxn ang="0">
                    <a:pos x="27" y="3"/>
                  </a:cxn>
                  <a:cxn ang="0">
                    <a:pos x="26" y="0"/>
                  </a:cxn>
                  <a:cxn ang="0">
                    <a:pos x="23" y="3"/>
                  </a:cxn>
                  <a:cxn ang="0">
                    <a:pos x="18" y="3"/>
                  </a:cxn>
                  <a:cxn ang="0">
                    <a:pos x="15" y="9"/>
                  </a:cxn>
                  <a:cxn ang="0">
                    <a:pos x="12" y="14"/>
                  </a:cxn>
                  <a:cxn ang="0">
                    <a:pos x="6" y="16"/>
                  </a:cxn>
                  <a:cxn ang="0">
                    <a:pos x="1" y="20"/>
                  </a:cxn>
                  <a:cxn ang="0">
                    <a:pos x="4" y="22"/>
                  </a:cxn>
                  <a:cxn ang="0">
                    <a:pos x="7" y="23"/>
                  </a:cxn>
                  <a:cxn ang="0">
                    <a:pos x="7" y="30"/>
                  </a:cxn>
                  <a:cxn ang="0">
                    <a:pos x="6" y="37"/>
                  </a:cxn>
                  <a:cxn ang="0">
                    <a:pos x="4" y="44"/>
                  </a:cxn>
                  <a:cxn ang="0">
                    <a:pos x="7" y="44"/>
                  </a:cxn>
                  <a:cxn ang="0">
                    <a:pos x="14" y="42"/>
                  </a:cxn>
                  <a:cxn ang="0">
                    <a:pos x="17" y="44"/>
                  </a:cxn>
                  <a:cxn ang="0">
                    <a:pos x="18" y="39"/>
                  </a:cxn>
                  <a:cxn ang="0">
                    <a:pos x="24" y="39"/>
                  </a:cxn>
                  <a:cxn ang="0">
                    <a:pos x="24" y="34"/>
                  </a:cxn>
                  <a:cxn ang="0">
                    <a:pos x="31" y="30"/>
                  </a:cxn>
                  <a:cxn ang="0">
                    <a:pos x="32" y="34"/>
                  </a:cxn>
                  <a:cxn ang="0">
                    <a:pos x="35" y="37"/>
                  </a:cxn>
                  <a:cxn ang="0">
                    <a:pos x="38" y="47"/>
                  </a:cxn>
                  <a:cxn ang="0">
                    <a:pos x="44" y="44"/>
                  </a:cxn>
                  <a:cxn ang="0">
                    <a:pos x="47" y="41"/>
                  </a:cxn>
                  <a:cxn ang="0">
                    <a:pos x="52" y="41"/>
                  </a:cxn>
                  <a:cxn ang="0">
                    <a:pos x="55" y="41"/>
                  </a:cxn>
                  <a:cxn ang="0">
                    <a:pos x="60" y="42"/>
                  </a:cxn>
                  <a:cxn ang="0">
                    <a:pos x="63" y="39"/>
                  </a:cxn>
                  <a:cxn ang="0">
                    <a:pos x="61" y="33"/>
                  </a:cxn>
                  <a:cxn ang="0">
                    <a:pos x="61" y="28"/>
                  </a:cxn>
                  <a:cxn ang="0">
                    <a:pos x="55" y="28"/>
                  </a:cxn>
                  <a:cxn ang="0">
                    <a:pos x="54" y="23"/>
                  </a:cxn>
                  <a:cxn ang="0">
                    <a:pos x="52" y="19"/>
                  </a:cxn>
                  <a:cxn ang="0">
                    <a:pos x="46" y="19"/>
                  </a:cxn>
                  <a:cxn ang="0">
                    <a:pos x="40" y="20"/>
                  </a:cxn>
                  <a:cxn ang="0">
                    <a:pos x="35" y="17"/>
                  </a:cxn>
                  <a:cxn ang="0">
                    <a:pos x="27" y="17"/>
                  </a:cxn>
                  <a:cxn ang="0">
                    <a:pos x="17" y="14"/>
                  </a:cxn>
                  <a:cxn ang="0">
                    <a:pos x="18" y="11"/>
                  </a:cxn>
                  <a:cxn ang="0">
                    <a:pos x="26" y="11"/>
                  </a:cxn>
                  <a:cxn ang="0">
                    <a:pos x="27" y="13"/>
                  </a:cxn>
                  <a:cxn ang="0">
                    <a:pos x="31" y="9"/>
                  </a:cxn>
                </a:cxnLst>
                <a:rect l="0" t="0" r="r" b="b"/>
                <a:pathLst>
                  <a:path w="64" h="50">
                    <a:moveTo>
                      <a:pt x="31" y="9"/>
                    </a:moveTo>
                    <a:cubicBezTo>
                      <a:pt x="26" y="11"/>
                      <a:pt x="27" y="8"/>
                      <a:pt x="26" y="8"/>
                    </a:cubicBezTo>
                    <a:cubicBezTo>
                      <a:pt x="24" y="8"/>
                      <a:pt x="26" y="6"/>
                      <a:pt x="27" y="5"/>
                    </a:cubicBezTo>
                    <a:cubicBezTo>
                      <a:pt x="29" y="3"/>
                      <a:pt x="29" y="3"/>
                      <a:pt x="27" y="3"/>
                    </a:cubicBezTo>
                    <a:cubicBezTo>
                      <a:pt x="27" y="3"/>
                      <a:pt x="27" y="0"/>
                      <a:pt x="26" y="0"/>
                    </a:cubicBezTo>
                    <a:cubicBezTo>
                      <a:pt x="24" y="0"/>
                      <a:pt x="26" y="2"/>
                      <a:pt x="23" y="3"/>
                    </a:cubicBezTo>
                    <a:cubicBezTo>
                      <a:pt x="18" y="5"/>
                      <a:pt x="18" y="2"/>
                      <a:pt x="18" y="3"/>
                    </a:cubicBezTo>
                    <a:cubicBezTo>
                      <a:pt x="15" y="5"/>
                      <a:pt x="18" y="9"/>
                      <a:pt x="15" y="9"/>
                    </a:cubicBezTo>
                    <a:cubicBezTo>
                      <a:pt x="10" y="9"/>
                      <a:pt x="15" y="9"/>
                      <a:pt x="12" y="14"/>
                    </a:cubicBezTo>
                    <a:cubicBezTo>
                      <a:pt x="10" y="17"/>
                      <a:pt x="9" y="17"/>
                      <a:pt x="6" y="16"/>
                    </a:cubicBezTo>
                    <a:cubicBezTo>
                      <a:pt x="3" y="16"/>
                      <a:pt x="0" y="20"/>
                      <a:pt x="1" y="20"/>
                    </a:cubicBezTo>
                    <a:cubicBezTo>
                      <a:pt x="3" y="20"/>
                      <a:pt x="4" y="20"/>
                      <a:pt x="4" y="22"/>
                    </a:cubicBezTo>
                    <a:cubicBezTo>
                      <a:pt x="4" y="25"/>
                      <a:pt x="6" y="22"/>
                      <a:pt x="7" y="23"/>
                    </a:cubicBezTo>
                    <a:cubicBezTo>
                      <a:pt x="9" y="25"/>
                      <a:pt x="6" y="27"/>
                      <a:pt x="7" y="30"/>
                    </a:cubicBezTo>
                    <a:cubicBezTo>
                      <a:pt x="10" y="33"/>
                      <a:pt x="9" y="33"/>
                      <a:pt x="6" y="37"/>
                    </a:cubicBezTo>
                    <a:cubicBezTo>
                      <a:pt x="4" y="41"/>
                      <a:pt x="4" y="42"/>
                      <a:pt x="4" y="44"/>
                    </a:cubicBezTo>
                    <a:cubicBezTo>
                      <a:pt x="6" y="47"/>
                      <a:pt x="7" y="47"/>
                      <a:pt x="7" y="44"/>
                    </a:cubicBezTo>
                    <a:cubicBezTo>
                      <a:pt x="9" y="42"/>
                      <a:pt x="10" y="42"/>
                      <a:pt x="14" y="42"/>
                    </a:cubicBezTo>
                    <a:cubicBezTo>
                      <a:pt x="15" y="41"/>
                      <a:pt x="17" y="44"/>
                      <a:pt x="17" y="44"/>
                    </a:cubicBezTo>
                    <a:cubicBezTo>
                      <a:pt x="18" y="44"/>
                      <a:pt x="17" y="41"/>
                      <a:pt x="18" y="39"/>
                    </a:cubicBezTo>
                    <a:cubicBezTo>
                      <a:pt x="21" y="37"/>
                      <a:pt x="23" y="41"/>
                      <a:pt x="24" y="39"/>
                    </a:cubicBezTo>
                    <a:cubicBezTo>
                      <a:pt x="26" y="37"/>
                      <a:pt x="23" y="36"/>
                      <a:pt x="24" y="34"/>
                    </a:cubicBezTo>
                    <a:cubicBezTo>
                      <a:pt x="27" y="33"/>
                      <a:pt x="26" y="28"/>
                      <a:pt x="31" y="30"/>
                    </a:cubicBezTo>
                    <a:cubicBezTo>
                      <a:pt x="35" y="31"/>
                      <a:pt x="32" y="33"/>
                      <a:pt x="32" y="34"/>
                    </a:cubicBezTo>
                    <a:cubicBezTo>
                      <a:pt x="33" y="36"/>
                      <a:pt x="35" y="31"/>
                      <a:pt x="35" y="37"/>
                    </a:cubicBezTo>
                    <a:cubicBezTo>
                      <a:pt x="33" y="47"/>
                      <a:pt x="35" y="50"/>
                      <a:pt x="38" y="47"/>
                    </a:cubicBezTo>
                    <a:cubicBezTo>
                      <a:pt x="41" y="45"/>
                      <a:pt x="44" y="45"/>
                      <a:pt x="44" y="44"/>
                    </a:cubicBezTo>
                    <a:cubicBezTo>
                      <a:pt x="44" y="42"/>
                      <a:pt x="46" y="42"/>
                      <a:pt x="47" y="41"/>
                    </a:cubicBezTo>
                    <a:cubicBezTo>
                      <a:pt x="49" y="39"/>
                      <a:pt x="54" y="39"/>
                      <a:pt x="52" y="41"/>
                    </a:cubicBezTo>
                    <a:cubicBezTo>
                      <a:pt x="50" y="44"/>
                      <a:pt x="52" y="44"/>
                      <a:pt x="55" y="41"/>
                    </a:cubicBezTo>
                    <a:cubicBezTo>
                      <a:pt x="58" y="39"/>
                      <a:pt x="61" y="41"/>
                      <a:pt x="60" y="42"/>
                    </a:cubicBezTo>
                    <a:cubicBezTo>
                      <a:pt x="63" y="42"/>
                      <a:pt x="64" y="41"/>
                      <a:pt x="63" y="39"/>
                    </a:cubicBezTo>
                    <a:cubicBezTo>
                      <a:pt x="60" y="37"/>
                      <a:pt x="63" y="34"/>
                      <a:pt x="61" y="33"/>
                    </a:cubicBezTo>
                    <a:cubicBezTo>
                      <a:pt x="60" y="31"/>
                      <a:pt x="61" y="30"/>
                      <a:pt x="61" y="28"/>
                    </a:cubicBezTo>
                    <a:cubicBezTo>
                      <a:pt x="60" y="27"/>
                      <a:pt x="55" y="25"/>
                      <a:pt x="55" y="28"/>
                    </a:cubicBezTo>
                    <a:cubicBezTo>
                      <a:pt x="55" y="30"/>
                      <a:pt x="52" y="27"/>
                      <a:pt x="54" y="23"/>
                    </a:cubicBezTo>
                    <a:cubicBezTo>
                      <a:pt x="54" y="22"/>
                      <a:pt x="50" y="22"/>
                      <a:pt x="52" y="19"/>
                    </a:cubicBezTo>
                    <a:cubicBezTo>
                      <a:pt x="49" y="17"/>
                      <a:pt x="50" y="20"/>
                      <a:pt x="46" y="19"/>
                    </a:cubicBezTo>
                    <a:cubicBezTo>
                      <a:pt x="41" y="17"/>
                      <a:pt x="41" y="22"/>
                      <a:pt x="40" y="20"/>
                    </a:cubicBezTo>
                    <a:cubicBezTo>
                      <a:pt x="38" y="19"/>
                      <a:pt x="37" y="22"/>
                      <a:pt x="35" y="17"/>
                    </a:cubicBezTo>
                    <a:cubicBezTo>
                      <a:pt x="33" y="14"/>
                      <a:pt x="29" y="20"/>
                      <a:pt x="27" y="17"/>
                    </a:cubicBezTo>
                    <a:cubicBezTo>
                      <a:pt x="27" y="16"/>
                      <a:pt x="17" y="19"/>
                      <a:pt x="17" y="14"/>
                    </a:cubicBezTo>
                    <a:cubicBezTo>
                      <a:pt x="17" y="11"/>
                      <a:pt x="18" y="14"/>
                      <a:pt x="18" y="11"/>
                    </a:cubicBezTo>
                    <a:cubicBezTo>
                      <a:pt x="18" y="9"/>
                      <a:pt x="23" y="9"/>
                      <a:pt x="26" y="11"/>
                    </a:cubicBezTo>
                    <a:cubicBezTo>
                      <a:pt x="27" y="11"/>
                      <a:pt x="26" y="14"/>
                      <a:pt x="27" y="13"/>
                    </a:cubicBezTo>
                    <a:cubicBezTo>
                      <a:pt x="29" y="9"/>
                      <a:pt x="29" y="11"/>
                      <a:pt x="31" y="9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59" name="Freeform 53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6517908" y="3188946"/>
                <a:ext cx="38599" cy="92401"/>
              </a:xfrm>
              <a:custGeom>
                <a:avLst/>
                <a:gdLst/>
                <a:ahLst/>
                <a:cxnLst>
                  <a:cxn ang="0">
                    <a:pos x="3" y="12"/>
                  </a:cxn>
                  <a:cxn ang="0">
                    <a:pos x="11" y="3"/>
                  </a:cxn>
                  <a:cxn ang="0">
                    <a:pos x="14" y="3"/>
                  </a:cxn>
                  <a:cxn ang="0">
                    <a:pos x="16" y="9"/>
                  </a:cxn>
                  <a:cxn ang="0">
                    <a:pos x="13" y="22"/>
                  </a:cxn>
                  <a:cxn ang="0">
                    <a:pos x="8" y="34"/>
                  </a:cxn>
                  <a:cxn ang="0">
                    <a:pos x="5" y="33"/>
                  </a:cxn>
                  <a:cxn ang="0">
                    <a:pos x="2" y="26"/>
                  </a:cxn>
                  <a:cxn ang="0">
                    <a:pos x="3" y="12"/>
                  </a:cxn>
                </a:cxnLst>
                <a:rect l="0" t="0" r="r" b="b"/>
                <a:pathLst>
                  <a:path w="17" h="41">
                    <a:moveTo>
                      <a:pt x="3" y="12"/>
                    </a:moveTo>
                    <a:cubicBezTo>
                      <a:pt x="8" y="6"/>
                      <a:pt x="10" y="4"/>
                      <a:pt x="11" y="3"/>
                    </a:cubicBezTo>
                    <a:cubicBezTo>
                      <a:pt x="13" y="3"/>
                      <a:pt x="13" y="0"/>
                      <a:pt x="14" y="3"/>
                    </a:cubicBezTo>
                    <a:cubicBezTo>
                      <a:pt x="17" y="6"/>
                      <a:pt x="14" y="6"/>
                      <a:pt x="16" y="9"/>
                    </a:cubicBezTo>
                    <a:cubicBezTo>
                      <a:pt x="16" y="11"/>
                      <a:pt x="14" y="14"/>
                      <a:pt x="13" y="22"/>
                    </a:cubicBezTo>
                    <a:cubicBezTo>
                      <a:pt x="11" y="31"/>
                      <a:pt x="8" y="28"/>
                      <a:pt x="8" y="34"/>
                    </a:cubicBezTo>
                    <a:cubicBezTo>
                      <a:pt x="8" y="41"/>
                      <a:pt x="7" y="36"/>
                      <a:pt x="5" y="33"/>
                    </a:cubicBezTo>
                    <a:cubicBezTo>
                      <a:pt x="5" y="30"/>
                      <a:pt x="3" y="33"/>
                      <a:pt x="2" y="26"/>
                    </a:cubicBezTo>
                    <a:cubicBezTo>
                      <a:pt x="0" y="22"/>
                      <a:pt x="0" y="19"/>
                      <a:pt x="3" y="12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60" name="Freeform 54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6599784" y="2762028"/>
                <a:ext cx="113457" cy="138017"/>
              </a:xfrm>
              <a:custGeom>
                <a:avLst/>
                <a:gdLst/>
                <a:ahLst/>
                <a:cxnLst>
                  <a:cxn ang="0">
                    <a:pos x="0" y="34"/>
                  </a:cxn>
                  <a:cxn ang="0">
                    <a:pos x="3" y="37"/>
                  </a:cxn>
                  <a:cxn ang="0">
                    <a:pos x="7" y="42"/>
                  </a:cxn>
                  <a:cxn ang="0">
                    <a:pos x="6" y="48"/>
                  </a:cxn>
                  <a:cxn ang="0">
                    <a:pos x="4" y="51"/>
                  </a:cxn>
                  <a:cxn ang="0">
                    <a:pos x="4" y="54"/>
                  </a:cxn>
                  <a:cxn ang="0">
                    <a:pos x="6" y="57"/>
                  </a:cxn>
                  <a:cxn ang="0">
                    <a:pos x="9" y="59"/>
                  </a:cxn>
                  <a:cxn ang="0">
                    <a:pos x="12" y="57"/>
                  </a:cxn>
                  <a:cxn ang="0">
                    <a:pos x="14" y="57"/>
                  </a:cxn>
                  <a:cxn ang="0">
                    <a:pos x="18" y="57"/>
                  </a:cxn>
                  <a:cxn ang="0">
                    <a:pos x="21" y="53"/>
                  </a:cxn>
                  <a:cxn ang="0">
                    <a:pos x="30" y="51"/>
                  </a:cxn>
                  <a:cxn ang="0">
                    <a:pos x="32" y="48"/>
                  </a:cxn>
                  <a:cxn ang="0">
                    <a:pos x="27" y="45"/>
                  </a:cxn>
                  <a:cxn ang="0">
                    <a:pos x="24" y="42"/>
                  </a:cxn>
                  <a:cxn ang="0">
                    <a:pos x="24" y="39"/>
                  </a:cxn>
                  <a:cxn ang="0">
                    <a:pos x="27" y="34"/>
                  </a:cxn>
                  <a:cxn ang="0">
                    <a:pos x="33" y="31"/>
                  </a:cxn>
                  <a:cxn ang="0">
                    <a:pos x="41" y="25"/>
                  </a:cxn>
                  <a:cxn ang="0">
                    <a:pos x="43" y="19"/>
                  </a:cxn>
                  <a:cxn ang="0">
                    <a:pos x="43" y="14"/>
                  </a:cxn>
                  <a:cxn ang="0">
                    <a:pos x="47" y="8"/>
                  </a:cxn>
                  <a:cxn ang="0">
                    <a:pos x="50" y="8"/>
                  </a:cxn>
                  <a:cxn ang="0">
                    <a:pos x="49" y="6"/>
                  </a:cxn>
                  <a:cxn ang="0">
                    <a:pos x="47" y="5"/>
                  </a:cxn>
                  <a:cxn ang="0">
                    <a:pos x="44" y="0"/>
                  </a:cxn>
                  <a:cxn ang="0">
                    <a:pos x="41" y="6"/>
                  </a:cxn>
                  <a:cxn ang="0">
                    <a:pos x="36" y="11"/>
                  </a:cxn>
                  <a:cxn ang="0">
                    <a:pos x="33" y="11"/>
                  </a:cxn>
                  <a:cxn ang="0">
                    <a:pos x="29" y="12"/>
                  </a:cxn>
                  <a:cxn ang="0">
                    <a:pos x="30" y="17"/>
                  </a:cxn>
                  <a:cxn ang="0">
                    <a:pos x="27" y="17"/>
                  </a:cxn>
                  <a:cxn ang="0">
                    <a:pos x="23" y="17"/>
                  </a:cxn>
                  <a:cxn ang="0">
                    <a:pos x="20" y="14"/>
                  </a:cxn>
                  <a:cxn ang="0">
                    <a:pos x="18" y="15"/>
                  </a:cxn>
                  <a:cxn ang="0">
                    <a:pos x="17" y="19"/>
                  </a:cxn>
                  <a:cxn ang="0">
                    <a:pos x="12" y="23"/>
                  </a:cxn>
                  <a:cxn ang="0">
                    <a:pos x="9" y="25"/>
                  </a:cxn>
                  <a:cxn ang="0">
                    <a:pos x="7" y="26"/>
                  </a:cxn>
                  <a:cxn ang="0">
                    <a:pos x="4" y="28"/>
                  </a:cxn>
                  <a:cxn ang="0">
                    <a:pos x="0" y="33"/>
                  </a:cxn>
                  <a:cxn ang="0">
                    <a:pos x="0" y="34"/>
                  </a:cxn>
                </a:cxnLst>
                <a:rect l="0" t="0" r="r" b="b"/>
                <a:pathLst>
                  <a:path w="50" h="61">
                    <a:moveTo>
                      <a:pt x="0" y="34"/>
                    </a:moveTo>
                    <a:cubicBezTo>
                      <a:pt x="0" y="36"/>
                      <a:pt x="1" y="39"/>
                      <a:pt x="3" y="37"/>
                    </a:cubicBezTo>
                    <a:cubicBezTo>
                      <a:pt x="4" y="36"/>
                      <a:pt x="9" y="39"/>
                      <a:pt x="7" y="42"/>
                    </a:cubicBezTo>
                    <a:cubicBezTo>
                      <a:pt x="7" y="45"/>
                      <a:pt x="4" y="47"/>
                      <a:pt x="6" y="48"/>
                    </a:cubicBezTo>
                    <a:cubicBezTo>
                      <a:pt x="7" y="50"/>
                      <a:pt x="4" y="48"/>
                      <a:pt x="4" y="51"/>
                    </a:cubicBezTo>
                    <a:cubicBezTo>
                      <a:pt x="3" y="54"/>
                      <a:pt x="0" y="54"/>
                      <a:pt x="4" y="54"/>
                    </a:cubicBezTo>
                    <a:cubicBezTo>
                      <a:pt x="7" y="56"/>
                      <a:pt x="1" y="56"/>
                      <a:pt x="6" y="57"/>
                    </a:cubicBezTo>
                    <a:cubicBezTo>
                      <a:pt x="9" y="57"/>
                      <a:pt x="6" y="61"/>
                      <a:pt x="9" y="59"/>
                    </a:cubicBezTo>
                    <a:cubicBezTo>
                      <a:pt x="11" y="57"/>
                      <a:pt x="9" y="54"/>
                      <a:pt x="12" y="57"/>
                    </a:cubicBezTo>
                    <a:cubicBezTo>
                      <a:pt x="14" y="59"/>
                      <a:pt x="14" y="59"/>
                      <a:pt x="14" y="57"/>
                    </a:cubicBezTo>
                    <a:cubicBezTo>
                      <a:pt x="15" y="56"/>
                      <a:pt x="17" y="57"/>
                      <a:pt x="18" y="57"/>
                    </a:cubicBezTo>
                    <a:cubicBezTo>
                      <a:pt x="18" y="56"/>
                      <a:pt x="18" y="54"/>
                      <a:pt x="21" y="53"/>
                    </a:cubicBezTo>
                    <a:cubicBezTo>
                      <a:pt x="26" y="51"/>
                      <a:pt x="27" y="53"/>
                      <a:pt x="30" y="51"/>
                    </a:cubicBezTo>
                    <a:cubicBezTo>
                      <a:pt x="32" y="51"/>
                      <a:pt x="29" y="50"/>
                      <a:pt x="32" y="48"/>
                    </a:cubicBezTo>
                    <a:cubicBezTo>
                      <a:pt x="30" y="47"/>
                      <a:pt x="30" y="48"/>
                      <a:pt x="27" y="45"/>
                    </a:cubicBezTo>
                    <a:cubicBezTo>
                      <a:pt x="26" y="42"/>
                      <a:pt x="24" y="43"/>
                      <a:pt x="24" y="42"/>
                    </a:cubicBezTo>
                    <a:cubicBezTo>
                      <a:pt x="23" y="40"/>
                      <a:pt x="26" y="43"/>
                      <a:pt x="24" y="39"/>
                    </a:cubicBezTo>
                    <a:cubicBezTo>
                      <a:pt x="24" y="34"/>
                      <a:pt x="26" y="37"/>
                      <a:pt x="27" y="34"/>
                    </a:cubicBezTo>
                    <a:cubicBezTo>
                      <a:pt x="29" y="31"/>
                      <a:pt x="29" y="36"/>
                      <a:pt x="33" y="31"/>
                    </a:cubicBezTo>
                    <a:cubicBezTo>
                      <a:pt x="38" y="28"/>
                      <a:pt x="40" y="25"/>
                      <a:pt x="41" y="25"/>
                    </a:cubicBezTo>
                    <a:cubicBezTo>
                      <a:pt x="43" y="25"/>
                      <a:pt x="43" y="20"/>
                      <a:pt x="43" y="19"/>
                    </a:cubicBezTo>
                    <a:cubicBezTo>
                      <a:pt x="43" y="17"/>
                      <a:pt x="41" y="17"/>
                      <a:pt x="43" y="14"/>
                    </a:cubicBezTo>
                    <a:cubicBezTo>
                      <a:pt x="46" y="11"/>
                      <a:pt x="46" y="9"/>
                      <a:pt x="47" y="8"/>
                    </a:cubicBezTo>
                    <a:cubicBezTo>
                      <a:pt x="49" y="8"/>
                      <a:pt x="49" y="9"/>
                      <a:pt x="50" y="8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3"/>
                      <a:pt x="49" y="6"/>
                      <a:pt x="47" y="5"/>
                    </a:cubicBezTo>
                    <a:cubicBezTo>
                      <a:pt x="46" y="3"/>
                      <a:pt x="47" y="2"/>
                      <a:pt x="44" y="0"/>
                    </a:cubicBezTo>
                    <a:cubicBezTo>
                      <a:pt x="41" y="0"/>
                      <a:pt x="44" y="8"/>
                      <a:pt x="41" y="6"/>
                    </a:cubicBezTo>
                    <a:cubicBezTo>
                      <a:pt x="38" y="6"/>
                      <a:pt x="40" y="9"/>
                      <a:pt x="36" y="11"/>
                    </a:cubicBezTo>
                    <a:cubicBezTo>
                      <a:pt x="35" y="12"/>
                      <a:pt x="36" y="11"/>
                      <a:pt x="33" y="11"/>
                    </a:cubicBezTo>
                    <a:cubicBezTo>
                      <a:pt x="32" y="12"/>
                      <a:pt x="29" y="9"/>
                      <a:pt x="29" y="12"/>
                    </a:cubicBezTo>
                    <a:cubicBezTo>
                      <a:pt x="29" y="15"/>
                      <a:pt x="32" y="15"/>
                      <a:pt x="30" y="17"/>
                    </a:cubicBezTo>
                    <a:cubicBezTo>
                      <a:pt x="29" y="19"/>
                      <a:pt x="29" y="17"/>
                      <a:pt x="27" y="17"/>
                    </a:cubicBezTo>
                    <a:cubicBezTo>
                      <a:pt x="26" y="19"/>
                      <a:pt x="24" y="17"/>
                      <a:pt x="23" y="17"/>
                    </a:cubicBezTo>
                    <a:cubicBezTo>
                      <a:pt x="21" y="17"/>
                      <a:pt x="21" y="12"/>
                      <a:pt x="20" y="14"/>
                    </a:cubicBezTo>
                    <a:cubicBezTo>
                      <a:pt x="18" y="15"/>
                      <a:pt x="20" y="14"/>
                      <a:pt x="18" y="15"/>
                    </a:cubicBezTo>
                    <a:cubicBezTo>
                      <a:pt x="17" y="17"/>
                      <a:pt x="18" y="17"/>
                      <a:pt x="17" y="19"/>
                    </a:cubicBezTo>
                    <a:cubicBezTo>
                      <a:pt x="15" y="20"/>
                      <a:pt x="14" y="23"/>
                      <a:pt x="12" y="23"/>
                    </a:cubicBezTo>
                    <a:cubicBezTo>
                      <a:pt x="9" y="23"/>
                      <a:pt x="11" y="25"/>
                      <a:pt x="9" y="25"/>
                    </a:cubicBezTo>
                    <a:cubicBezTo>
                      <a:pt x="7" y="25"/>
                      <a:pt x="9" y="26"/>
                      <a:pt x="7" y="26"/>
                    </a:cubicBezTo>
                    <a:cubicBezTo>
                      <a:pt x="4" y="28"/>
                      <a:pt x="6" y="28"/>
                      <a:pt x="4" y="28"/>
                    </a:cubicBezTo>
                    <a:cubicBezTo>
                      <a:pt x="3" y="28"/>
                      <a:pt x="1" y="31"/>
                      <a:pt x="0" y="33"/>
                    </a:cubicBezTo>
                    <a:cubicBezTo>
                      <a:pt x="0" y="34"/>
                      <a:pt x="0" y="34"/>
                      <a:pt x="0" y="34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61" name="Freeform 55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6629026" y="2870804"/>
                <a:ext cx="64331" cy="108776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3" y="10"/>
                  </a:cxn>
                  <a:cxn ang="0">
                    <a:pos x="5" y="15"/>
                  </a:cxn>
                  <a:cxn ang="0">
                    <a:pos x="6" y="20"/>
                  </a:cxn>
                  <a:cxn ang="0">
                    <a:pos x="5" y="18"/>
                  </a:cxn>
                  <a:cxn ang="0">
                    <a:pos x="2" y="18"/>
                  </a:cxn>
                  <a:cxn ang="0">
                    <a:pos x="2" y="20"/>
                  </a:cxn>
                  <a:cxn ang="0">
                    <a:pos x="0" y="21"/>
                  </a:cxn>
                  <a:cxn ang="0">
                    <a:pos x="3" y="23"/>
                  </a:cxn>
                  <a:cxn ang="0">
                    <a:pos x="3" y="28"/>
                  </a:cxn>
                  <a:cxn ang="0">
                    <a:pos x="5" y="31"/>
                  </a:cxn>
                  <a:cxn ang="0">
                    <a:pos x="3" y="34"/>
                  </a:cxn>
                  <a:cxn ang="0">
                    <a:pos x="2" y="39"/>
                  </a:cxn>
                  <a:cxn ang="0">
                    <a:pos x="2" y="42"/>
                  </a:cxn>
                  <a:cxn ang="0">
                    <a:pos x="2" y="43"/>
                  </a:cxn>
                  <a:cxn ang="0">
                    <a:pos x="3" y="45"/>
                  </a:cxn>
                  <a:cxn ang="0">
                    <a:pos x="5" y="45"/>
                  </a:cxn>
                  <a:cxn ang="0">
                    <a:pos x="6" y="47"/>
                  </a:cxn>
                  <a:cxn ang="0">
                    <a:pos x="8" y="43"/>
                  </a:cxn>
                  <a:cxn ang="0">
                    <a:pos x="9" y="43"/>
                  </a:cxn>
                  <a:cxn ang="0">
                    <a:pos x="11" y="45"/>
                  </a:cxn>
                  <a:cxn ang="0">
                    <a:pos x="11" y="43"/>
                  </a:cxn>
                  <a:cxn ang="0">
                    <a:pos x="11" y="42"/>
                  </a:cxn>
                  <a:cxn ang="0">
                    <a:pos x="13" y="43"/>
                  </a:cxn>
                  <a:cxn ang="0">
                    <a:pos x="13" y="40"/>
                  </a:cxn>
                  <a:cxn ang="0">
                    <a:pos x="19" y="42"/>
                  </a:cxn>
                  <a:cxn ang="0">
                    <a:pos x="20" y="39"/>
                  </a:cxn>
                  <a:cxn ang="0">
                    <a:pos x="25" y="39"/>
                  </a:cxn>
                  <a:cxn ang="0">
                    <a:pos x="28" y="29"/>
                  </a:cxn>
                  <a:cxn ang="0">
                    <a:pos x="26" y="28"/>
                  </a:cxn>
                  <a:cxn ang="0">
                    <a:pos x="26" y="20"/>
                  </a:cxn>
                  <a:cxn ang="0">
                    <a:pos x="22" y="7"/>
                  </a:cxn>
                  <a:cxn ang="0">
                    <a:pos x="19" y="0"/>
                  </a:cxn>
                  <a:cxn ang="0">
                    <a:pos x="17" y="3"/>
                  </a:cxn>
                  <a:cxn ang="0">
                    <a:pos x="8" y="4"/>
                  </a:cxn>
                  <a:cxn ang="0">
                    <a:pos x="5" y="9"/>
                  </a:cxn>
                </a:cxnLst>
                <a:rect l="0" t="0" r="r" b="b"/>
                <a:pathLst>
                  <a:path w="28" h="48">
                    <a:moveTo>
                      <a:pt x="5" y="9"/>
                    </a:moveTo>
                    <a:cubicBezTo>
                      <a:pt x="5" y="10"/>
                      <a:pt x="5" y="9"/>
                      <a:pt x="3" y="10"/>
                    </a:cubicBezTo>
                    <a:cubicBezTo>
                      <a:pt x="3" y="12"/>
                      <a:pt x="6" y="14"/>
                      <a:pt x="5" y="15"/>
                    </a:cubicBezTo>
                    <a:cubicBezTo>
                      <a:pt x="3" y="17"/>
                      <a:pt x="8" y="17"/>
                      <a:pt x="6" y="20"/>
                    </a:cubicBezTo>
                    <a:cubicBezTo>
                      <a:pt x="6" y="21"/>
                      <a:pt x="6" y="18"/>
                      <a:pt x="5" y="18"/>
                    </a:cubicBezTo>
                    <a:cubicBezTo>
                      <a:pt x="2" y="18"/>
                      <a:pt x="2" y="18"/>
                      <a:pt x="2" y="18"/>
                    </a:cubicBezTo>
                    <a:cubicBezTo>
                      <a:pt x="3" y="20"/>
                      <a:pt x="2" y="20"/>
                      <a:pt x="2" y="20"/>
                    </a:cubicBezTo>
                    <a:cubicBezTo>
                      <a:pt x="0" y="18"/>
                      <a:pt x="0" y="21"/>
                      <a:pt x="0" y="21"/>
                    </a:cubicBezTo>
                    <a:cubicBezTo>
                      <a:pt x="2" y="23"/>
                      <a:pt x="3" y="20"/>
                      <a:pt x="3" y="23"/>
                    </a:cubicBezTo>
                    <a:cubicBezTo>
                      <a:pt x="3" y="25"/>
                      <a:pt x="3" y="28"/>
                      <a:pt x="3" y="28"/>
                    </a:cubicBezTo>
                    <a:cubicBezTo>
                      <a:pt x="5" y="29"/>
                      <a:pt x="3" y="29"/>
                      <a:pt x="5" y="31"/>
                    </a:cubicBezTo>
                    <a:cubicBezTo>
                      <a:pt x="6" y="32"/>
                      <a:pt x="3" y="31"/>
                      <a:pt x="3" y="34"/>
                    </a:cubicBezTo>
                    <a:cubicBezTo>
                      <a:pt x="2" y="37"/>
                      <a:pt x="0" y="39"/>
                      <a:pt x="2" y="39"/>
                    </a:cubicBezTo>
                    <a:cubicBezTo>
                      <a:pt x="2" y="40"/>
                      <a:pt x="2" y="40"/>
                      <a:pt x="2" y="42"/>
                    </a:cubicBezTo>
                    <a:cubicBezTo>
                      <a:pt x="3" y="43"/>
                      <a:pt x="2" y="42"/>
                      <a:pt x="2" y="43"/>
                    </a:cubicBezTo>
                    <a:cubicBezTo>
                      <a:pt x="2" y="45"/>
                      <a:pt x="3" y="43"/>
                      <a:pt x="3" y="45"/>
                    </a:cubicBezTo>
                    <a:cubicBezTo>
                      <a:pt x="3" y="48"/>
                      <a:pt x="3" y="48"/>
                      <a:pt x="5" y="45"/>
                    </a:cubicBezTo>
                    <a:cubicBezTo>
                      <a:pt x="6" y="42"/>
                      <a:pt x="5" y="47"/>
                      <a:pt x="6" y="47"/>
                    </a:cubicBezTo>
                    <a:cubicBezTo>
                      <a:pt x="6" y="47"/>
                      <a:pt x="6" y="45"/>
                      <a:pt x="8" y="43"/>
                    </a:cubicBezTo>
                    <a:cubicBezTo>
                      <a:pt x="9" y="42"/>
                      <a:pt x="11" y="42"/>
                      <a:pt x="9" y="43"/>
                    </a:cubicBezTo>
                    <a:cubicBezTo>
                      <a:pt x="8" y="45"/>
                      <a:pt x="9" y="47"/>
                      <a:pt x="11" y="45"/>
                    </a:cubicBezTo>
                    <a:cubicBezTo>
                      <a:pt x="11" y="43"/>
                      <a:pt x="11" y="43"/>
                      <a:pt x="11" y="43"/>
                    </a:cubicBezTo>
                    <a:cubicBezTo>
                      <a:pt x="11" y="42"/>
                      <a:pt x="11" y="40"/>
                      <a:pt x="11" y="42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4" y="42"/>
                      <a:pt x="11" y="42"/>
                      <a:pt x="13" y="40"/>
                    </a:cubicBezTo>
                    <a:cubicBezTo>
                      <a:pt x="16" y="40"/>
                      <a:pt x="17" y="42"/>
                      <a:pt x="19" y="42"/>
                    </a:cubicBezTo>
                    <a:cubicBezTo>
                      <a:pt x="20" y="40"/>
                      <a:pt x="19" y="40"/>
                      <a:pt x="20" y="39"/>
                    </a:cubicBezTo>
                    <a:cubicBezTo>
                      <a:pt x="22" y="39"/>
                      <a:pt x="23" y="40"/>
                      <a:pt x="25" y="39"/>
                    </a:cubicBezTo>
                    <a:cubicBezTo>
                      <a:pt x="25" y="37"/>
                      <a:pt x="28" y="32"/>
                      <a:pt x="28" y="29"/>
                    </a:cubicBezTo>
                    <a:cubicBezTo>
                      <a:pt x="28" y="26"/>
                      <a:pt x="26" y="31"/>
                      <a:pt x="26" y="28"/>
                    </a:cubicBezTo>
                    <a:cubicBezTo>
                      <a:pt x="26" y="23"/>
                      <a:pt x="28" y="23"/>
                      <a:pt x="26" y="20"/>
                    </a:cubicBezTo>
                    <a:cubicBezTo>
                      <a:pt x="26" y="15"/>
                      <a:pt x="23" y="10"/>
                      <a:pt x="22" y="7"/>
                    </a:cubicBezTo>
                    <a:cubicBezTo>
                      <a:pt x="20" y="4"/>
                      <a:pt x="19" y="1"/>
                      <a:pt x="19" y="0"/>
                    </a:cubicBezTo>
                    <a:cubicBezTo>
                      <a:pt x="16" y="1"/>
                      <a:pt x="19" y="3"/>
                      <a:pt x="17" y="3"/>
                    </a:cubicBezTo>
                    <a:cubicBezTo>
                      <a:pt x="14" y="4"/>
                      <a:pt x="13" y="3"/>
                      <a:pt x="8" y="4"/>
                    </a:cubicBezTo>
                    <a:cubicBezTo>
                      <a:pt x="5" y="6"/>
                      <a:pt x="5" y="7"/>
                      <a:pt x="5" y="9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62" name="Freeform 56"/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6626686" y="2995955"/>
                <a:ext cx="21054" cy="12866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8" y="1"/>
                  </a:cxn>
                  <a:cxn ang="0">
                    <a:pos x="1" y="4"/>
                  </a:cxn>
                </a:cxnLst>
                <a:rect l="0" t="0" r="r" b="b"/>
                <a:pathLst>
                  <a:path w="9" h="6">
                    <a:moveTo>
                      <a:pt x="1" y="4"/>
                    </a:moveTo>
                    <a:cubicBezTo>
                      <a:pt x="0" y="1"/>
                      <a:pt x="8" y="0"/>
                      <a:pt x="8" y="1"/>
                    </a:cubicBezTo>
                    <a:cubicBezTo>
                      <a:pt x="9" y="3"/>
                      <a:pt x="3" y="6"/>
                      <a:pt x="1" y="4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63" name="Freeform 57"/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6686339" y="2967884"/>
                <a:ext cx="7018" cy="16375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0" y="3"/>
                  </a:cxn>
                  <a:cxn ang="0">
                    <a:pos x="1" y="0"/>
                  </a:cxn>
                  <a:cxn ang="0">
                    <a:pos x="1" y="3"/>
                  </a:cxn>
                  <a:cxn ang="0">
                    <a:pos x="0" y="7"/>
                  </a:cxn>
                </a:cxnLst>
                <a:rect l="0" t="0" r="r" b="b"/>
                <a:pathLst>
                  <a:path w="3" h="7">
                    <a:moveTo>
                      <a:pt x="0" y="7"/>
                    </a:moveTo>
                    <a:cubicBezTo>
                      <a:pt x="0" y="7"/>
                      <a:pt x="0" y="5"/>
                      <a:pt x="0" y="3"/>
                    </a:cubicBezTo>
                    <a:cubicBezTo>
                      <a:pt x="1" y="2"/>
                      <a:pt x="0" y="0"/>
                      <a:pt x="1" y="0"/>
                    </a:cubicBezTo>
                    <a:cubicBezTo>
                      <a:pt x="3" y="0"/>
                      <a:pt x="3" y="2"/>
                      <a:pt x="1" y="3"/>
                    </a:cubicBezTo>
                    <a:cubicBezTo>
                      <a:pt x="0" y="5"/>
                      <a:pt x="1" y="7"/>
                      <a:pt x="0" y="7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64" name="Freeform 58"/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6626686" y="2972563"/>
                <a:ext cx="9358" cy="4679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0"/>
                  </a:cxn>
                  <a:cxn ang="0">
                    <a:pos x="1" y="2"/>
                  </a:cxn>
                </a:cxnLst>
                <a:rect l="0" t="0" r="r" b="b"/>
                <a:pathLst>
                  <a:path w="4" h="2">
                    <a:moveTo>
                      <a:pt x="1" y="2"/>
                    </a:moveTo>
                    <a:cubicBezTo>
                      <a:pt x="0" y="2"/>
                      <a:pt x="3" y="0"/>
                      <a:pt x="3" y="0"/>
                    </a:cubicBezTo>
                    <a:cubicBezTo>
                      <a:pt x="4" y="2"/>
                      <a:pt x="1" y="2"/>
                      <a:pt x="1" y="2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65" name="Freeform 59"/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6626686" y="2962036"/>
                <a:ext cx="2339" cy="5848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3"/>
                  </a:cxn>
                </a:cxnLst>
                <a:rect l="0" t="0" r="r" b="b"/>
                <a:pathLst>
                  <a:path w="1" h="3">
                    <a:moveTo>
                      <a:pt x="1" y="3"/>
                    </a:moveTo>
                    <a:cubicBezTo>
                      <a:pt x="1" y="2"/>
                      <a:pt x="0" y="2"/>
                      <a:pt x="1" y="0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66" name="Freeform 60"/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6633704" y="2923438"/>
                <a:ext cx="2339" cy="467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2"/>
                      <a:pt x="0" y="2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67" name="Freeform 61"/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6672303" y="2962036"/>
                <a:ext cx="7018" cy="5848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0"/>
                  </a:cxn>
                  <a:cxn ang="0">
                    <a:pos x="1" y="3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0" y="3"/>
                      <a:pt x="0" y="0"/>
                      <a:pt x="1" y="0"/>
                    </a:cubicBezTo>
                    <a:cubicBezTo>
                      <a:pt x="3" y="0"/>
                      <a:pt x="3" y="2"/>
                      <a:pt x="1" y="3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68" name="Freeform 62"/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auto">
              <a:xfrm>
                <a:off x="6660606" y="2962036"/>
                <a:ext cx="4679" cy="5848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0"/>
                  </a:cxn>
                  <a:cxn ang="0">
                    <a:pos x="2" y="2"/>
                  </a:cxn>
                  <a:cxn ang="0">
                    <a:pos x="2" y="3"/>
                  </a:cxn>
                </a:cxnLst>
                <a:rect l="0" t="0" r="r" b="b"/>
                <a:pathLst>
                  <a:path w="2" h="3">
                    <a:moveTo>
                      <a:pt x="2" y="3"/>
                    </a:moveTo>
                    <a:cubicBezTo>
                      <a:pt x="0" y="2"/>
                      <a:pt x="0" y="2"/>
                      <a:pt x="0" y="0"/>
                    </a:cubicBezTo>
                    <a:cubicBezTo>
                      <a:pt x="0" y="0"/>
                      <a:pt x="2" y="0"/>
                      <a:pt x="2" y="2"/>
                    </a:cubicBezTo>
                    <a:cubicBezTo>
                      <a:pt x="2" y="3"/>
                      <a:pt x="2" y="3"/>
                      <a:pt x="2" y="3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69" name="Freeform 63"/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auto">
              <a:xfrm>
                <a:off x="6636043" y="2979580"/>
                <a:ext cx="4679" cy="4679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0" y="0"/>
                  </a:cxn>
                  <a:cxn ang="0">
                    <a:pos x="2" y="2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0" y="2"/>
                      <a:pt x="0" y="2"/>
                      <a:pt x="0" y="0"/>
                    </a:cubicBezTo>
                    <a:cubicBezTo>
                      <a:pt x="2" y="0"/>
                      <a:pt x="2" y="2"/>
                      <a:pt x="2" y="2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70" name="Freeform 64"/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6633704" y="2891858"/>
                <a:ext cx="2339" cy="8187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0" y="0"/>
                  </a:cxn>
                  <a:cxn ang="0">
                    <a:pos x="1" y="4"/>
                  </a:cxn>
                </a:cxnLst>
                <a:rect l="0" t="0" r="r" b="b"/>
                <a:pathLst>
                  <a:path w="1" h="4">
                    <a:moveTo>
                      <a:pt x="1" y="4"/>
                    </a:moveTo>
                    <a:cubicBezTo>
                      <a:pt x="0" y="4"/>
                      <a:pt x="0" y="0"/>
                      <a:pt x="0" y="0"/>
                    </a:cubicBezTo>
                    <a:cubicBezTo>
                      <a:pt x="1" y="0"/>
                      <a:pt x="1" y="4"/>
                      <a:pt x="1" y="4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71" name="Freeform 65"/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6312048" y="3310588"/>
                <a:ext cx="44447" cy="47955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6" y="3"/>
                  </a:cxn>
                  <a:cxn ang="0">
                    <a:pos x="9" y="2"/>
                  </a:cxn>
                  <a:cxn ang="0">
                    <a:pos x="12" y="2"/>
                  </a:cxn>
                  <a:cxn ang="0">
                    <a:pos x="17" y="2"/>
                  </a:cxn>
                  <a:cxn ang="0">
                    <a:pos x="18" y="2"/>
                  </a:cxn>
                  <a:cxn ang="0">
                    <a:pos x="20" y="6"/>
                  </a:cxn>
                  <a:cxn ang="0">
                    <a:pos x="17" y="13"/>
                  </a:cxn>
                  <a:cxn ang="0">
                    <a:pos x="12" y="17"/>
                  </a:cxn>
                  <a:cxn ang="0">
                    <a:pos x="9" y="19"/>
                  </a:cxn>
                  <a:cxn ang="0">
                    <a:pos x="8" y="19"/>
                  </a:cxn>
                  <a:cxn ang="0">
                    <a:pos x="3" y="17"/>
                  </a:cxn>
                  <a:cxn ang="0">
                    <a:pos x="2" y="13"/>
                  </a:cxn>
                  <a:cxn ang="0">
                    <a:pos x="3" y="6"/>
                  </a:cxn>
                </a:cxnLst>
                <a:rect l="0" t="0" r="r" b="b"/>
                <a:pathLst>
                  <a:path w="20" h="21">
                    <a:moveTo>
                      <a:pt x="3" y="6"/>
                    </a:moveTo>
                    <a:cubicBezTo>
                      <a:pt x="6" y="3"/>
                      <a:pt x="5" y="5"/>
                      <a:pt x="6" y="3"/>
                    </a:cubicBezTo>
                    <a:cubicBezTo>
                      <a:pt x="8" y="2"/>
                      <a:pt x="8" y="5"/>
                      <a:pt x="9" y="2"/>
                    </a:cubicBezTo>
                    <a:cubicBezTo>
                      <a:pt x="9" y="0"/>
                      <a:pt x="11" y="3"/>
                      <a:pt x="12" y="2"/>
                    </a:cubicBezTo>
                    <a:cubicBezTo>
                      <a:pt x="14" y="0"/>
                      <a:pt x="15" y="2"/>
                      <a:pt x="17" y="2"/>
                    </a:cubicBezTo>
                    <a:cubicBezTo>
                      <a:pt x="17" y="0"/>
                      <a:pt x="18" y="2"/>
                      <a:pt x="18" y="2"/>
                    </a:cubicBezTo>
                    <a:cubicBezTo>
                      <a:pt x="20" y="2"/>
                      <a:pt x="20" y="5"/>
                      <a:pt x="20" y="6"/>
                    </a:cubicBezTo>
                    <a:cubicBezTo>
                      <a:pt x="18" y="6"/>
                      <a:pt x="17" y="10"/>
                      <a:pt x="17" y="13"/>
                    </a:cubicBezTo>
                    <a:cubicBezTo>
                      <a:pt x="17" y="16"/>
                      <a:pt x="14" y="14"/>
                      <a:pt x="12" y="17"/>
                    </a:cubicBezTo>
                    <a:cubicBezTo>
                      <a:pt x="12" y="19"/>
                      <a:pt x="11" y="17"/>
                      <a:pt x="9" y="19"/>
                    </a:cubicBezTo>
                    <a:cubicBezTo>
                      <a:pt x="9" y="21"/>
                      <a:pt x="8" y="21"/>
                      <a:pt x="8" y="19"/>
                    </a:cubicBezTo>
                    <a:cubicBezTo>
                      <a:pt x="6" y="19"/>
                      <a:pt x="6" y="21"/>
                      <a:pt x="3" y="17"/>
                    </a:cubicBezTo>
                    <a:cubicBezTo>
                      <a:pt x="0" y="16"/>
                      <a:pt x="2" y="16"/>
                      <a:pt x="2" y="13"/>
                    </a:cubicBezTo>
                    <a:cubicBezTo>
                      <a:pt x="0" y="8"/>
                      <a:pt x="3" y="8"/>
                      <a:pt x="3" y="6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72" name="Freeform 66"/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5793889" y="3544515"/>
                <a:ext cx="40938" cy="91232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0" y="18"/>
                  </a:cxn>
                  <a:cxn ang="0">
                    <a:pos x="1" y="15"/>
                  </a:cxn>
                  <a:cxn ang="0">
                    <a:pos x="1" y="9"/>
                  </a:cxn>
                  <a:cxn ang="0">
                    <a:pos x="3" y="4"/>
                  </a:cxn>
                  <a:cxn ang="0">
                    <a:pos x="1" y="0"/>
                  </a:cxn>
                  <a:cxn ang="0">
                    <a:pos x="7" y="1"/>
                  </a:cxn>
                  <a:cxn ang="0">
                    <a:pos x="11" y="9"/>
                  </a:cxn>
                  <a:cxn ang="0">
                    <a:pos x="15" y="18"/>
                  </a:cxn>
                  <a:cxn ang="0">
                    <a:pos x="17" y="21"/>
                  </a:cxn>
                  <a:cxn ang="0">
                    <a:pos x="13" y="34"/>
                  </a:cxn>
                  <a:cxn ang="0">
                    <a:pos x="4" y="37"/>
                  </a:cxn>
                </a:cxnLst>
                <a:rect l="0" t="0" r="r" b="b"/>
                <a:pathLst>
                  <a:path w="18" h="40">
                    <a:moveTo>
                      <a:pt x="4" y="37"/>
                    </a:moveTo>
                    <a:cubicBezTo>
                      <a:pt x="0" y="32"/>
                      <a:pt x="1" y="23"/>
                      <a:pt x="0" y="18"/>
                    </a:cubicBezTo>
                    <a:cubicBezTo>
                      <a:pt x="0" y="14"/>
                      <a:pt x="1" y="14"/>
                      <a:pt x="1" y="15"/>
                    </a:cubicBezTo>
                    <a:cubicBezTo>
                      <a:pt x="1" y="17"/>
                      <a:pt x="1" y="12"/>
                      <a:pt x="1" y="9"/>
                    </a:cubicBezTo>
                    <a:cubicBezTo>
                      <a:pt x="1" y="8"/>
                      <a:pt x="3" y="8"/>
                      <a:pt x="3" y="4"/>
                    </a:cubicBezTo>
                    <a:cubicBezTo>
                      <a:pt x="3" y="1"/>
                      <a:pt x="1" y="1"/>
                      <a:pt x="1" y="0"/>
                    </a:cubicBezTo>
                    <a:cubicBezTo>
                      <a:pt x="1" y="0"/>
                      <a:pt x="4" y="0"/>
                      <a:pt x="7" y="1"/>
                    </a:cubicBezTo>
                    <a:cubicBezTo>
                      <a:pt x="9" y="4"/>
                      <a:pt x="9" y="6"/>
                      <a:pt x="11" y="9"/>
                    </a:cubicBezTo>
                    <a:cubicBezTo>
                      <a:pt x="13" y="11"/>
                      <a:pt x="13" y="17"/>
                      <a:pt x="15" y="18"/>
                    </a:cubicBezTo>
                    <a:cubicBezTo>
                      <a:pt x="17" y="20"/>
                      <a:pt x="15" y="20"/>
                      <a:pt x="17" y="21"/>
                    </a:cubicBezTo>
                    <a:cubicBezTo>
                      <a:pt x="18" y="25"/>
                      <a:pt x="18" y="32"/>
                      <a:pt x="13" y="34"/>
                    </a:cubicBezTo>
                    <a:cubicBezTo>
                      <a:pt x="11" y="37"/>
                      <a:pt x="7" y="40"/>
                      <a:pt x="4" y="37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73" name="Freeform 67"/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6018463" y="3111750"/>
                <a:ext cx="163752" cy="432766"/>
              </a:xfrm>
              <a:custGeom>
                <a:avLst/>
                <a:gdLst/>
                <a:ahLst/>
                <a:cxnLst>
                  <a:cxn ang="0">
                    <a:pos x="7" y="68"/>
                  </a:cxn>
                  <a:cxn ang="0">
                    <a:pos x="9" y="52"/>
                  </a:cxn>
                  <a:cxn ang="0">
                    <a:pos x="16" y="46"/>
                  </a:cxn>
                  <a:cxn ang="0">
                    <a:pos x="24" y="29"/>
                  </a:cxn>
                  <a:cxn ang="0">
                    <a:pos x="27" y="20"/>
                  </a:cxn>
                  <a:cxn ang="0">
                    <a:pos x="38" y="14"/>
                  </a:cxn>
                  <a:cxn ang="0">
                    <a:pos x="46" y="4"/>
                  </a:cxn>
                  <a:cxn ang="0">
                    <a:pos x="52" y="15"/>
                  </a:cxn>
                  <a:cxn ang="0">
                    <a:pos x="52" y="31"/>
                  </a:cxn>
                  <a:cxn ang="0">
                    <a:pos x="46" y="35"/>
                  </a:cxn>
                  <a:cxn ang="0">
                    <a:pos x="44" y="48"/>
                  </a:cxn>
                  <a:cxn ang="0">
                    <a:pos x="52" y="48"/>
                  </a:cxn>
                  <a:cxn ang="0">
                    <a:pos x="56" y="59"/>
                  </a:cxn>
                  <a:cxn ang="0">
                    <a:pos x="56" y="66"/>
                  </a:cxn>
                  <a:cxn ang="0">
                    <a:pos x="62" y="73"/>
                  </a:cxn>
                  <a:cxn ang="0">
                    <a:pos x="68" y="73"/>
                  </a:cxn>
                  <a:cxn ang="0">
                    <a:pos x="67" y="79"/>
                  </a:cxn>
                  <a:cxn ang="0">
                    <a:pos x="59" y="87"/>
                  </a:cxn>
                  <a:cxn ang="0">
                    <a:pos x="55" y="90"/>
                  </a:cxn>
                  <a:cxn ang="0">
                    <a:pos x="47" y="93"/>
                  </a:cxn>
                  <a:cxn ang="0">
                    <a:pos x="44" y="102"/>
                  </a:cxn>
                  <a:cxn ang="0">
                    <a:pos x="44" y="108"/>
                  </a:cxn>
                  <a:cxn ang="0">
                    <a:pos x="50" y="121"/>
                  </a:cxn>
                  <a:cxn ang="0">
                    <a:pos x="52" y="129"/>
                  </a:cxn>
                  <a:cxn ang="0">
                    <a:pos x="49" y="136"/>
                  </a:cxn>
                  <a:cxn ang="0">
                    <a:pos x="55" y="158"/>
                  </a:cxn>
                  <a:cxn ang="0">
                    <a:pos x="59" y="169"/>
                  </a:cxn>
                  <a:cxn ang="0">
                    <a:pos x="55" y="180"/>
                  </a:cxn>
                  <a:cxn ang="0">
                    <a:pos x="50" y="188"/>
                  </a:cxn>
                  <a:cxn ang="0">
                    <a:pos x="52" y="172"/>
                  </a:cxn>
                  <a:cxn ang="0">
                    <a:pos x="52" y="161"/>
                  </a:cxn>
                  <a:cxn ang="0">
                    <a:pos x="47" y="149"/>
                  </a:cxn>
                  <a:cxn ang="0">
                    <a:pos x="42" y="127"/>
                  </a:cxn>
                  <a:cxn ang="0">
                    <a:pos x="41" y="122"/>
                  </a:cxn>
                  <a:cxn ang="0">
                    <a:pos x="38" y="115"/>
                  </a:cxn>
                  <a:cxn ang="0">
                    <a:pos x="24" y="132"/>
                  </a:cxn>
                  <a:cxn ang="0">
                    <a:pos x="20" y="127"/>
                  </a:cxn>
                  <a:cxn ang="0">
                    <a:pos x="20" y="116"/>
                  </a:cxn>
                  <a:cxn ang="0">
                    <a:pos x="13" y="101"/>
                  </a:cxn>
                  <a:cxn ang="0">
                    <a:pos x="13" y="96"/>
                  </a:cxn>
                  <a:cxn ang="0">
                    <a:pos x="7" y="90"/>
                  </a:cxn>
                  <a:cxn ang="0">
                    <a:pos x="0" y="79"/>
                  </a:cxn>
                </a:cxnLst>
                <a:rect l="0" t="0" r="r" b="b"/>
                <a:pathLst>
                  <a:path w="72" h="191">
                    <a:moveTo>
                      <a:pt x="3" y="69"/>
                    </a:moveTo>
                    <a:cubicBezTo>
                      <a:pt x="6" y="65"/>
                      <a:pt x="4" y="73"/>
                      <a:pt x="7" y="68"/>
                    </a:cubicBezTo>
                    <a:cubicBezTo>
                      <a:pt x="9" y="63"/>
                      <a:pt x="7" y="65"/>
                      <a:pt x="7" y="62"/>
                    </a:cubicBezTo>
                    <a:cubicBezTo>
                      <a:pt x="7" y="54"/>
                      <a:pt x="10" y="65"/>
                      <a:pt x="9" y="52"/>
                    </a:cubicBezTo>
                    <a:cubicBezTo>
                      <a:pt x="9" y="45"/>
                      <a:pt x="9" y="48"/>
                      <a:pt x="12" y="49"/>
                    </a:cubicBezTo>
                    <a:cubicBezTo>
                      <a:pt x="15" y="49"/>
                      <a:pt x="15" y="54"/>
                      <a:pt x="16" y="46"/>
                    </a:cubicBezTo>
                    <a:cubicBezTo>
                      <a:pt x="18" y="40"/>
                      <a:pt x="23" y="40"/>
                      <a:pt x="20" y="37"/>
                    </a:cubicBezTo>
                    <a:cubicBezTo>
                      <a:pt x="18" y="35"/>
                      <a:pt x="21" y="35"/>
                      <a:pt x="24" y="29"/>
                    </a:cubicBezTo>
                    <a:cubicBezTo>
                      <a:pt x="26" y="24"/>
                      <a:pt x="23" y="26"/>
                      <a:pt x="24" y="23"/>
                    </a:cubicBezTo>
                    <a:cubicBezTo>
                      <a:pt x="24" y="20"/>
                      <a:pt x="24" y="23"/>
                      <a:pt x="27" y="20"/>
                    </a:cubicBezTo>
                    <a:cubicBezTo>
                      <a:pt x="30" y="17"/>
                      <a:pt x="35" y="12"/>
                      <a:pt x="38" y="15"/>
                    </a:cubicBezTo>
                    <a:cubicBezTo>
                      <a:pt x="39" y="18"/>
                      <a:pt x="41" y="18"/>
                      <a:pt x="38" y="14"/>
                    </a:cubicBezTo>
                    <a:cubicBezTo>
                      <a:pt x="36" y="11"/>
                      <a:pt x="42" y="11"/>
                      <a:pt x="41" y="6"/>
                    </a:cubicBezTo>
                    <a:cubicBezTo>
                      <a:pt x="42" y="4"/>
                      <a:pt x="41" y="0"/>
                      <a:pt x="46" y="4"/>
                    </a:cubicBezTo>
                    <a:cubicBezTo>
                      <a:pt x="50" y="7"/>
                      <a:pt x="47" y="14"/>
                      <a:pt x="50" y="12"/>
                    </a:cubicBezTo>
                    <a:cubicBezTo>
                      <a:pt x="52" y="11"/>
                      <a:pt x="53" y="14"/>
                      <a:pt x="52" y="15"/>
                    </a:cubicBezTo>
                    <a:cubicBezTo>
                      <a:pt x="50" y="17"/>
                      <a:pt x="53" y="18"/>
                      <a:pt x="52" y="23"/>
                    </a:cubicBezTo>
                    <a:cubicBezTo>
                      <a:pt x="50" y="28"/>
                      <a:pt x="53" y="31"/>
                      <a:pt x="52" y="31"/>
                    </a:cubicBezTo>
                    <a:cubicBezTo>
                      <a:pt x="49" y="31"/>
                      <a:pt x="50" y="34"/>
                      <a:pt x="49" y="32"/>
                    </a:cubicBezTo>
                    <a:cubicBezTo>
                      <a:pt x="47" y="32"/>
                      <a:pt x="49" y="35"/>
                      <a:pt x="46" y="35"/>
                    </a:cubicBezTo>
                    <a:cubicBezTo>
                      <a:pt x="42" y="37"/>
                      <a:pt x="46" y="40"/>
                      <a:pt x="44" y="41"/>
                    </a:cubicBezTo>
                    <a:cubicBezTo>
                      <a:pt x="39" y="43"/>
                      <a:pt x="46" y="46"/>
                      <a:pt x="44" y="48"/>
                    </a:cubicBezTo>
                    <a:cubicBezTo>
                      <a:pt x="42" y="49"/>
                      <a:pt x="42" y="51"/>
                      <a:pt x="46" y="49"/>
                    </a:cubicBezTo>
                    <a:cubicBezTo>
                      <a:pt x="49" y="46"/>
                      <a:pt x="50" y="49"/>
                      <a:pt x="52" y="48"/>
                    </a:cubicBezTo>
                    <a:cubicBezTo>
                      <a:pt x="55" y="46"/>
                      <a:pt x="50" y="49"/>
                      <a:pt x="52" y="52"/>
                    </a:cubicBezTo>
                    <a:cubicBezTo>
                      <a:pt x="53" y="56"/>
                      <a:pt x="52" y="59"/>
                      <a:pt x="56" y="59"/>
                    </a:cubicBezTo>
                    <a:cubicBezTo>
                      <a:pt x="61" y="59"/>
                      <a:pt x="58" y="59"/>
                      <a:pt x="56" y="60"/>
                    </a:cubicBezTo>
                    <a:cubicBezTo>
                      <a:pt x="56" y="63"/>
                      <a:pt x="58" y="62"/>
                      <a:pt x="56" y="66"/>
                    </a:cubicBezTo>
                    <a:cubicBezTo>
                      <a:pt x="55" y="69"/>
                      <a:pt x="59" y="68"/>
                      <a:pt x="61" y="68"/>
                    </a:cubicBezTo>
                    <a:cubicBezTo>
                      <a:pt x="62" y="69"/>
                      <a:pt x="61" y="71"/>
                      <a:pt x="62" y="73"/>
                    </a:cubicBezTo>
                    <a:cubicBezTo>
                      <a:pt x="64" y="73"/>
                      <a:pt x="62" y="76"/>
                      <a:pt x="64" y="74"/>
                    </a:cubicBezTo>
                    <a:cubicBezTo>
                      <a:pt x="65" y="74"/>
                      <a:pt x="65" y="77"/>
                      <a:pt x="68" y="73"/>
                    </a:cubicBezTo>
                    <a:cubicBezTo>
                      <a:pt x="72" y="69"/>
                      <a:pt x="72" y="73"/>
                      <a:pt x="72" y="74"/>
                    </a:cubicBezTo>
                    <a:cubicBezTo>
                      <a:pt x="70" y="76"/>
                      <a:pt x="67" y="74"/>
                      <a:pt x="67" y="79"/>
                    </a:cubicBezTo>
                    <a:cubicBezTo>
                      <a:pt x="65" y="84"/>
                      <a:pt x="64" y="79"/>
                      <a:pt x="64" y="85"/>
                    </a:cubicBezTo>
                    <a:cubicBezTo>
                      <a:pt x="61" y="85"/>
                      <a:pt x="62" y="87"/>
                      <a:pt x="59" y="87"/>
                    </a:cubicBezTo>
                    <a:cubicBezTo>
                      <a:pt x="56" y="85"/>
                      <a:pt x="59" y="88"/>
                      <a:pt x="58" y="88"/>
                    </a:cubicBezTo>
                    <a:cubicBezTo>
                      <a:pt x="56" y="90"/>
                      <a:pt x="56" y="87"/>
                      <a:pt x="55" y="90"/>
                    </a:cubicBezTo>
                    <a:cubicBezTo>
                      <a:pt x="55" y="93"/>
                      <a:pt x="53" y="91"/>
                      <a:pt x="50" y="93"/>
                    </a:cubicBezTo>
                    <a:cubicBezTo>
                      <a:pt x="47" y="94"/>
                      <a:pt x="47" y="90"/>
                      <a:pt x="47" y="93"/>
                    </a:cubicBezTo>
                    <a:cubicBezTo>
                      <a:pt x="46" y="96"/>
                      <a:pt x="44" y="94"/>
                      <a:pt x="46" y="97"/>
                    </a:cubicBezTo>
                    <a:cubicBezTo>
                      <a:pt x="47" y="101"/>
                      <a:pt x="42" y="97"/>
                      <a:pt x="44" y="102"/>
                    </a:cubicBezTo>
                    <a:cubicBezTo>
                      <a:pt x="46" y="107"/>
                      <a:pt x="41" y="102"/>
                      <a:pt x="41" y="105"/>
                    </a:cubicBezTo>
                    <a:cubicBezTo>
                      <a:pt x="42" y="108"/>
                      <a:pt x="44" y="104"/>
                      <a:pt x="44" y="108"/>
                    </a:cubicBezTo>
                    <a:cubicBezTo>
                      <a:pt x="44" y="113"/>
                      <a:pt x="46" y="115"/>
                      <a:pt x="49" y="118"/>
                    </a:cubicBezTo>
                    <a:cubicBezTo>
                      <a:pt x="50" y="121"/>
                      <a:pt x="50" y="118"/>
                      <a:pt x="50" y="121"/>
                    </a:cubicBezTo>
                    <a:cubicBezTo>
                      <a:pt x="50" y="124"/>
                      <a:pt x="52" y="127"/>
                      <a:pt x="52" y="127"/>
                    </a:cubicBezTo>
                    <a:cubicBezTo>
                      <a:pt x="55" y="122"/>
                      <a:pt x="55" y="129"/>
                      <a:pt x="52" y="129"/>
                    </a:cubicBezTo>
                    <a:cubicBezTo>
                      <a:pt x="50" y="129"/>
                      <a:pt x="52" y="136"/>
                      <a:pt x="50" y="136"/>
                    </a:cubicBezTo>
                    <a:cubicBezTo>
                      <a:pt x="49" y="135"/>
                      <a:pt x="50" y="138"/>
                      <a:pt x="49" y="136"/>
                    </a:cubicBezTo>
                    <a:cubicBezTo>
                      <a:pt x="47" y="136"/>
                      <a:pt x="47" y="141"/>
                      <a:pt x="52" y="146"/>
                    </a:cubicBezTo>
                    <a:cubicBezTo>
                      <a:pt x="56" y="150"/>
                      <a:pt x="58" y="153"/>
                      <a:pt x="55" y="158"/>
                    </a:cubicBezTo>
                    <a:cubicBezTo>
                      <a:pt x="58" y="163"/>
                      <a:pt x="58" y="166"/>
                      <a:pt x="58" y="167"/>
                    </a:cubicBezTo>
                    <a:cubicBezTo>
                      <a:pt x="58" y="169"/>
                      <a:pt x="59" y="167"/>
                      <a:pt x="59" y="169"/>
                    </a:cubicBezTo>
                    <a:cubicBezTo>
                      <a:pt x="59" y="172"/>
                      <a:pt x="61" y="170"/>
                      <a:pt x="59" y="172"/>
                    </a:cubicBezTo>
                    <a:cubicBezTo>
                      <a:pt x="56" y="175"/>
                      <a:pt x="58" y="175"/>
                      <a:pt x="55" y="180"/>
                    </a:cubicBezTo>
                    <a:cubicBezTo>
                      <a:pt x="52" y="183"/>
                      <a:pt x="53" y="183"/>
                      <a:pt x="52" y="186"/>
                    </a:cubicBezTo>
                    <a:cubicBezTo>
                      <a:pt x="52" y="189"/>
                      <a:pt x="50" y="191"/>
                      <a:pt x="50" y="188"/>
                    </a:cubicBezTo>
                    <a:cubicBezTo>
                      <a:pt x="50" y="178"/>
                      <a:pt x="52" y="181"/>
                      <a:pt x="52" y="178"/>
                    </a:cubicBezTo>
                    <a:cubicBezTo>
                      <a:pt x="52" y="175"/>
                      <a:pt x="55" y="172"/>
                      <a:pt x="52" y="172"/>
                    </a:cubicBezTo>
                    <a:cubicBezTo>
                      <a:pt x="49" y="172"/>
                      <a:pt x="53" y="169"/>
                      <a:pt x="52" y="167"/>
                    </a:cubicBezTo>
                    <a:cubicBezTo>
                      <a:pt x="50" y="166"/>
                      <a:pt x="52" y="164"/>
                      <a:pt x="52" y="161"/>
                    </a:cubicBezTo>
                    <a:cubicBezTo>
                      <a:pt x="50" y="160"/>
                      <a:pt x="50" y="157"/>
                      <a:pt x="49" y="153"/>
                    </a:cubicBezTo>
                    <a:cubicBezTo>
                      <a:pt x="47" y="149"/>
                      <a:pt x="47" y="158"/>
                      <a:pt x="47" y="149"/>
                    </a:cubicBezTo>
                    <a:cubicBezTo>
                      <a:pt x="47" y="146"/>
                      <a:pt x="44" y="144"/>
                      <a:pt x="44" y="136"/>
                    </a:cubicBezTo>
                    <a:cubicBezTo>
                      <a:pt x="44" y="130"/>
                      <a:pt x="42" y="130"/>
                      <a:pt x="42" y="127"/>
                    </a:cubicBezTo>
                    <a:cubicBezTo>
                      <a:pt x="42" y="125"/>
                      <a:pt x="46" y="124"/>
                      <a:pt x="44" y="124"/>
                    </a:cubicBezTo>
                    <a:cubicBezTo>
                      <a:pt x="42" y="124"/>
                      <a:pt x="41" y="125"/>
                      <a:pt x="41" y="122"/>
                    </a:cubicBezTo>
                    <a:cubicBezTo>
                      <a:pt x="39" y="118"/>
                      <a:pt x="39" y="119"/>
                      <a:pt x="39" y="118"/>
                    </a:cubicBezTo>
                    <a:cubicBezTo>
                      <a:pt x="39" y="116"/>
                      <a:pt x="38" y="116"/>
                      <a:pt x="38" y="115"/>
                    </a:cubicBezTo>
                    <a:cubicBezTo>
                      <a:pt x="39" y="122"/>
                      <a:pt x="35" y="124"/>
                      <a:pt x="32" y="125"/>
                    </a:cubicBezTo>
                    <a:cubicBezTo>
                      <a:pt x="27" y="127"/>
                      <a:pt x="27" y="135"/>
                      <a:pt x="24" y="132"/>
                    </a:cubicBezTo>
                    <a:cubicBezTo>
                      <a:pt x="21" y="129"/>
                      <a:pt x="23" y="133"/>
                      <a:pt x="20" y="130"/>
                    </a:cubicBezTo>
                    <a:cubicBezTo>
                      <a:pt x="18" y="129"/>
                      <a:pt x="21" y="127"/>
                      <a:pt x="20" y="127"/>
                    </a:cubicBezTo>
                    <a:cubicBezTo>
                      <a:pt x="18" y="125"/>
                      <a:pt x="18" y="130"/>
                      <a:pt x="16" y="130"/>
                    </a:cubicBezTo>
                    <a:cubicBezTo>
                      <a:pt x="15" y="130"/>
                      <a:pt x="18" y="122"/>
                      <a:pt x="20" y="116"/>
                    </a:cubicBezTo>
                    <a:cubicBezTo>
                      <a:pt x="21" y="111"/>
                      <a:pt x="16" y="105"/>
                      <a:pt x="15" y="101"/>
                    </a:cubicBezTo>
                    <a:cubicBezTo>
                      <a:pt x="15" y="96"/>
                      <a:pt x="13" y="99"/>
                      <a:pt x="13" y="101"/>
                    </a:cubicBezTo>
                    <a:cubicBezTo>
                      <a:pt x="13" y="102"/>
                      <a:pt x="9" y="97"/>
                      <a:pt x="10" y="96"/>
                    </a:cubicBezTo>
                    <a:cubicBezTo>
                      <a:pt x="12" y="94"/>
                      <a:pt x="12" y="97"/>
                      <a:pt x="13" y="96"/>
                    </a:cubicBezTo>
                    <a:cubicBezTo>
                      <a:pt x="16" y="94"/>
                      <a:pt x="13" y="94"/>
                      <a:pt x="12" y="93"/>
                    </a:cubicBezTo>
                    <a:cubicBezTo>
                      <a:pt x="10" y="90"/>
                      <a:pt x="9" y="87"/>
                      <a:pt x="7" y="90"/>
                    </a:cubicBezTo>
                    <a:cubicBezTo>
                      <a:pt x="7" y="93"/>
                      <a:pt x="7" y="90"/>
                      <a:pt x="4" y="87"/>
                    </a:cubicBezTo>
                    <a:cubicBezTo>
                      <a:pt x="1" y="84"/>
                      <a:pt x="1" y="79"/>
                      <a:pt x="0" y="79"/>
                    </a:cubicBezTo>
                    <a:cubicBezTo>
                      <a:pt x="0" y="68"/>
                      <a:pt x="4" y="85"/>
                      <a:pt x="3" y="69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74" name="Freeform 68"/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6112036" y="3304740"/>
                <a:ext cx="152055" cy="335686"/>
              </a:xfrm>
              <a:custGeom>
                <a:avLst/>
                <a:gdLst/>
                <a:ahLst/>
                <a:cxnLst>
                  <a:cxn ang="0">
                    <a:pos x="41" y="82"/>
                  </a:cxn>
                  <a:cxn ang="0">
                    <a:pos x="32" y="78"/>
                  </a:cxn>
                  <a:cxn ang="0">
                    <a:pos x="26" y="69"/>
                  </a:cxn>
                  <a:cxn ang="0">
                    <a:pos x="18" y="89"/>
                  </a:cxn>
                  <a:cxn ang="0">
                    <a:pos x="15" y="110"/>
                  </a:cxn>
                  <a:cxn ang="0">
                    <a:pos x="23" y="120"/>
                  </a:cxn>
                  <a:cxn ang="0">
                    <a:pos x="34" y="135"/>
                  </a:cxn>
                  <a:cxn ang="0">
                    <a:pos x="35" y="145"/>
                  </a:cxn>
                  <a:cxn ang="0">
                    <a:pos x="30" y="142"/>
                  </a:cxn>
                  <a:cxn ang="0">
                    <a:pos x="24" y="137"/>
                  </a:cxn>
                  <a:cxn ang="0">
                    <a:pos x="20" y="135"/>
                  </a:cxn>
                  <a:cxn ang="0">
                    <a:pos x="15" y="129"/>
                  </a:cxn>
                  <a:cxn ang="0">
                    <a:pos x="8" y="121"/>
                  </a:cxn>
                  <a:cxn ang="0">
                    <a:pos x="9" y="109"/>
                  </a:cxn>
                  <a:cxn ang="0">
                    <a:pos x="11" y="101"/>
                  </a:cxn>
                  <a:cxn ang="0">
                    <a:pos x="18" y="87"/>
                  </a:cxn>
                  <a:cxn ang="0">
                    <a:pos x="17" y="82"/>
                  </a:cxn>
                  <a:cxn ang="0">
                    <a:pos x="11" y="61"/>
                  </a:cxn>
                  <a:cxn ang="0">
                    <a:pos x="9" y="51"/>
                  </a:cxn>
                  <a:cxn ang="0">
                    <a:pos x="11" y="42"/>
                  </a:cxn>
                  <a:cxn ang="0">
                    <a:pos x="8" y="33"/>
                  </a:cxn>
                  <a:cxn ang="0">
                    <a:pos x="0" y="20"/>
                  </a:cxn>
                  <a:cxn ang="0">
                    <a:pos x="5" y="13"/>
                  </a:cxn>
                  <a:cxn ang="0">
                    <a:pos x="9" y="8"/>
                  </a:cxn>
                  <a:cxn ang="0">
                    <a:pos x="17" y="3"/>
                  </a:cxn>
                  <a:cxn ang="0">
                    <a:pos x="23" y="0"/>
                  </a:cxn>
                  <a:cxn ang="0">
                    <a:pos x="26" y="9"/>
                  </a:cxn>
                  <a:cxn ang="0">
                    <a:pos x="32" y="13"/>
                  </a:cxn>
                  <a:cxn ang="0">
                    <a:pos x="29" y="30"/>
                  </a:cxn>
                  <a:cxn ang="0">
                    <a:pos x="41" y="25"/>
                  </a:cxn>
                  <a:cxn ang="0">
                    <a:pos x="50" y="20"/>
                  </a:cxn>
                  <a:cxn ang="0">
                    <a:pos x="59" y="36"/>
                  </a:cxn>
                  <a:cxn ang="0">
                    <a:pos x="65" y="56"/>
                  </a:cxn>
                  <a:cxn ang="0">
                    <a:pos x="58" y="61"/>
                  </a:cxn>
                  <a:cxn ang="0">
                    <a:pos x="41" y="69"/>
                  </a:cxn>
                  <a:cxn ang="0">
                    <a:pos x="43" y="79"/>
                  </a:cxn>
                </a:cxnLst>
                <a:rect l="0" t="0" r="r" b="b"/>
                <a:pathLst>
                  <a:path w="67" h="148">
                    <a:moveTo>
                      <a:pt x="44" y="87"/>
                    </a:moveTo>
                    <a:cubicBezTo>
                      <a:pt x="43" y="87"/>
                      <a:pt x="44" y="84"/>
                      <a:pt x="41" y="82"/>
                    </a:cubicBezTo>
                    <a:cubicBezTo>
                      <a:pt x="40" y="82"/>
                      <a:pt x="38" y="79"/>
                      <a:pt x="35" y="78"/>
                    </a:cubicBezTo>
                    <a:cubicBezTo>
                      <a:pt x="34" y="76"/>
                      <a:pt x="34" y="79"/>
                      <a:pt x="32" y="78"/>
                    </a:cubicBezTo>
                    <a:cubicBezTo>
                      <a:pt x="29" y="76"/>
                      <a:pt x="27" y="81"/>
                      <a:pt x="27" y="76"/>
                    </a:cubicBezTo>
                    <a:cubicBezTo>
                      <a:pt x="29" y="70"/>
                      <a:pt x="30" y="69"/>
                      <a:pt x="26" y="69"/>
                    </a:cubicBezTo>
                    <a:cubicBezTo>
                      <a:pt x="21" y="69"/>
                      <a:pt x="20" y="72"/>
                      <a:pt x="21" y="73"/>
                    </a:cubicBezTo>
                    <a:cubicBezTo>
                      <a:pt x="23" y="73"/>
                      <a:pt x="20" y="86"/>
                      <a:pt x="18" y="89"/>
                    </a:cubicBezTo>
                    <a:cubicBezTo>
                      <a:pt x="18" y="90"/>
                      <a:pt x="18" y="95"/>
                      <a:pt x="17" y="96"/>
                    </a:cubicBezTo>
                    <a:cubicBezTo>
                      <a:pt x="14" y="100"/>
                      <a:pt x="15" y="109"/>
                      <a:pt x="15" y="110"/>
                    </a:cubicBezTo>
                    <a:cubicBezTo>
                      <a:pt x="15" y="115"/>
                      <a:pt x="20" y="109"/>
                      <a:pt x="20" y="112"/>
                    </a:cubicBezTo>
                    <a:cubicBezTo>
                      <a:pt x="20" y="115"/>
                      <a:pt x="21" y="120"/>
                      <a:pt x="23" y="120"/>
                    </a:cubicBezTo>
                    <a:cubicBezTo>
                      <a:pt x="24" y="118"/>
                      <a:pt x="24" y="129"/>
                      <a:pt x="27" y="132"/>
                    </a:cubicBezTo>
                    <a:cubicBezTo>
                      <a:pt x="32" y="138"/>
                      <a:pt x="30" y="132"/>
                      <a:pt x="34" y="135"/>
                    </a:cubicBezTo>
                    <a:cubicBezTo>
                      <a:pt x="37" y="138"/>
                      <a:pt x="37" y="140"/>
                      <a:pt x="38" y="142"/>
                    </a:cubicBezTo>
                    <a:cubicBezTo>
                      <a:pt x="37" y="146"/>
                      <a:pt x="37" y="146"/>
                      <a:pt x="35" y="145"/>
                    </a:cubicBezTo>
                    <a:cubicBezTo>
                      <a:pt x="32" y="142"/>
                      <a:pt x="32" y="148"/>
                      <a:pt x="30" y="146"/>
                    </a:cubicBezTo>
                    <a:cubicBezTo>
                      <a:pt x="29" y="145"/>
                      <a:pt x="30" y="143"/>
                      <a:pt x="30" y="142"/>
                    </a:cubicBezTo>
                    <a:cubicBezTo>
                      <a:pt x="30" y="138"/>
                      <a:pt x="29" y="142"/>
                      <a:pt x="27" y="140"/>
                    </a:cubicBezTo>
                    <a:cubicBezTo>
                      <a:pt x="27" y="137"/>
                      <a:pt x="26" y="138"/>
                      <a:pt x="24" y="137"/>
                    </a:cubicBezTo>
                    <a:cubicBezTo>
                      <a:pt x="23" y="135"/>
                      <a:pt x="23" y="135"/>
                      <a:pt x="23" y="138"/>
                    </a:cubicBezTo>
                    <a:cubicBezTo>
                      <a:pt x="21" y="137"/>
                      <a:pt x="21" y="137"/>
                      <a:pt x="20" y="135"/>
                    </a:cubicBezTo>
                    <a:cubicBezTo>
                      <a:pt x="18" y="134"/>
                      <a:pt x="18" y="132"/>
                      <a:pt x="18" y="131"/>
                    </a:cubicBezTo>
                    <a:cubicBezTo>
                      <a:pt x="18" y="131"/>
                      <a:pt x="17" y="132"/>
                      <a:pt x="15" y="129"/>
                    </a:cubicBezTo>
                    <a:cubicBezTo>
                      <a:pt x="12" y="126"/>
                      <a:pt x="12" y="121"/>
                      <a:pt x="11" y="120"/>
                    </a:cubicBezTo>
                    <a:cubicBezTo>
                      <a:pt x="9" y="120"/>
                      <a:pt x="9" y="124"/>
                      <a:pt x="8" y="121"/>
                    </a:cubicBezTo>
                    <a:cubicBezTo>
                      <a:pt x="8" y="121"/>
                      <a:pt x="6" y="118"/>
                      <a:pt x="8" y="115"/>
                    </a:cubicBezTo>
                    <a:cubicBezTo>
                      <a:pt x="9" y="112"/>
                      <a:pt x="8" y="114"/>
                      <a:pt x="9" y="109"/>
                    </a:cubicBezTo>
                    <a:cubicBezTo>
                      <a:pt x="11" y="107"/>
                      <a:pt x="8" y="109"/>
                      <a:pt x="9" y="106"/>
                    </a:cubicBezTo>
                    <a:cubicBezTo>
                      <a:pt x="11" y="103"/>
                      <a:pt x="12" y="103"/>
                      <a:pt x="11" y="101"/>
                    </a:cubicBezTo>
                    <a:cubicBezTo>
                      <a:pt x="12" y="98"/>
                      <a:pt x="11" y="98"/>
                      <a:pt x="14" y="95"/>
                    </a:cubicBezTo>
                    <a:cubicBezTo>
                      <a:pt x="17" y="90"/>
                      <a:pt x="15" y="90"/>
                      <a:pt x="18" y="87"/>
                    </a:cubicBezTo>
                    <a:cubicBezTo>
                      <a:pt x="20" y="86"/>
                      <a:pt x="18" y="87"/>
                      <a:pt x="18" y="84"/>
                    </a:cubicBezTo>
                    <a:cubicBezTo>
                      <a:pt x="18" y="82"/>
                      <a:pt x="17" y="84"/>
                      <a:pt x="17" y="82"/>
                    </a:cubicBezTo>
                    <a:cubicBezTo>
                      <a:pt x="17" y="81"/>
                      <a:pt x="17" y="78"/>
                      <a:pt x="14" y="73"/>
                    </a:cubicBezTo>
                    <a:cubicBezTo>
                      <a:pt x="17" y="69"/>
                      <a:pt x="15" y="65"/>
                      <a:pt x="11" y="61"/>
                    </a:cubicBezTo>
                    <a:cubicBezTo>
                      <a:pt x="6" y="56"/>
                      <a:pt x="6" y="51"/>
                      <a:pt x="8" y="51"/>
                    </a:cubicBezTo>
                    <a:cubicBezTo>
                      <a:pt x="9" y="53"/>
                      <a:pt x="8" y="50"/>
                      <a:pt x="9" y="51"/>
                    </a:cubicBezTo>
                    <a:cubicBezTo>
                      <a:pt x="11" y="51"/>
                      <a:pt x="9" y="44"/>
                      <a:pt x="11" y="44"/>
                    </a:cubicBezTo>
                    <a:cubicBezTo>
                      <a:pt x="14" y="44"/>
                      <a:pt x="14" y="37"/>
                      <a:pt x="11" y="42"/>
                    </a:cubicBezTo>
                    <a:cubicBezTo>
                      <a:pt x="11" y="42"/>
                      <a:pt x="9" y="39"/>
                      <a:pt x="9" y="36"/>
                    </a:cubicBezTo>
                    <a:cubicBezTo>
                      <a:pt x="9" y="33"/>
                      <a:pt x="9" y="36"/>
                      <a:pt x="8" y="33"/>
                    </a:cubicBezTo>
                    <a:cubicBezTo>
                      <a:pt x="5" y="30"/>
                      <a:pt x="3" y="28"/>
                      <a:pt x="3" y="23"/>
                    </a:cubicBezTo>
                    <a:cubicBezTo>
                      <a:pt x="3" y="19"/>
                      <a:pt x="2" y="23"/>
                      <a:pt x="0" y="20"/>
                    </a:cubicBezTo>
                    <a:cubicBezTo>
                      <a:pt x="0" y="17"/>
                      <a:pt x="5" y="22"/>
                      <a:pt x="3" y="17"/>
                    </a:cubicBezTo>
                    <a:cubicBezTo>
                      <a:pt x="2" y="13"/>
                      <a:pt x="6" y="16"/>
                      <a:pt x="5" y="13"/>
                    </a:cubicBezTo>
                    <a:cubicBezTo>
                      <a:pt x="3" y="9"/>
                      <a:pt x="5" y="11"/>
                      <a:pt x="6" y="8"/>
                    </a:cubicBezTo>
                    <a:cubicBezTo>
                      <a:pt x="6" y="5"/>
                      <a:pt x="6" y="9"/>
                      <a:pt x="9" y="8"/>
                    </a:cubicBezTo>
                    <a:cubicBezTo>
                      <a:pt x="12" y="6"/>
                      <a:pt x="14" y="8"/>
                      <a:pt x="14" y="5"/>
                    </a:cubicBezTo>
                    <a:cubicBezTo>
                      <a:pt x="15" y="2"/>
                      <a:pt x="15" y="5"/>
                      <a:pt x="17" y="3"/>
                    </a:cubicBezTo>
                    <a:cubicBezTo>
                      <a:pt x="18" y="3"/>
                      <a:pt x="15" y="0"/>
                      <a:pt x="18" y="2"/>
                    </a:cubicBezTo>
                    <a:cubicBezTo>
                      <a:pt x="21" y="2"/>
                      <a:pt x="20" y="0"/>
                      <a:pt x="23" y="0"/>
                    </a:cubicBezTo>
                    <a:cubicBezTo>
                      <a:pt x="23" y="3"/>
                      <a:pt x="23" y="0"/>
                      <a:pt x="24" y="2"/>
                    </a:cubicBezTo>
                    <a:cubicBezTo>
                      <a:pt x="27" y="5"/>
                      <a:pt x="23" y="9"/>
                      <a:pt x="26" y="9"/>
                    </a:cubicBezTo>
                    <a:cubicBezTo>
                      <a:pt x="29" y="9"/>
                      <a:pt x="27" y="8"/>
                      <a:pt x="30" y="8"/>
                    </a:cubicBezTo>
                    <a:cubicBezTo>
                      <a:pt x="34" y="9"/>
                      <a:pt x="30" y="11"/>
                      <a:pt x="32" y="13"/>
                    </a:cubicBezTo>
                    <a:cubicBezTo>
                      <a:pt x="34" y="16"/>
                      <a:pt x="29" y="20"/>
                      <a:pt x="30" y="22"/>
                    </a:cubicBezTo>
                    <a:cubicBezTo>
                      <a:pt x="32" y="23"/>
                      <a:pt x="27" y="28"/>
                      <a:pt x="29" y="30"/>
                    </a:cubicBezTo>
                    <a:cubicBezTo>
                      <a:pt x="30" y="30"/>
                      <a:pt x="30" y="30"/>
                      <a:pt x="35" y="25"/>
                    </a:cubicBezTo>
                    <a:cubicBezTo>
                      <a:pt x="40" y="20"/>
                      <a:pt x="38" y="25"/>
                      <a:pt x="41" y="25"/>
                    </a:cubicBezTo>
                    <a:cubicBezTo>
                      <a:pt x="43" y="25"/>
                      <a:pt x="41" y="26"/>
                      <a:pt x="43" y="25"/>
                    </a:cubicBezTo>
                    <a:cubicBezTo>
                      <a:pt x="47" y="23"/>
                      <a:pt x="46" y="19"/>
                      <a:pt x="50" y="20"/>
                    </a:cubicBezTo>
                    <a:cubicBezTo>
                      <a:pt x="53" y="22"/>
                      <a:pt x="53" y="20"/>
                      <a:pt x="55" y="23"/>
                    </a:cubicBezTo>
                    <a:cubicBezTo>
                      <a:pt x="56" y="30"/>
                      <a:pt x="61" y="28"/>
                      <a:pt x="59" y="36"/>
                    </a:cubicBezTo>
                    <a:cubicBezTo>
                      <a:pt x="58" y="44"/>
                      <a:pt x="64" y="44"/>
                      <a:pt x="64" y="45"/>
                    </a:cubicBezTo>
                    <a:cubicBezTo>
                      <a:pt x="64" y="47"/>
                      <a:pt x="67" y="47"/>
                      <a:pt x="65" y="56"/>
                    </a:cubicBezTo>
                    <a:cubicBezTo>
                      <a:pt x="65" y="58"/>
                      <a:pt x="67" y="59"/>
                      <a:pt x="62" y="61"/>
                    </a:cubicBezTo>
                    <a:cubicBezTo>
                      <a:pt x="61" y="62"/>
                      <a:pt x="62" y="59"/>
                      <a:pt x="58" y="61"/>
                    </a:cubicBezTo>
                    <a:cubicBezTo>
                      <a:pt x="53" y="61"/>
                      <a:pt x="46" y="59"/>
                      <a:pt x="44" y="64"/>
                    </a:cubicBezTo>
                    <a:cubicBezTo>
                      <a:pt x="43" y="69"/>
                      <a:pt x="41" y="67"/>
                      <a:pt x="41" y="69"/>
                    </a:cubicBezTo>
                    <a:cubicBezTo>
                      <a:pt x="41" y="70"/>
                      <a:pt x="38" y="67"/>
                      <a:pt x="40" y="72"/>
                    </a:cubicBezTo>
                    <a:cubicBezTo>
                      <a:pt x="43" y="76"/>
                      <a:pt x="40" y="78"/>
                      <a:pt x="43" y="79"/>
                    </a:cubicBezTo>
                    <a:cubicBezTo>
                      <a:pt x="44" y="81"/>
                      <a:pt x="41" y="82"/>
                      <a:pt x="44" y="87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75" name="Freeform 69"/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auto">
              <a:xfrm>
                <a:off x="6025481" y="3460302"/>
                <a:ext cx="11696" cy="52634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3" y="6"/>
                  </a:cxn>
                  <a:cxn ang="0">
                    <a:pos x="3" y="11"/>
                  </a:cxn>
                  <a:cxn ang="0">
                    <a:pos x="3" y="15"/>
                  </a:cxn>
                  <a:cxn ang="0">
                    <a:pos x="1" y="20"/>
                  </a:cxn>
                  <a:cxn ang="0">
                    <a:pos x="1" y="9"/>
                  </a:cxn>
                  <a:cxn ang="0">
                    <a:pos x="3" y="0"/>
                  </a:cxn>
                </a:cxnLst>
                <a:rect l="0" t="0" r="r" b="b"/>
                <a:pathLst>
                  <a:path w="5" h="23">
                    <a:moveTo>
                      <a:pt x="3" y="0"/>
                    </a:moveTo>
                    <a:cubicBezTo>
                      <a:pt x="5" y="1"/>
                      <a:pt x="5" y="4"/>
                      <a:pt x="3" y="6"/>
                    </a:cubicBezTo>
                    <a:cubicBezTo>
                      <a:pt x="3" y="6"/>
                      <a:pt x="5" y="11"/>
                      <a:pt x="3" y="11"/>
                    </a:cubicBezTo>
                    <a:cubicBezTo>
                      <a:pt x="1" y="12"/>
                      <a:pt x="3" y="12"/>
                      <a:pt x="3" y="15"/>
                    </a:cubicBezTo>
                    <a:cubicBezTo>
                      <a:pt x="1" y="17"/>
                      <a:pt x="1" y="23"/>
                      <a:pt x="1" y="20"/>
                    </a:cubicBezTo>
                    <a:cubicBezTo>
                      <a:pt x="0" y="15"/>
                      <a:pt x="1" y="17"/>
                      <a:pt x="1" y="9"/>
                    </a:cubicBezTo>
                    <a:cubicBezTo>
                      <a:pt x="1" y="3"/>
                      <a:pt x="3" y="0"/>
                      <a:pt x="3" y="0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76" name="Freeform 70"/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6020803" y="3519954"/>
                <a:ext cx="7018" cy="11696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5"/>
                  </a:cxn>
                  <a:cxn ang="0">
                    <a:pos x="2" y="0"/>
                  </a:cxn>
                </a:cxnLst>
                <a:rect l="0" t="0" r="r" b="b"/>
                <a:pathLst>
                  <a:path w="3" h="5">
                    <a:moveTo>
                      <a:pt x="2" y="0"/>
                    </a:moveTo>
                    <a:cubicBezTo>
                      <a:pt x="3" y="0"/>
                      <a:pt x="2" y="5"/>
                      <a:pt x="0" y="5"/>
                    </a:cubicBezTo>
                    <a:cubicBezTo>
                      <a:pt x="0" y="3"/>
                      <a:pt x="0" y="0"/>
                      <a:pt x="2" y="0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77" name="Freeform 71"/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auto">
              <a:xfrm>
                <a:off x="6044196" y="3601828"/>
                <a:ext cx="9358" cy="12866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3" y="4"/>
                  </a:cxn>
                  <a:cxn ang="0">
                    <a:pos x="1" y="1"/>
                  </a:cxn>
                </a:cxnLst>
                <a:rect l="0" t="0" r="r" b="b"/>
                <a:pathLst>
                  <a:path w="4" h="6">
                    <a:moveTo>
                      <a:pt x="1" y="1"/>
                    </a:moveTo>
                    <a:cubicBezTo>
                      <a:pt x="3" y="0"/>
                      <a:pt x="4" y="3"/>
                      <a:pt x="3" y="4"/>
                    </a:cubicBezTo>
                    <a:cubicBezTo>
                      <a:pt x="1" y="6"/>
                      <a:pt x="0" y="1"/>
                      <a:pt x="1" y="1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78" name="Freeform 72"/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auto">
              <a:xfrm>
                <a:off x="6025481" y="3553873"/>
                <a:ext cx="7018" cy="935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1" y="4"/>
                  </a:cxn>
                  <a:cxn ang="0">
                    <a:pos x="1" y="0"/>
                  </a:cxn>
                </a:cxnLst>
                <a:rect l="0" t="0" r="r" b="b"/>
                <a:pathLst>
                  <a:path w="3" h="4">
                    <a:moveTo>
                      <a:pt x="1" y="0"/>
                    </a:moveTo>
                    <a:cubicBezTo>
                      <a:pt x="1" y="0"/>
                      <a:pt x="3" y="2"/>
                      <a:pt x="1" y="4"/>
                    </a:cubicBezTo>
                    <a:cubicBezTo>
                      <a:pt x="1" y="4"/>
                      <a:pt x="0" y="2"/>
                      <a:pt x="1" y="0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79" name="Freeform 73"/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auto">
              <a:xfrm>
                <a:off x="6039517" y="3583114"/>
                <a:ext cx="4679" cy="467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2"/>
                      <a:pt x="0" y="0"/>
                      <a:pt x="2" y="0"/>
                    </a:cubicBezTo>
                    <a:cubicBezTo>
                      <a:pt x="2" y="2"/>
                      <a:pt x="2" y="2"/>
                      <a:pt x="0" y="2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80" name="Freeform 74"/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6198591" y="3233392"/>
                <a:ext cx="133341" cy="345043"/>
              </a:xfrm>
              <a:custGeom>
                <a:avLst/>
                <a:gdLst/>
                <a:ahLst/>
                <a:cxnLst>
                  <a:cxn ang="0">
                    <a:pos x="41" y="25"/>
                  </a:cxn>
                  <a:cxn ang="0">
                    <a:pos x="34" y="34"/>
                  </a:cxn>
                  <a:cxn ang="0">
                    <a:pos x="35" y="56"/>
                  </a:cxn>
                  <a:cxn ang="0">
                    <a:pos x="49" y="76"/>
                  </a:cxn>
                  <a:cxn ang="0">
                    <a:pos x="56" y="104"/>
                  </a:cxn>
                  <a:cxn ang="0">
                    <a:pos x="56" y="118"/>
                  </a:cxn>
                  <a:cxn ang="0">
                    <a:pos x="38" y="129"/>
                  </a:cxn>
                  <a:cxn ang="0">
                    <a:pos x="32" y="141"/>
                  </a:cxn>
                  <a:cxn ang="0">
                    <a:pos x="21" y="143"/>
                  </a:cxn>
                  <a:cxn ang="0">
                    <a:pos x="18" y="130"/>
                  </a:cxn>
                  <a:cxn ang="0">
                    <a:pos x="24" y="126"/>
                  </a:cxn>
                  <a:cxn ang="0">
                    <a:pos x="31" y="124"/>
                  </a:cxn>
                  <a:cxn ang="0">
                    <a:pos x="34" y="118"/>
                  </a:cxn>
                  <a:cxn ang="0">
                    <a:pos x="41" y="112"/>
                  </a:cxn>
                  <a:cxn ang="0">
                    <a:pos x="43" y="99"/>
                  </a:cxn>
                  <a:cxn ang="0">
                    <a:pos x="43" y="89"/>
                  </a:cxn>
                  <a:cxn ang="0">
                    <a:pos x="41" y="76"/>
                  </a:cxn>
                  <a:cxn ang="0">
                    <a:pos x="37" y="72"/>
                  </a:cxn>
                  <a:cxn ang="0">
                    <a:pos x="27" y="56"/>
                  </a:cxn>
                  <a:cxn ang="0">
                    <a:pos x="24" y="48"/>
                  </a:cxn>
                  <a:cxn ang="0">
                    <a:pos x="15" y="40"/>
                  </a:cxn>
                  <a:cxn ang="0">
                    <a:pos x="23" y="34"/>
                  </a:cxn>
                  <a:cxn ang="0">
                    <a:pos x="18" y="31"/>
                  </a:cxn>
                  <a:cxn ang="0">
                    <a:pos x="14" y="27"/>
                  </a:cxn>
                  <a:cxn ang="0">
                    <a:pos x="6" y="23"/>
                  </a:cxn>
                  <a:cxn ang="0">
                    <a:pos x="6" y="19"/>
                  </a:cxn>
                  <a:cxn ang="0">
                    <a:pos x="0" y="11"/>
                  </a:cxn>
                  <a:cxn ang="0">
                    <a:pos x="8" y="11"/>
                  </a:cxn>
                  <a:cxn ang="0">
                    <a:pos x="12" y="8"/>
                  </a:cxn>
                  <a:cxn ang="0">
                    <a:pos x="17" y="8"/>
                  </a:cxn>
                  <a:cxn ang="0">
                    <a:pos x="24" y="2"/>
                  </a:cxn>
                  <a:cxn ang="0">
                    <a:pos x="35" y="6"/>
                  </a:cxn>
                  <a:cxn ang="0">
                    <a:pos x="37" y="14"/>
                  </a:cxn>
                  <a:cxn ang="0">
                    <a:pos x="41" y="19"/>
                  </a:cxn>
                  <a:cxn ang="0">
                    <a:pos x="43" y="22"/>
                  </a:cxn>
                </a:cxnLst>
                <a:rect l="0" t="0" r="r" b="b"/>
                <a:pathLst>
                  <a:path w="59" h="152">
                    <a:moveTo>
                      <a:pt x="43" y="22"/>
                    </a:moveTo>
                    <a:cubicBezTo>
                      <a:pt x="41" y="23"/>
                      <a:pt x="43" y="25"/>
                      <a:pt x="41" y="25"/>
                    </a:cubicBezTo>
                    <a:cubicBezTo>
                      <a:pt x="40" y="27"/>
                      <a:pt x="40" y="25"/>
                      <a:pt x="38" y="27"/>
                    </a:cubicBezTo>
                    <a:cubicBezTo>
                      <a:pt x="35" y="28"/>
                      <a:pt x="38" y="31"/>
                      <a:pt x="34" y="34"/>
                    </a:cubicBezTo>
                    <a:cubicBezTo>
                      <a:pt x="31" y="37"/>
                      <a:pt x="27" y="44"/>
                      <a:pt x="29" y="50"/>
                    </a:cubicBezTo>
                    <a:cubicBezTo>
                      <a:pt x="32" y="54"/>
                      <a:pt x="34" y="53"/>
                      <a:pt x="35" y="56"/>
                    </a:cubicBezTo>
                    <a:cubicBezTo>
                      <a:pt x="35" y="59"/>
                      <a:pt x="38" y="64"/>
                      <a:pt x="43" y="68"/>
                    </a:cubicBezTo>
                    <a:cubicBezTo>
                      <a:pt x="47" y="73"/>
                      <a:pt x="49" y="72"/>
                      <a:pt x="49" y="76"/>
                    </a:cubicBezTo>
                    <a:cubicBezTo>
                      <a:pt x="50" y="79"/>
                      <a:pt x="53" y="79"/>
                      <a:pt x="56" y="89"/>
                    </a:cubicBezTo>
                    <a:cubicBezTo>
                      <a:pt x="58" y="98"/>
                      <a:pt x="56" y="103"/>
                      <a:pt x="56" y="104"/>
                    </a:cubicBezTo>
                    <a:cubicBezTo>
                      <a:pt x="58" y="106"/>
                      <a:pt x="59" y="109"/>
                      <a:pt x="58" y="109"/>
                    </a:cubicBezTo>
                    <a:cubicBezTo>
                      <a:pt x="56" y="109"/>
                      <a:pt x="58" y="113"/>
                      <a:pt x="56" y="118"/>
                    </a:cubicBezTo>
                    <a:cubicBezTo>
                      <a:pt x="55" y="124"/>
                      <a:pt x="50" y="123"/>
                      <a:pt x="46" y="127"/>
                    </a:cubicBezTo>
                    <a:cubicBezTo>
                      <a:pt x="40" y="134"/>
                      <a:pt x="40" y="130"/>
                      <a:pt x="38" y="129"/>
                    </a:cubicBezTo>
                    <a:cubicBezTo>
                      <a:pt x="37" y="127"/>
                      <a:pt x="37" y="138"/>
                      <a:pt x="34" y="140"/>
                    </a:cubicBezTo>
                    <a:cubicBezTo>
                      <a:pt x="32" y="140"/>
                      <a:pt x="35" y="140"/>
                      <a:pt x="32" y="141"/>
                    </a:cubicBezTo>
                    <a:cubicBezTo>
                      <a:pt x="29" y="143"/>
                      <a:pt x="27" y="144"/>
                      <a:pt x="24" y="148"/>
                    </a:cubicBezTo>
                    <a:cubicBezTo>
                      <a:pt x="21" y="152"/>
                      <a:pt x="21" y="149"/>
                      <a:pt x="21" y="143"/>
                    </a:cubicBezTo>
                    <a:cubicBezTo>
                      <a:pt x="21" y="135"/>
                      <a:pt x="24" y="137"/>
                      <a:pt x="23" y="134"/>
                    </a:cubicBezTo>
                    <a:cubicBezTo>
                      <a:pt x="21" y="130"/>
                      <a:pt x="20" y="135"/>
                      <a:pt x="18" y="130"/>
                    </a:cubicBezTo>
                    <a:cubicBezTo>
                      <a:pt x="20" y="129"/>
                      <a:pt x="24" y="130"/>
                      <a:pt x="23" y="127"/>
                    </a:cubicBezTo>
                    <a:cubicBezTo>
                      <a:pt x="23" y="127"/>
                      <a:pt x="24" y="124"/>
                      <a:pt x="24" y="126"/>
                    </a:cubicBezTo>
                    <a:cubicBezTo>
                      <a:pt x="26" y="127"/>
                      <a:pt x="29" y="123"/>
                      <a:pt x="29" y="126"/>
                    </a:cubicBezTo>
                    <a:cubicBezTo>
                      <a:pt x="31" y="127"/>
                      <a:pt x="35" y="127"/>
                      <a:pt x="31" y="124"/>
                    </a:cubicBezTo>
                    <a:cubicBezTo>
                      <a:pt x="29" y="123"/>
                      <a:pt x="31" y="121"/>
                      <a:pt x="31" y="120"/>
                    </a:cubicBezTo>
                    <a:cubicBezTo>
                      <a:pt x="29" y="118"/>
                      <a:pt x="31" y="117"/>
                      <a:pt x="34" y="118"/>
                    </a:cubicBezTo>
                    <a:cubicBezTo>
                      <a:pt x="37" y="120"/>
                      <a:pt x="32" y="115"/>
                      <a:pt x="37" y="115"/>
                    </a:cubicBezTo>
                    <a:cubicBezTo>
                      <a:pt x="40" y="115"/>
                      <a:pt x="40" y="112"/>
                      <a:pt x="41" y="112"/>
                    </a:cubicBezTo>
                    <a:cubicBezTo>
                      <a:pt x="44" y="113"/>
                      <a:pt x="44" y="110"/>
                      <a:pt x="43" y="107"/>
                    </a:cubicBezTo>
                    <a:cubicBezTo>
                      <a:pt x="43" y="104"/>
                      <a:pt x="44" y="103"/>
                      <a:pt x="43" y="99"/>
                    </a:cubicBezTo>
                    <a:cubicBezTo>
                      <a:pt x="43" y="96"/>
                      <a:pt x="43" y="96"/>
                      <a:pt x="41" y="95"/>
                    </a:cubicBezTo>
                    <a:cubicBezTo>
                      <a:pt x="41" y="95"/>
                      <a:pt x="43" y="90"/>
                      <a:pt x="43" y="89"/>
                    </a:cubicBezTo>
                    <a:cubicBezTo>
                      <a:pt x="43" y="85"/>
                      <a:pt x="46" y="84"/>
                      <a:pt x="43" y="81"/>
                    </a:cubicBezTo>
                    <a:cubicBezTo>
                      <a:pt x="40" y="78"/>
                      <a:pt x="40" y="78"/>
                      <a:pt x="41" y="76"/>
                    </a:cubicBezTo>
                    <a:cubicBezTo>
                      <a:pt x="43" y="76"/>
                      <a:pt x="43" y="75"/>
                      <a:pt x="41" y="75"/>
                    </a:cubicBezTo>
                    <a:cubicBezTo>
                      <a:pt x="41" y="76"/>
                      <a:pt x="38" y="70"/>
                      <a:pt x="37" y="72"/>
                    </a:cubicBezTo>
                    <a:cubicBezTo>
                      <a:pt x="35" y="72"/>
                      <a:pt x="37" y="64"/>
                      <a:pt x="34" y="62"/>
                    </a:cubicBezTo>
                    <a:cubicBezTo>
                      <a:pt x="31" y="62"/>
                      <a:pt x="27" y="59"/>
                      <a:pt x="27" y="56"/>
                    </a:cubicBezTo>
                    <a:cubicBezTo>
                      <a:pt x="26" y="51"/>
                      <a:pt x="26" y="54"/>
                      <a:pt x="24" y="51"/>
                    </a:cubicBezTo>
                    <a:cubicBezTo>
                      <a:pt x="23" y="50"/>
                      <a:pt x="24" y="50"/>
                      <a:pt x="24" y="48"/>
                    </a:cubicBezTo>
                    <a:cubicBezTo>
                      <a:pt x="23" y="48"/>
                      <a:pt x="21" y="48"/>
                      <a:pt x="17" y="45"/>
                    </a:cubicBezTo>
                    <a:cubicBezTo>
                      <a:pt x="12" y="40"/>
                      <a:pt x="17" y="42"/>
                      <a:pt x="15" y="40"/>
                    </a:cubicBezTo>
                    <a:cubicBezTo>
                      <a:pt x="14" y="36"/>
                      <a:pt x="20" y="40"/>
                      <a:pt x="21" y="39"/>
                    </a:cubicBezTo>
                    <a:cubicBezTo>
                      <a:pt x="21" y="36"/>
                      <a:pt x="24" y="36"/>
                      <a:pt x="23" y="34"/>
                    </a:cubicBezTo>
                    <a:cubicBezTo>
                      <a:pt x="21" y="33"/>
                      <a:pt x="21" y="34"/>
                      <a:pt x="20" y="33"/>
                    </a:cubicBezTo>
                    <a:cubicBezTo>
                      <a:pt x="20" y="31"/>
                      <a:pt x="17" y="33"/>
                      <a:pt x="18" y="31"/>
                    </a:cubicBezTo>
                    <a:cubicBezTo>
                      <a:pt x="21" y="30"/>
                      <a:pt x="21" y="28"/>
                      <a:pt x="18" y="27"/>
                    </a:cubicBezTo>
                    <a:cubicBezTo>
                      <a:pt x="15" y="25"/>
                      <a:pt x="15" y="25"/>
                      <a:pt x="14" y="27"/>
                    </a:cubicBezTo>
                    <a:cubicBezTo>
                      <a:pt x="12" y="31"/>
                      <a:pt x="11" y="27"/>
                      <a:pt x="9" y="27"/>
                    </a:cubicBezTo>
                    <a:cubicBezTo>
                      <a:pt x="8" y="28"/>
                      <a:pt x="8" y="25"/>
                      <a:pt x="6" y="23"/>
                    </a:cubicBezTo>
                    <a:cubicBezTo>
                      <a:pt x="6" y="22"/>
                      <a:pt x="8" y="22"/>
                      <a:pt x="6" y="22"/>
                    </a:cubicBezTo>
                    <a:cubicBezTo>
                      <a:pt x="6" y="20"/>
                      <a:pt x="8" y="19"/>
                      <a:pt x="6" y="19"/>
                    </a:cubicBezTo>
                    <a:cubicBezTo>
                      <a:pt x="6" y="19"/>
                      <a:pt x="6" y="16"/>
                      <a:pt x="5" y="19"/>
                    </a:cubicBezTo>
                    <a:cubicBezTo>
                      <a:pt x="5" y="20"/>
                      <a:pt x="6" y="17"/>
                      <a:pt x="0" y="11"/>
                    </a:cubicBezTo>
                    <a:cubicBezTo>
                      <a:pt x="3" y="11"/>
                      <a:pt x="2" y="6"/>
                      <a:pt x="5" y="8"/>
                    </a:cubicBezTo>
                    <a:cubicBezTo>
                      <a:pt x="8" y="9"/>
                      <a:pt x="6" y="11"/>
                      <a:pt x="8" y="11"/>
                    </a:cubicBezTo>
                    <a:cubicBezTo>
                      <a:pt x="9" y="11"/>
                      <a:pt x="9" y="5"/>
                      <a:pt x="11" y="8"/>
                    </a:cubicBezTo>
                    <a:cubicBezTo>
                      <a:pt x="12" y="9"/>
                      <a:pt x="12" y="8"/>
                      <a:pt x="12" y="8"/>
                    </a:cubicBezTo>
                    <a:cubicBezTo>
                      <a:pt x="14" y="9"/>
                      <a:pt x="15" y="13"/>
                      <a:pt x="15" y="9"/>
                    </a:cubicBezTo>
                    <a:cubicBezTo>
                      <a:pt x="15" y="6"/>
                      <a:pt x="17" y="6"/>
                      <a:pt x="17" y="8"/>
                    </a:cubicBezTo>
                    <a:cubicBezTo>
                      <a:pt x="18" y="9"/>
                      <a:pt x="23" y="6"/>
                      <a:pt x="21" y="5"/>
                    </a:cubicBezTo>
                    <a:cubicBezTo>
                      <a:pt x="21" y="3"/>
                      <a:pt x="23" y="5"/>
                      <a:pt x="24" y="2"/>
                    </a:cubicBezTo>
                    <a:cubicBezTo>
                      <a:pt x="26" y="0"/>
                      <a:pt x="27" y="6"/>
                      <a:pt x="31" y="6"/>
                    </a:cubicBezTo>
                    <a:cubicBezTo>
                      <a:pt x="34" y="5"/>
                      <a:pt x="32" y="8"/>
                      <a:pt x="35" y="6"/>
                    </a:cubicBezTo>
                    <a:cubicBezTo>
                      <a:pt x="37" y="6"/>
                      <a:pt x="38" y="6"/>
                      <a:pt x="37" y="9"/>
                    </a:cubicBezTo>
                    <a:cubicBezTo>
                      <a:pt x="34" y="13"/>
                      <a:pt x="37" y="11"/>
                      <a:pt x="37" y="14"/>
                    </a:cubicBezTo>
                    <a:cubicBezTo>
                      <a:pt x="37" y="16"/>
                      <a:pt x="38" y="14"/>
                      <a:pt x="40" y="17"/>
                    </a:cubicBezTo>
                    <a:cubicBezTo>
                      <a:pt x="40" y="19"/>
                      <a:pt x="41" y="17"/>
                      <a:pt x="41" y="19"/>
                    </a:cubicBezTo>
                    <a:cubicBezTo>
                      <a:pt x="43" y="20"/>
                      <a:pt x="44" y="19"/>
                      <a:pt x="47" y="20"/>
                    </a:cubicBezTo>
                    <a:cubicBezTo>
                      <a:pt x="47" y="20"/>
                      <a:pt x="46" y="20"/>
                      <a:pt x="43" y="22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81" name="Freeform 75"/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6164671" y="3259124"/>
                <a:ext cx="135680" cy="197668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2" y="22"/>
                  </a:cxn>
                  <a:cxn ang="0">
                    <a:pos x="3" y="29"/>
                  </a:cxn>
                  <a:cxn ang="0">
                    <a:pos x="8" y="28"/>
                  </a:cxn>
                  <a:cxn ang="0">
                    <a:pos x="9" y="32"/>
                  </a:cxn>
                  <a:cxn ang="0">
                    <a:pos x="8" y="42"/>
                  </a:cxn>
                  <a:cxn ang="0">
                    <a:pos x="6" y="50"/>
                  </a:cxn>
                  <a:cxn ang="0">
                    <a:pos x="12" y="45"/>
                  </a:cxn>
                  <a:cxn ang="0">
                    <a:pos x="18" y="45"/>
                  </a:cxn>
                  <a:cxn ang="0">
                    <a:pos x="20" y="45"/>
                  </a:cxn>
                  <a:cxn ang="0">
                    <a:pos x="27" y="40"/>
                  </a:cxn>
                  <a:cxn ang="0">
                    <a:pos x="32" y="43"/>
                  </a:cxn>
                  <a:cxn ang="0">
                    <a:pos x="36" y="56"/>
                  </a:cxn>
                  <a:cxn ang="0">
                    <a:pos x="41" y="65"/>
                  </a:cxn>
                  <a:cxn ang="0">
                    <a:pos x="42" y="76"/>
                  </a:cxn>
                  <a:cxn ang="0">
                    <a:pos x="39" y="81"/>
                  </a:cxn>
                  <a:cxn ang="0">
                    <a:pos x="44" y="84"/>
                  </a:cxn>
                  <a:cxn ang="0">
                    <a:pos x="47" y="83"/>
                  </a:cxn>
                  <a:cxn ang="0">
                    <a:pos x="50" y="79"/>
                  </a:cxn>
                  <a:cxn ang="0">
                    <a:pos x="53" y="81"/>
                  </a:cxn>
                  <a:cxn ang="0">
                    <a:pos x="56" y="79"/>
                  </a:cxn>
                  <a:cxn ang="0">
                    <a:pos x="57" y="78"/>
                  </a:cxn>
                  <a:cxn ang="0">
                    <a:pos x="57" y="70"/>
                  </a:cxn>
                  <a:cxn ang="0">
                    <a:pos x="56" y="65"/>
                  </a:cxn>
                  <a:cxn ang="0">
                    <a:pos x="56" y="64"/>
                  </a:cxn>
                  <a:cxn ang="0">
                    <a:pos x="51" y="61"/>
                  </a:cxn>
                  <a:cxn ang="0">
                    <a:pos x="48" y="51"/>
                  </a:cxn>
                  <a:cxn ang="0">
                    <a:pos x="42" y="45"/>
                  </a:cxn>
                  <a:cxn ang="0">
                    <a:pos x="39" y="40"/>
                  </a:cxn>
                  <a:cxn ang="0">
                    <a:pos x="39" y="37"/>
                  </a:cxn>
                  <a:cxn ang="0">
                    <a:pos x="32" y="34"/>
                  </a:cxn>
                  <a:cxn ang="0">
                    <a:pos x="30" y="29"/>
                  </a:cxn>
                  <a:cxn ang="0">
                    <a:pos x="36" y="28"/>
                  </a:cxn>
                  <a:cxn ang="0">
                    <a:pos x="38" y="23"/>
                  </a:cxn>
                  <a:cxn ang="0">
                    <a:pos x="35" y="22"/>
                  </a:cxn>
                  <a:cxn ang="0">
                    <a:pos x="33" y="20"/>
                  </a:cxn>
                  <a:cxn ang="0">
                    <a:pos x="33" y="15"/>
                  </a:cxn>
                  <a:cxn ang="0">
                    <a:pos x="29" y="15"/>
                  </a:cxn>
                  <a:cxn ang="0">
                    <a:pos x="24" y="15"/>
                  </a:cxn>
                  <a:cxn ang="0">
                    <a:pos x="21" y="12"/>
                  </a:cxn>
                  <a:cxn ang="0">
                    <a:pos x="21" y="11"/>
                  </a:cxn>
                  <a:cxn ang="0">
                    <a:pos x="21" y="7"/>
                  </a:cxn>
                  <a:cxn ang="0">
                    <a:pos x="20" y="7"/>
                  </a:cxn>
                  <a:cxn ang="0">
                    <a:pos x="15" y="0"/>
                  </a:cxn>
                  <a:cxn ang="0">
                    <a:pos x="12" y="4"/>
                  </a:cxn>
                  <a:cxn ang="0">
                    <a:pos x="12" y="11"/>
                  </a:cxn>
                  <a:cxn ang="0">
                    <a:pos x="12" y="12"/>
                  </a:cxn>
                  <a:cxn ang="0">
                    <a:pos x="8" y="9"/>
                  </a:cxn>
                  <a:cxn ang="0">
                    <a:pos x="3" y="14"/>
                  </a:cxn>
                  <a:cxn ang="0">
                    <a:pos x="0" y="20"/>
                  </a:cxn>
                </a:cxnLst>
                <a:rect l="0" t="0" r="r" b="b"/>
                <a:pathLst>
                  <a:path w="60" h="87">
                    <a:moveTo>
                      <a:pt x="0" y="20"/>
                    </a:moveTo>
                    <a:cubicBezTo>
                      <a:pt x="0" y="23"/>
                      <a:pt x="0" y="20"/>
                      <a:pt x="2" y="22"/>
                    </a:cubicBezTo>
                    <a:cubicBezTo>
                      <a:pt x="5" y="25"/>
                      <a:pt x="0" y="29"/>
                      <a:pt x="3" y="29"/>
                    </a:cubicBezTo>
                    <a:cubicBezTo>
                      <a:pt x="6" y="29"/>
                      <a:pt x="5" y="28"/>
                      <a:pt x="8" y="28"/>
                    </a:cubicBezTo>
                    <a:cubicBezTo>
                      <a:pt x="11" y="29"/>
                      <a:pt x="8" y="31"/>
                      <a:pt x="9" y="32"/>
                    </a:cubicBezTo>
                    <a:cubicBezTo>
                      <a:pt x="11" y="36"/>
                      <a:pt x="6" y="40"/>
                      <a:pt x="8" y="42"/>
                    </a:cubicBezTo>
                    <a:cubicBezTo>
                      <a:pt x="9" y="43"/>
                      <a:pt x="5" y="48"/>
                      <a:pt x="6" y="50"/>
                    </a:cubicBezTo>
                    <a:cubicBezTo>
                      <a:pt x="8" y="50"/>
                      <a:pt x="8" y="50"/>
                      <a:pt x="12" y="45"/>
                    </a:cubicBezTo>
                    <a:cubicBezTo>
                      <a:pt x="17" y="40"/>
                      <a:pt x="15" y="45"/>
                      <a:pt x="18" y="45"/>
                    </a:cubicBezTo>
                    <a:cubicBezTo>
                      <a:pt x="20" y="45"/>
                      <a:pt x="18" y="46"/>
                      <a:pt x="20" y="45"/>
                    </a:cubicBezTo>
                    <a:cubicBezTo>
                      <a:pt x="24" y="43"/>
                      <a:pt x="23" y="39"/>
                      <a:pt x="27" y="40"/>
                    </a:cubicBezTo>
                    <a:cubicBezTo>
                      <a:pt x="30" y="42"/>
                      <a:pt x="30" y="40"/>
                      <a:pt x="32" y="43"/>
                    </a:cubicBezTo>
                    <a:cubicBezTo>
                      <a:pt x="33" y="50"/>
                      <a:pt x="38" y="48"/>
                      <a:pt x="36" y="56"/>
                    </a:cubicBezTo>
                    <a:cubicBezTo>
                      <a:pt x="35" y="64"/>
                      <a:pt x="41" y="64"/>
                      <a:pt x="41" y="65"/>
                    </a:cubicBezTo>
                    <a:cubicBezTo>
                      <a:pt x="41" y="67"/>
                      <a:pt x="44" y="67"/>
                      <a:pt x="42" y="76"/>
                    </a:cubicBezTo>
                    <a:cubicBezTo>
                      <a:pt x="42" y="78"/>
                      <a:pt x="44" y="79"/>
                      <a:pt x="39" y="81"/>
                    </a:cubicBezTo>
                    <a:cubicBezTo>
                      <a:pt x="41" y="86"/>
                      <a:pt x="42" y="81"/>
                      <a:pt x="44" y="84"/>
                    </a:cubicBezTo>
                    <a:cubicBezTo>
                      <a:pt x="45" y="87"/>
                      <a:pt x="48" y="86"/>
                      <a:pt x="47" y="83"/>
                    </a:cubicBezTo>
                    <a:cubicBezTo>
                      <a:pt x="44" y="79"/>
                      <a:pt x="48" y="81"/>
                      <a:pt x="50" y="79"/>
                    </a:cubicBezTo>
                    <a:cubicBezTo>
                      <a:pt x="51" y="78"/>
                      <a:pt x="51" y="83"/>
                      <a:pt x="53" y="81"/>
                    </a:cubicBezTo>
                    <a:cubicBezTo>
                      <a:pt x="54" y="81"/>
                      <a:pt x="56" y="78"/>
                      <a:pt x="56" y="79"/>
                    </a:cubicBezTo>
                    <a:cubicBezTo>
                      <a:pt x="57" y="79"/>
                      <a:pt x="57" y="78"/>
                      <a:pt x="57" y="78"/>
                    </a:cubicBezTo>
                    <a:cubicBezTo>
                      <a:pt x="57" y="75"/>
                      <a:pt x="60" y="73"/>
                      <a:pt x="57" y="70"/>
                    </a:cubicBezTo>
                    <a:cubicBezTo>
                      <a:pt x="54" y="67"/>
                      <a:pt x="54" y="67"/>
                      <a:pt x="56" y="65"/>
                    </a:cubicBezTo>
                    <a:cubicBezTo>
                      <a:pt x="57" y="65"/>
                      <a:pt x="57" y="64"/>
                      <a:pt x="56" y="64"/>
                    </a:cubicBezTo>
                    <a:cubicBezTo>
                      <a:pt x="56" y="65"/>
                      <a:pt x="53" y="59"/>
                      <a:pt x="51" y="61"/>
                    </a:cubicBezTo>
                    <a:cubicBezTo>
                      <a:pt x="50" y="61"/>
                      <a:pt x="51" y="53"/>
                      <a:pt x="48" y="51"/>
                    </a:cubicBezTo>
                    <a:cubicBezTo>
                      <a:pt x="45" y="51"/>
                      <a:pt x="42" y="48"/>
                      <a:pt x="42" y="45"/>
                    </a:cubicBezTo>
                    <a:cubicBezTo>
                      <a:pt x="41" y="40"/>
                      <a:pt x="41" y="43"/>
                      <a:pt x="39" y="40"/>
                    </a:cubicBezTo>
                    <a:cubicBezTo>
                      <a:pt x="38" y="39"/>
                      <a:pt x="39" y="39"/>
                      <a:pt x="39" y="37"/>
                    </a:cubicBezTo>
                    <a:cubicBezTo>
                      <a:pt x="38" y="37"/>
                      <a:pt x="36" y="37"/>
                      <a:pt x="32" y="34"/>
                    </a:cubicBezTo>
                    <a:cubicBezTo>
                      <a:pt x="27" y="29"/>
                      <a:pt x="32" y="31"/>
                      <a:pt x="30" y="29"/>
                    </a:cubicBezTo>
                    <a:cubicBezTo>
                      <a:pt x="29" y="25"/>
                      <a:pt x="35" y="29"/>
                      <a:pt x="36" y="28"/>
                    </a:cubicBezTo>
                    <a:cubicBezTo>
                      <a:pt x="36" y="25"/>
                      <a:pt x="39" y="25"/>
                      <a:pt x="38" y="23"/>
                    </a:cubicBezTo>
                    <a:cubicBezTo>
                      <a:pt x="36" y="22"/>
                      <a:pt x="36" y="23"/>
                      <a:pt x="35" y="22"/>
                    </a:cubicBezTo>
                    <a:cubicBezTo>
                      <a:pt x="35" y="20"/>
                      <a:pt x="32" y="22"/>
                      <a:pt x="33" y="20"/>
                    </a:cubicBezTo>
                    <a:cubicBezTo>
                      <a:pt x="36" y="18"/>
                      <a:pt x="36" y="17"/>
                      <a:pt x="33" y="15"/>
                    </a:cubicBezTo>
                    <a:cubicBezTo>
                      <a:pt x="30" y="14"/>
                      <a:pt x="30" y="14"/>
                      <a:pt x="29" y="15"/>
                    </a:cubicBezTo>
                    <a:cubicBezTo>
                      <a:pt x="27" y="20"/>
                      <a:pt x="26" y="15"/>
                      <a:pt x="24" y="15"/>
                    </a:cubicBezTo>
                    <a:cubicBezTo>
                      <a:pt x="23" y="17"/>
                      <a:pt x="23" y="14"/>
                      <a:pt x="21" y="12"/>
                    </a:cubicBezTo>
                    <a:cubicBezTo>
                      <a:pt x="21" y="11"/>
                      <a:pt x="23" y="11"/>
                      <a:pt x="21" y="11"/>
                    </a:cubicBezTo>
                    <a:cubicBezTo>
                      <a:pt x="21" y="9"/>
                      <a:pt x="23" y="7"/>
                      <a:pt x="21" y="7"/>
                    </a:cubicBezTo>
                    <a:cubicBezTo>
                      <a:pt x="21" y="7"/>
                      <a:pt x="21" y="4"/>
                      <a:pt x="20" y="7"/>
                    </a:cubicBezTo>
                    <a:cubicBezTo>
                      <a:pt x="20" y="9"/>
                      <a:pt x="21" y="6"/>
                      <a:pt x="15" y="0"/>
                    </a:cubicBezTo>
                    <a:cubicBezTo>
                      <a:pt x="14" y="0"/>
                      <a:pt x="9" y="0"/>
                      <a:pt x="12" y="4"/>
                    </a:cubicBezTo>
                    <a:cubicBezTo>
                      <a:pt x="14" y="11"/>
                      <a:pt x="12" y="9"/>
                      <a:pt x="12" y="11"/>
                    </a:cubicBezTo>
                    <a:cubicBezTo>
                      <a:pt x="14" y="12"/>
                      <a:pt x="12" y="14"/>
                      <a:pt x="12" y="12"/>
                    </a:cubicBezTo>
                    <a:cubicBezTo>
                      <a:pt x="11" y="11"/>
                      <a:pt x="9" y="15"/>
                      <a:pt x="8" y="9"/>
                    </a:cubicBezTo>
                    <a:cubicBezTo>
                      <a:pt x="6" y="11"/>
                      <a:pt x="3" y="9"/>
                      <a:pt x="3" y="14"/>
                    </a:cubicBezTo>
                    <a:cubicBezTo>
                      <a:pt x="2" y="18"/>
                      <a:pt x="0" y="14"/>
                      <a:pt x="0" y="20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82" name="Freeform 76"/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6198591" y="3435739"/>
                <a:ext cx="99421" cy="95911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1" y="6"/>
                  </a:cxn>
                  <a:cxn ang="0">
                    <a:pos x="42" y="11"/>
                  </a:cxn>
                  <a:cxn ang="0">
                    <a:pos x="42" y="18"/>
                  </a:cxn>
                  <a:cxn ang="0">
                    <a:pos x="41" y="23"/>
                  </a:cxn>
                  <a:cxn ang="0">
                    <a:pos x="36" y="26"/>
                  </a:cxn>
                  <a:cxn ang="0">
                    <a:pos x="33" y="29"/>
                  </a:cxn>
                  <a:cxn ang="0">
                    <a:pos x="30" y="31"/>
                  </a:cxn>
                  <a:cxn ang="0">
                    <a:pos x="30" y="35"/>
                  </a:cxn>
                  <a:cxn ang="0">
                    <a:pos x="29" y="37"/>
                  </a:cxn>
                  <a:cxn ang="0">
                    <a:pos x="24" y="37"/>
                  </a:cxn>
                  <a:cxn ang="0">
                    <a:pos x="23" y="39"/>
                  </a:cxn>
                  <a:cxn ang="0">
                    <a:pos x="18" y="42"/>
                  </a:cxn>
                  <a:cxn ang="0">
                    <a:pos x="14" y="40"/>
                  </a:cxn>
                  <a:cxn ang="0">
                    <a:pos x="12" y="40"/>
                  </a:cxn>
                  <a:cxn ang="0">
                    <a:pos x="12" y="35"/>
                  </a:cxn>
                  <a:cxn ang="0">
                    <a:pos x="11" y="37"/>
                  </a:cxn>
                  <a:cxn ang="0">
                    <a:pos x="8" y="35"/>
                  </a:cxn>
                  <a:cxn ang="0">
                    <a:pos x="6" y="29"/>
                  </a:cxn>
                  <a:cxn ang="0">
                    <a:pos x="5" y="21"/>
                  </a:cxn>
                  <a:cxn ang="0">
                    <a:pos x="2" y="14"/>
                  </a:cxn>
                  <a:cxn ang="0">
                    <a:pos x="3" y="11"/>
                  </a:cxn>
                  <a:cxn ang="0">
                    <a:pos x="6" y="6"/>
                  </a:cxn>
                  <a:cxn ang="0">
                    <a:pos x="20" y="3"/>
                  </a:cxn>
                  <a:cxn ang="0">
                    <a:pos x="24" y="3"/>
                  </a:cxn>
                  <a:cxn ang="0">
                    <a:pos x="29" y="6"/>
                  </a:cxn>
                  <a:cxn ang="0">
                    <a:pos x="32" y="4"/>
                  </a:cxn>
                  <a:cxn ang="0">
                    <a:pos x="35" y="1"/>
                  </a:cxn>
                  <a:cxn ang="0">
                    <a:pos x="38" y="3"/>
                  </a:cxn>
                  <a:cxn ang="0">
                    <a:pos x="41" y="1"/>
                  </a:cxn>
                  <a:cxn ang="0">
                    <a:pos x="42" y="0"/>
                  </a:cxn>
                </a:cxnLst>
                <a:rect l="0" t="0" r="r" b="b"/>
                <a:pathLst>
                  <a:path w="44" h="42">
                    <a:moveTo>
                      <a:pt x="42" y="0"/>
                    </a:moveTo>
                    <a:cubicBezTo>
                      <a:pt x="42" y="1"/>
                      <a:pt x="41" y="6"/>
                      <a:pt x="41" y="6"/>
                    </a:cubicBezTo>
                    <a:cubicBezTo>
                      <a:pt x="42" y="7"/>
                      <a:pt x="42" y="7"/>
                      <a:pt x="42" y="11"/>
                    </a:cubicBezTo>
                    <a:cubicBezTo>
                      <a:pt x="44" y="14"/>
                      <a:pt x="42" y="15"/>
                      <a:pt x="42" y="18"/>
                    </a:cubicBezTo>
                    <a:cubicBezTo>
                      <a:pt x="44" y="21"/>
                      <a:pt x="44" y="25"/>
                      <a:pt x="41" y="23"/>
                    </a:cubicBezTo>
                    <a:cubicBezTo>
                      <a:pt x="39" y="23"/>
                      <a:pt x="39" y="26"/>
                      <a:pt x="36" y="26"/>
                    </a:cubicBezTo>
                    <a:cubicBezTo>
                      <a:pt x="32" y="26"/>
                      <a:pt x="36" y="31"/>
                      <a:pt x="33" y="29"/>
                    </a:cubicBezTo>
                    <a:cubicBezTo>
                      <a:pt x="30" y="28"/>
                      <a:pt x="29" y="29"/>
                      <a:pt x="30" y="31"/>
                    </a:cubicBezTo>
                    <a:cubicBezTo>
                      <a:pt x="30" y="32"/>
                      <a:pt x="29" y="34"/>
                      <a:pt x="30" y="35"/>
                    </a:cubicBezTo>
                    <a:cubicBezTo>
                      <a:pt x="35" y="39"/>
                      <a:pt x="30" y="39"/>
                      <a:pt x="29" y="37"/>
                    </a:cubicBezTo>
                    <a:cubicBezTo>
                      <a:pt x="29" y="34"/>
                      <a:pt x="26" y="39"/>
                      <a:pt x="24" y="37"/>
                    </a:cubicBezTo>
                    <a:cubicBezTo>
                      <a:pt x="24" y="35"/>
                      <a:pt x="23" y="39"/>
                      <a:pt x="23" y="39"/>
                    </a:cubicBezTo>
                    <a:cubicBezTo>
                      <a:pt x="24" y="42"/>
                      <a:pt x="20" y="40"/>
                      <a:pt x="18" y="42"/>
                    </a:cubicBezTo>
                    <a:cubicBezTo>
                      <a:pt x="17" y="40"/>
                      <a:pt x="15" y="42"/>
                      <a:pt x="14" y="40"/>
                    </a:cubicBezTo>
                    <a:cubicBezTo>
                      <a:pt x="14" y="39"/>
                      <a:pt x="14" y="42"/>
                      <a:pt x="12" y="40"/>
                    </a:cubicBezTo>
                    <a:cubicBezTo>
                      <a:pt x="9" y="39"/>
                      <a:pt x="14" y="39"/>
                      <a:pt x="12" y="35"/>
                    </a:cubicBezTo>
                    <a:cubicBezTo>
                      <a:pt x="9" y="32"/>
                      <a:pt x="11" y="37"/>
                      <a:pt x="11" y="37"/>
                    </a:cubicBezTo>
                    <a:cubicBezTo>
                      <a:pt x="9" y="37"/>
                      <a:pt x="8" y="40"/>
                      <a:pt x="8" y="35"/>
                    </a:cubicBezTo>
                    <a:cubicBezTo>
                      <a:pt x="8" y="32"/>
                      <a:pt x="9" y="34"/>
                      <a:pt x="6" y="29"/>
                    </a:cubicBezTo>
                    <a:cubicBezTo>
                      <a:pt x="3" y="25"/>
                      <a:pt x="6" y="23"/>
                      <a:pt x="5" y="21"/>
                    </a:cubicBezTo>
                    <a:cubicBezTo>
                      <a:pt x="2" y="20"/>
                      <a:pt x="5" y="18"/>
                      <a:pt x="2" y="14"/>
                    </a:cubicBezTo>
                    <a:cubicBezTo>
                      <a:pt x="0" y="9"/>
                      <a:pt x="3" y="12"/>
                      <a:pt x="3" y="11"/>
                    </a:cubicBezTo>
                    <a:cubicBezTo>
                      <a:pt x="3" y="9"/>
                      <a:pt x="5" y="11"/>
                      <a:pt x="6" y="6"/>
                    </a:cubicBezTo>
                    <a:cubicBezTo>
                      <a:pt x="8" y="1"/>
                      <a:pt x="15" y="3"/>
                      <a:pt x="20" y="3"/>
                    </a:cubicBezTo>
                    <a:cubicBezTo>
                      <a:pt x="24" y="1"/>
                      <a:pt x="23" y="4"/>
                      <a:pt x="24" y="3"/>
                    </a:cubicBezTo>
                    <a:cubicBezTo>
                      <a:pt x="26" y="7"/>
                      <a:pt x="27" y="3"/>
                      <a:pt x="29" y="6"/>
                    </a:cubicBezTo>
                    <a:cubicBezTo>
                      <a:pt x="30" y="9"/>
                      <a:pt x="33" y="7"/>
                      <a:pt x="32" y="4"/>
                    </a:cubicBezTo>
                    <a:cubicBezTo>
                      <a:pt x="29" y="1"/>
                      <a:pt x="33" y="3"/>
                      <a:pt x="35" y="1"/>
                    </a:cubicBezTo>
                    <a:cubicBezTo>
                      <a:pt x="36" y="0"/>
                      <a:pt x="36" y="4"/>
                      <a:pt x="38" y="3"/>
                    </a:cubicBezTo>
                    <a:cubicBezTo>
                      <a:pt x="39" y="3"/>
                      <a:pt x="41" y="0"/>
                      <a:pt x="41" y="1"/>
                    </a:cubicBezTo>
                    <a:cubicBezTo>
                      <a:pt x="42" y="1"/>
                      <a:pt x="42" y="0"/>
                      <a:pt x="42" y="0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83" name="Freeform 77"/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4984485" y="3027536"/>
                <a:ext cx="376631" cy="385980"/>
              </a:xfrm>
              <a:custGeom>
                <a:avLst/>
                <a:gdLst/>
                <a:ahLst/>
                <a:cxnLst>
                  <a:cxn ang="0">
                    <a:pos x="125" y="141"/>
                  </a:cxn>
                  <a:cxn ang="0">
                    <a:pos x="107" y="151"/>
                  </a:cxn>
                  <a:cxn ang="0">
                    <a:pos x="92" y="162"/>
                  </a:cxn>
                  <a:cxn ang="0">
                    <a:pos x="75" y="153"/>
                  </a:cxn>
                  <a:cxn ang="0">
                    <a:pos x="74" y="153"/>
                  </a:cxn>
                  <a:cxn ang="0">
                    <a:pos x="72" y="153"/>
                  </a:cxn>
                  <a:cxn ang="0">
                    <a:pos x="68" y="153"/>
                  </a:cxn>
                  <a:cxn ang="0">
                    <a:pos x="68" y="158"/>
                  </a:cxn>
                  <a:cxn ang="0">
                    <a:pos x="65" y="162"/>
                  </a:cxn>
                  <a:cxn ang="0">
                    <a:pos x="54" y="144"/>
                  </a:cxn>
                  <a:cxn ang="0">
                    <a:pos x="50" y="133"/>
                  </a:cxn>
                  <a:cxn ang="0">
                    <a:pos x="36" y="117"/>
                  </a:cxn>
                  <a:cxn ang="0">
                    <a:pos x="34" y="100"/>
                  </a:cxn>
                  <a:cxn ang="0">
                    <a:pos x="21" y="77"/>
                  </a:cxn>
                  <a:cxn ang="0">
                    <a:pos x="15" y="64"/>
                  </a:cxn>
                  <a:cxn ang="0">
                    <a:pos x="1" y="41"/>
                  </a:cxn>
                  <a:cxn ang="0">
                    <a:pos x="12" y="32"/>
                  </a:cxn>
                  <a:cxn ang="0">
                    <a:pos x="24" y="24"/>
                  </a:cxn>
                  <a:cxn ang="0">
                    <a:pos x="27" y="18"/>
                  </a:cxn>
                  <a:cxn ang="0">
                    <a:pos x="24" y="7"/>
                  </a:cxn>
                  <a:cxn ang="0">
                    <a:pos x="47" y="4"/>
                  </a:cxn>
                  <a:cxn ang="0">
                    <a:pos x="59" y="11"/>
                  </a:cxn>
                  <a:cxn ang="0">
                    <a:pos x="80" y="32"/>
                  </a:cxn>
                  <a:cxn ang="0">
                    <a:pos x="101" y="35"/>
                  </a:cxn>
                  <a:cxn ang="0">
                    <a:pos x="109" y="39"/>
                  </a:cxn>
                  <a:cxn ang="0">
                    <a:pos x="116" y="50"/>
                  </a:cxn>
                  <a:cxn ang="0">
                    <a:pos x="122" y="60"/>
                  </a:cxn>
                  <a:cxn ang="0">
                    <a:pos x="124" y="71"/>
                  </a:cxn>
                  <a:cxn ang="0">
                    <a:pos x="130" y="80"/>
                  </a:cxn>
                  <a:cxn ang="0">
                    <a:pos x="136" y="92"/>
                  </a:cxn>
                  <a:cxn ang="0">
                    <a:pos x="163" y="99"/>
                  </a:cxn>
                  <a:cxn ang="0">
                    <a:pos x="165" y="113"/>
                  </a:cxn>
                  <a:cxn ang="0">
                    <a:pos x="150" y="131"/>
                  </a:cxn>
                </a:cxnLst>
                <a:rect l="0" t="0" r="r" b="b"/>
                <a:pathLst>
                  <a:path w="166" h="170">
                    <a:moveTo>
                      <a:pt x="138" y="136"/>
                    </a:moveTo>
                    <a:cubicBezTo>
                      <a:pt x="133" y="137"/>
                      <a:pt x="130" y="139"/>
                      <a:pt x="125" y="141"/>
                    </a:cubicBezTo>
                    <a:cubicBezTo>
                      <a:pt x="122" y="141"/>
                      <a:pt x="115" y="142"/>
                      <a:pt x="112" y="144"/>
                    </a:cubicBezTo>
                    <a:cubicBezTo>
                      <a:pt x="110" y="145"/>
                      <a:pt x="107" y="150"/>
                      <a:pt x="107" y="151"/>
                    </a:cubicBezTo>
                    <a:cubicBezTo>
                      <a:pt x="103" y="158"/>
                      <a:pt x="97" y="164"/>
                      <a:pt x="92" y="170"/>
                    </a:cubicBezTo>
                    <a:cubicBezTo>
                      <a:pt x="92" y="167"/>
                      <a:pt x="92" y="164"/>
                      <a:pt x="92" y="162"/>
                    </a:cubicBezTo>
                    <a:cubicBezTo>
                      <a:pt x="92" y="161"/>
                      <a:pt x="92" y="159"/>
                      <a:pt x="92" y="159"/>
                    </a:cubicBezTo>
                    <a:cubicBezTo>
                      <a:pt x="92" y="159"/>
                      <a:pt x="77" y="151"/>
                      <a:pt x="75" y="153"/>
                    </a:cubicBezTo>
                    <a:cubicBezTo>
                      <a:pt x="75" y="153"/>
                      <a:pt x="75" y="153"/>
                      <a:pt x="74" y="153"/>
                    </a:cubicBezTo>
                    <a:cubicBezTo>
                      <a:pt x="74" y="153"/>
                      <a:pt x="74" y="153"/>
                      <a:pt x="74" y="153"/>
                    </a:cubicBezTo>
                    <a:cubicBezTo>
                      <a:pt x="74" y="153"/>
                      <a:pt x="74" y="153"/>
                      <a:pt x="74" y="153"/>
                    </a:cubicBezTo>
                    <a:cubicBezTo>
                      <a:pt x="72" y="153"/>
                      <a:pt x="72" y="153"/>
                      <a:pt x="72" y="153"/>
                    </a:cubicBezTo>
                    <a:cubicBezTo>
                      <a:pt x="72" y="153"/>
                      <a:pt x="71" y="151"/>
                      <a:pt x="69" y="151"/>
                    </a:cubicBezTo>
                    <a:cubicBezTo>
                      <a:pt x="68" y="153"/>
                      <a:pt x="68" y="153"/>
                      <a:pt x="68" y="153"/>
                    </a:cubicBezTo>
                    <a:cubicBezTo>
                      <a:pt x="68" y="153"/>
                      <a:pt x="69" y="153"/>
                      <a:pt x="68" y="153"/>
                    </a:cubicBezTo>
                    <a:cubicBezTo>
                      <a:pt x="68" y="155"/>
                      <a:pt x="68" y="156"/>
                      <a:pt x="68" y="158"/>
                    </a:cubicBezTo>
                    <a:cubicBezTo>
                      <a:pt x="68" y="158"/>
                      <a:pt x="68" y="158"/>
                      <a:pt x="68" y="159"/>
                    </a:cubicBezTo>
                    <a:cubicBezTo>
                      <a:pt x="68" y="159"/>
                      <a:pt x="66" y="161"/>
                      <a:pt x="65" y="162"/>
                    </a:cubicBezTo>
                    <a:cubicBezTo>
                      <a:pt x="62" y="151"/>
                      <a:pt x="62" y="159"/>
                      <a:pt x="60" y="155"/>
                    </a:cubicBezTo>
                    <a:cubicBezTo>
                      <a:pt x="60" y="150"/>
                      <a:pt x="54" y="147"/>
                      <a:pt x="54" y="144"/>
                    </a:cubicBezTo>
                    <a:cubicBezTo>
                      <a:pt x="54" y="141"/>
                      <a:pt x="53" y="141"/>
                      <a:pt x="53" y="137"/>
                    </a:cubicBezTo>
                    <a:cubicBezTo>
                      <a:pt x="53" y="134"/>
                      <a:pt x="51" y="136"/>
                      <a:pt x="50" y="133"/>
                    </a:cubicBezTo>
                    <a:cubicBezTo>
                      <a:pt x="48" y="130"/>
                      <a:pt x="47" y="125"/>
                      <a:pt x="44" y="123"/>
                    </a:cubicBezTo>
                    <a:cubicBezTo>
                      <a:pt x="39" y="123"/>
                      <a:pt x="40" y="122"/>
                      <a:pt x="36" y="117"/>
                    </a:cubicBezTo>
                    <a:cubicBezTo>
                      <a:pt x="33" y="111"/>
                      <a:pt x="37" y="114"/>
                      <a:pt x="34" y="109"/>
                    </a:cubicBezTo>
                    <a:cubicBezTo>
                      <a:pt x="33" y="105"/>
                      <a:pt x="37" y="106"/>
                      <a:pt x="34" y="100"/>
                    </a:cubicBezTo>
                    <a:cubicBezTo>
                      <a:pt x="33" y="95"/>
                      <a:pt x="30" y="85"/>
                      <a:pt x="27" y="85"/>
                    </a:cubicBezTo>
                    <a:cubicBezTo>
                      <a:pt x="22" y="83"/>
                      <a:pt x="19" y="78"/>
                      <a:pt x="21" y="77"/>
                    </a:cubicBezTo>
                    <a:cubicBezTo>
                      <a:pt x="22" y="74"/>
                      <a:pt x="21" y="71"/>
                      <a:pt x="18" y="69"/>
                    </a:cubicBezTo>
                    <a:cubicBezTo>
                      <a:pt x="16" y="66"/>
                      <a:pt x="18" y="66"/>
                      <a:pt x="15" y="64"/>
                    </a:cubicBezTo>
                    <a:cubicBezTo>
                      <a:pt x="12" y="60"/>
                      <a:pt x="7" y="44"/>
                      <a:pt x="4" y="44"/>
                    </a:cubicBezTo>
                    <a:cubicBezTo>
                      <a:pt x="0" y="43"/>
                      <a:pt x="0" y="47"/>
                      <a:pt x="1" y="41"/>
                    </a:cubicBezTo>
                    <a:cubicBezTo>
                      <a:pt x="3" y="36"/>
                      <a:pt x="1" y="39"/>
                      <a:pt x="3" y="30"/>
                    </a:cubicBezTo>
                    <a:cubicBezTo>
                      <a:pt x="4" y="30"/>
                      <a:pt x="10" y="32"/>
                      <a:pt x="12" y="32"/>
                    </a:cubicBezTo>
                    <a:cubicBezTo>
                      <a:pt x="15" y="32"/>
                      <a:pt x="15" y="27"/>
                      <a:pt x="18" y="25"/>
                    </a:cubicBezTo>
                    <a:cubicBezTo>
                      <a:pt x="18" y="24"/>
                      <a:pt x="22" y="25"/>
                      <a:pt x="24" y="24"/>
                    </a:cubicBezTo>
                    <a:cubicBezTo>
                      <a:pt x="24" y="22"/>
                      <a:pt x="24" y="21"/>
                      <a:pt x="24" y="21"/>
                    </a:cubicBezTo>
                    <a:cubicBezTo>
                      <a:pt x="25" y="19"/>
                      <a:pt x="27" y="19"/>
                      <a:pt x="27" y="18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7"/>
                      <a:pt x="22" y="7"/>
                      <a:pt x="24" y="7"/>
                    </a:cubicBezTo>
                    <a:cubicBezTo>
                      <a:pt x="25" y="5"/>
                      <a:pt x="34" y="4"/>
                      <a:pt x="36" y="0"/>
                    </a:cubicBezTo>
                    <a:cubicBezTo>
                      <a:pt x="39" y="2"/>
                      <a:pt x="44" y="2"/>
                      <a:pt x="47" y="4"/>
                    </a:cubicBezTo>
                    <a:cubicBezTo>
                      <a:pt x="50" y="4"/>
                      <a:pt x="51" y="7"/>
                      <a:pt x="54" y="10"/>
                    </a:cubicBezTo>
                    <a:cubicBezTo>
                      <a:pt x="56" y="10"/>
                      <a:pt x="57" y="11"/>
                      <a:pt x="59" y="11"/>
                    </a:cubicBezTo>
                    <a:cubicBezTo>
                      <a:pt x="62" y="15"/>
                      <a:pt x="65" y="16"/>
                      <a:pt x="66" y="19"/>
                    </a:cubicBezTo>
                    <a:cubicBezTo>
                      <a:pt x="69" y="21"/>
                      <a:pt x="78" y="32"/>
                      <a:pt x="80" y="32"/>
                    </a:cubicBezTo>
                    <a:cubicBezTo>
                      <a:pt x="81" y="33"/>
                      <a:pt x="94" y="33"/>
                      <a:pt x="95" y="33"/>
                    </a:cubicBezTo>
                    <a:cubicBezTo>
                      <a:pt x="95" y="33"/>
                      <a:pt x="101" y="33"/>
                      <a:pt x="101" y="35"/>
                    </a:cubicBezTo>
                    <a:cubicBezTo>
                      <a:pt x="103" y="35"/>
                      <a:pt x="103" y="38"/>
                      <a:pt x="103" y="38"/>
                    </a:cubicBezTo>
                    <a:cubicBezTo>
                      <a:pt x="104" y="39"/>
                      <a:pt x="109" y="39"/>
                      <a:pt x="109" y="39"/>
                    </a:cubicBezTo>
                    <a:cubicBezTo>
                      <a:pt x="112" y="44"/>
                      <a:pt x="113" y="46"/>
                      <a:pt x="113" y="47"/>
                    </a:cubicBezTo>
                    <a:cubicBezTo>
                      <a:pt x="113" y="49"/>
                      <a:pt x="116" y="47"/>
                      <a:pt x="116" y="50"/>
                    </a:cubicBezTo>
                    <a:cubicBezTo>
                      <a:pt x="116" y="53"/>
                      <a:pt x="122" y="57"/>
                      <a:pt x="122" y="58"/>
                    </a:cubicBezTo>
                    <a:cubicBezTo>
                      <a:pt x="124" y="60"/>
                      <a:pt x="121" y="57"/>
                      <a:pt x="122" y="60"/>
                    </a:cubicBezTo>
                    <a:cubicBezTo>
                      <a:pt x="124" y="63"/>
                      <a:pt x="121" y="64"/>
                      <a:pt x="122" y="67"/>
                    </a:cubicBezTo>
                    <a:cubicBezTo>
                      <a:pt x="124" y="69"/>
                      <a:pt x="122" y="69"/>
                      <a:pt x="124" y="71"/>
                    </a:cubicBezTo>
                    <a:cubicBezTo>
                      <a:pt x="127" y="72"/>
                      <a:pt x="125" y="75"/>
                      <a:pt x="128" y="78"/>
                    </a:cubicBezTo>
                    <a:cubicBezTo>
                      <a:pt x="128" y="80"/>
                      <a:pt x="130" y="80"/>
                      <a:pt x="130" y="80"/>
                    </a:cubicBezTo>
                    <a:cubicBezTo>
                      <a:pt x="130" y="83"/>
                      <a:pt x="130" y="83"/>
                      <a:pt x="133" y="85"/>
                    </a:cubicBezTo>
                    <a:cubicBezTo>
                      <a:pt x="136" y="88"/>
                      <a:pt x="136" y="88"/>
                      <a:pt x="136" y="92"/>
                    </a:cubicBezTo>
                    <a:cubicBezTo>
                      <a:pt x="138" y="95"/>
                      <a:pt x="136" y="95"/>
                      <a:pt x="145" y="97"/>
                    </a:cubicBezTo>
                    <a:cubicBezTo>
                      <a:pt x="154" y="99"/>
                      <a:pt x="162" y="103"/>
                      <a:pt x="163" y="99"/>
                    </a:cubicBezTo>
                    <a:cubicBezTo>
                      <a:pt x="163" y="100"/>
                      <a:pt x="166" y="105"/>
                      <a:pt x="166" y="106"/>
                    </a:cubicBezTo>
                    <a:cubicBezTo>
                      <a:pt x="166" y="108"/>
                      <a:pt x="165" y="111"/>
                      <a:pt x="165" y="113"/>
                    </a:cubicBezTo>
                    <a:cubicBezTo>
                      <a:pt x="165" y="114"/>
                      <a:pt x="162" y="125"/>
                      <a:pt x="162" y="127"/>
                    </a:cubicBezTo>
                    <a:cubicBezTo>
                      <a:pt x="160" y="128"/>
                      <a:pt x="153" y="130"/>
                      <a:pt x="150" y="131"/>
                    </a:cubicBezTo>
                    <a:cubicBezTo>
                      <a:pt x="145" y="133"/>
                      <a:pt x="142" y="134"/>
                      <a:pt x="138" y="136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84" name="Freeform 78"/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auto">
              <a:xfrm>
                <a:off x="5057004" y="2902385"/>
                <a:ext cx="176619" cy="202347"/>
              </a:xfrm>
              <a:custGeom>
                <a:avLst/>
                <a:gdLst/>
                <a:ahLst/>
                <a:cxnLst>
                  <a:cxn ang="0">
                    <a:pos x="48" y="3"/>
                  </a:cxn>
                  <a:cxn ang="0">
                    <a:pos x="52" y="14"/>
                  </a:cxn>
                  <a:cxn ang="0">
                    <a:pos x="61" y="17"/>
                  </a:cxn>
                  <a:cxn ang="0">
                    <a:pos x="58" y="22"/>
                  </a:cxn>
                  <a:cxn ang="0">
                    <a:pos x="54" y="34"/>
                  </a:cxn>
                  <a:cxn ang="0">
                    <a:pos x="60" y="45"/>
                  </a:cxn>
                  <a:cxn ang="0">
                    <a:pos x="70" y="56"/>
                  </a:cxn>
                  <a:cxn ang="0">
                    <a:pos x="72" y="68"/>
                  </a:cxn>
                  <a:cxn ang="0">
                    <a:pos x="75" y="75"/>
                  </a:cxn>
                  <a:cxn ang="0">
                    <a:pos x="78" y="79"/>
                  </a:cxn>
                  <a:cxn ang="0">
                    <a:pos x="73" y="79"/>
                  </a:cxn>
                  <a:cxn ang="0">
                    <a:pos x="67" y="79"/>
                  </a:cxn>
                  <a:cxn ang="0">
                    <a:pos x="63" y="89"/>
                  </a:cxn>
                  <a:cxn ang="0">
                    <a:pos x="48" y="87"/>
                  </a:cxn>
                  <a:cxn ang="0">
                    <a:pos x="34" y="75"/>
                  </a:cxn>
                  <a:cxn ang="0">
                    <a:pos x="26" y="67"/>
                  </a:cxn>
                  <a:cxn ang="0">
                    <a:pos x="22" y="65"/>
                  </a:cxn>
                  <a:cxn ang="0">
                    <a:pos x="14" y="59"/>
                  </a:cxn>
                  <a:cxn ang="0">
                    <a:pos x="3" y="56"/>
                  </a:cxn>
                  <a:cxn ang="0">
                    <a:pos x="5" y="56"/>
                  </a:cxn>
                  <a:cxn ang="0">
                    <a:pos x="2" y="54"/>
                  </a:cxn>
                  <a:cxn ang="0">
                    <a:pos x="2" y="53"/>
                  </a:cxn>
                  <a:cxn ang="0">
                    <a:pos x="3" y="53"/>
                  </a:cxn>
                  <a:cxn ang="0">
                    <a:pos x="3" y="51"/>
                  </a:cxn>
                  <a:cxn ang="0">
                    <a:pos x="0" y="43"/>
                  </a:cxn>
                  <a:cxn ang="0">
                    <a:pos x="11" y="37"/>
                  </a:cxn>
                  <a:cxn ang="0">
                    <a:pos x="19" y="33"/>
                  </a:cxn>
                  <a:cxn ang="0">
                    <a:pos x="20" y="28"/>
                  </a:cxn>
                  <a:cxn ang="0">
                    <a:pos x="20" y="28"/>
                  </a:cxn>
                  <a:cxn ang="0">
                    <a:pos x="20" y="26"/>
                  </a:cxn>
                  <a:cxn ang="0">
                    <a:pos x="20" y="23"/>
                  </a:cxn>
                  <a:cxn ang="0">
                    <a:pos x="22" y="17"/>
                  </a:cxn>
                  <a:cxn ang="0">
                    <a:pos x="20" y="11"/>
                  </a:cxn>
                  <a:cxn ang="0">
                    <a:pos x="25" y="9"/>
                  </a:cxn>
                  <a:cxn ang="0">
                    <a:pos x="29" y="3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34" y="2"/>
                  </a:cxn>
                  <a:cxn ang="0">
                    <a:pos x="34" y="0"/>
                  </a:cxn>
                  <a:cxn ang="0">
                    <a:pos x="35" y="0"/>
                  </a:cxn>
                  <a:cxn ang="0">
                    <a:pos x="38" y="2"/>
                  </a:cxn>
                  <a:cxn ang="0">
                    <a:pos x="43" y="2"/>
                  </a:cxn>
                  <a:cxn ang="0">
                    <a:pos x="44" y="5"/>
                  </a:cxn>
                  <a:cxn ang="0">
                    <a:pos x="46" y="3"/>
                  </a:cxn>
                  <a:cxn ang="0">
                    <a:pos x="48" y="3"/>
                  </a:cxn>
                </a:cxnLst>
                <a:rect l="0" t="0" r="r" b="b"/>
                <a:pathLst>
                  <a:path w="78" h="89">
                    <a:moveTo>
                      <a:pt x="48" y="3"/>
                    </a:moveTo>
                    <a:cubicBezTo>
                      <a:pt x="49" y="8"/>
                      <a:pt x="52" y="11"/>
                      <a:pt x="52" y="14"/>
                    </a:cubicBezTo>
                    <a:cubicBezTo>
                      <a:pt x="52" y="17"/>
                      <a:pt x="60" y="16"/>
                      <a:pt x="61" y="17"/>
                    </a:cubicBezTo>
                    <a:cubicBezTo>
                      <a:pt x="61" y="19"/>
                      <a:pt x="57" y="17"/>
                      <a:pt x="58" y="22"/>
                    </a:cubicBezTo>
                    <a:cubicBezTo>
                      <a:pt x="61" y="26"/>
                      <a:pt x="54" y="28"/>
                      <a:pt x="54" y="34"/>
                    </a:cubicBezTo>
                    <a:cubicBezTo>
                      <a:pt x="52" y="40"/>
                      <a:pt x="58" y="39"/>
                      <a:pt x="60" y="45"/>
                    </a:cubicBezTo>
                    <a:cubicBezTo>
                      <a:pt x="60" y="50"/>
                      <a:pt x="67" y="51"/>
                      <a:pt x="70" y="56"/>
                    </a:cubicBezTo>
                    <a:cubicBezTo>
                      <a:pt x="73" y="62"/>
                      <a:pt x="70" y="65"/>
                      <a:pt x="72" y="68"/>
                    </a:cubicBezTo>
                    <a:cubicBezTo>
                      <a:pt x="73" y="71"/>
                      <a:pt x="73" y="75"/>
                      <a:pt x="75" y="75"/>
                    </a:cubicBezTo>
                    <a:cubicBezTo>
                      <a:pt x="76" y="76"/>
                      <a:pt x="78" y="76"/>
                      <a:pt x="78" y="79"/>
                    </a:cubicBezTo>
                    <a:cubicBezTo>
                      <a:pt x="76" y="81"/>
                      <a:pt x="72" y="76"/>
                      <a:pt x="73" y="79"/>
                    </a:cubicBezTo>
                    <a:cubicBezTo>
                      <a:pt x="72" y="79"/>
                      <a:pt x="69" y="78"/>
                      <a:pt x="67" y="79"/>
                    </a:cubicBezTo>
                    <a:cubicBezTo>
                      <a:pt x="66" y="81"/>
                      <a:pt x="64" y="87"/>
                      <a:pt x="63" y="89"/>
                    </a:cubicBezTo>
                    <a:cubicBezTo>
                      <a:pt x="61" y="89"/>
                      <a:pt x="49" y="89"/>
                      <a:pt x="48" y="87"/>
                    </a:cubicBezTo>
                    <a:cubicBezTo>
                      <a:pt x="46" y="87"/>
                      <a:pt x="37" y="76"/>
                      <a:pt x="34" y="75"/>
                    </a:cubicBezTo>
                    <a:cubicBezTo>
                      <a:pt x="32" y="71"/>
                      <a:pt x="29" y="70"/>
                      <a:pt x="26" y="67"/>
                    </a:cubicBezTo>
                    <a:cubicBezTo>
                      <a:pt x="25" y="67"/>
                      <a:pt x="23" y="65"/>
                      <a:pt x="22" y="65"/>
                    </a:cubicBezTo>
                    <a:cubicBezTo>
                      <a:pt x="19" y="62"/>
                      <a:pt x="17" y="59"/>
                      <a:pt x="14" y="59"/>
                    </a:cubicBezTo>
                    <a:cubicBezTo>
                      <a:pt x="11" y="57"/>
                      <a:pt x="7" y="57"/>
                      <a:pt x="3" y="56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5" y="53"/>
                      <a:pt x="3" y="54"/>
                      <a:pt x="2" y="54"/>
                    </a:cubicBezTo>
                    <a:cubicBezTo>
                      <a:pt x="2" y="53"/>
                      <a:pt x="2" y="53"/>
                      <a:pt x="2" y="53"/>
                    </a:cubicBezTo>
                    <a:cubicBezTo>
                      <a:pt x="3" y="53"/>
                      <a:pt x="3" y="53"/>
                      <a:pt x="3" y="53"/>
                    </a:cubicBezTo>
                    <a:cubicBezTo>
                      <a:pt x="3" y="53"/>
                      <a:pt x="3" y="53"/>
                      <a:pt x="3" y="51"/>
                    </a:cubicBezTo>
                    <a:cubicBezTo>
                      <a:pt x="2" y="50"/>
                      <a:pt x="2" y="47"/>
                      <a:pt x="0" y="43"/>
                    </a:cubicBezTo>
                    <a:cubicBezTo>
                      <a:pt x="3" y="40"/>
                      <a:pt x="8" y="39"/>
                      <a:pt x="11" y="37"/>
                    </a:cubicBezTo>
                    <a:cubicBezTo>
                      <a:pt x="13" y="36"/>
                      <a:pt x="16" y="34"/>
                      <a:pt x="19" y="33"/>
                    </a:cubicBezTo>
                    <a:cubicBezTo>
                      <a:pt x="19" y="31"/>
                      <a:pt x="20" y="30"/>
                      <a:pt x="20" y="28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28"/>
                      <a:pt x="20" y="28"/>
                      <a:pt x="20" y="26"/>
                    </a:cubicBezTo>
                    <a:cubicBezTo>
                      <a:pt x="20" y="26"/>
                      <a:pt x="20" y="25"/>
                      <a:pt x="20" y="23"/>
                    </a:cubicBezTo>
                    <a:cubicBezTo>
                      <a:pt x="20" y="22"/>
                      <a:pt x="22" y="19"/>
                      <a:pt x="22" y="17"/>
                    </a:cubicBezTo>
                    <a:cubicBezTo>
                      <a:pt x="20" y="16"/>
                      <a:pt x="20" y="14"/>
                      <a:pt x="20" y="11"/>
                    </a:cubicBezTo>
                    <a:cubicBezTo>
                      <a:pt x="22" y="9"/>
                      <a:pt x="23" y="9"/>
                      <a:pt x="25" y="9"/>
                    </a:cubicBezTo>
                    <a:cubicBezTo>
                      <a:pt x="26" y="8"/>
                      <a:pt x="28" y="5"/>
                      <a:pt x="29" y="3"/>
                    </a:cubicBezTo>
                    <a:cubicBezTo>
                      <a:pt x="31" y="3"/>
                      <a:pt x="31" y="2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34" y="0"/>
                      <a:pt x="34" y="2"/>
                      <a:pt x="34" y="2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37" y="0"/>
                      <a:pt x="37" y="2"/>
                      <a:pt x="38" y="2"/>
                    </a:cubicBezTo>
                    <a:cubicBezTo>
                      <a:pt x="41" y="3"/>
                      <a:pt x="41" y="0"/>
                      <a:pt x="43" y="2"/>
                    </a:cubicBezTo>
                    <a:cubicBezTo>
                      <a:pt x="44" y="2"/>
                      <a:pt x="43" y="3"/>
                      <a:pt x="44" y="5"/>
                    </a:cubicBezTo>
                    <a:cubicBezTo>
                      <a:pt x="46" y="3"/>
                      <a:pt x="46" y="3"/>
                      <a:pt x="46" y="3"/>
                    </a:cubicBezTo>
                    <a:cubicBezTo>
                      <a:pt x="48" y="3"/>
                      <a:pt x="48" y="3"/>
                      <a:pt x="48" y="3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85" name="Freeform 79"/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5199702" y="3080170"/>
                <a:ext cx="31581" cy="38598"/>
              </a:xfrm>
              <a:custGeom>
                <a:avLst/>
                <a:gdLst/>
                <a:ahLst/>
                <a:cxnLst>
                  <a:cxn ang="0">
                    <a:pos x="14" y="17"/>
                  </a:cxn>
                  <a:cxn ang="0">
                    <a:pos x="8" y="15"/>
                  </a:cxn>
                  <a:cxn ang="0">
                    <a:pos x="6" y="12"/>
                  </a:cxn>
                  <a:cxn ang="0">
                    <a:pos x="0" y="10"/>
                  </a:cxn>
                  <a:cxn ang="0">
                    <a:pos x="5" y="1"/>
                  </a:cxn>
                  <a:cxn ang="0">
                    <a:pos x="11" y="1"/>
                  </a:cxn>
                  <a:cxn ang="0">
                    <a:pos x="9" y="6"/>
                  </a:cxn>
                  <a:cxn ang="0">
                    <a:pos x="12" y="9"/>
                  </a:cxn>
                  <a:cxn ang="0">
                    <a:pos x="14" y="17"/>
                  </a:cxn>
                </a:cxnLst>
                <a:rect l="0" t="0" r="r" b="b"/>
                <a:pathLst>
                  <a:path w="14" h="17">
                    <a:moveTo>
                      <a:pt x="14" y="17"/>
                    </a:moveTo>
                    <a:cubicBezTo>
                      <a:pt x="14" y="17"/>
                      <a:pt x="9" y="17"/>
                      <a:pt x="8" y="15"/>
                    </a:cubicBezTo>
                    <a:cubicBezTo>
                      <a:pt x="8" y="15"/>
                      <a:pt x="8" y="12"/>
                      <a:pt x="6" y="12"/>
                    </a:cubicBezTo>
                    <a:cubicBezTo>
                      <a:pt x="6" y="10"/>
                      <a:pt x="0" y="10"/>
                      <a:pt x="0" y="10"/>
                    </a:cubicBezTo>
                    <a:cubicBezTo>
                      <a:pt x="1" y="9"/>
                      <a:pt x="3" y="3"/>
                      <a:pt x="5" y="1"/>
                    </a:cubicBezTo>
                    <a:cubicBezTo>
                      <a:pt x="6" y="0"/>
                      <a:pt x="9" y="1"/>
                      <a:pt x="11" y="1"/>
                    </a:cubicBezTo>
                    <a:cubicBezTo>
                      <a:pt x="14" y="9"/>
                      <a:pt x="11" y="3"/>
                      <a:pt x="9" y="6"/>
                    </a:cubicBezTo>
                    <a:cubicBezTo>
                      <a:pt x="8" y="9"/>
                      <a:pt x="12" y="6"/>
                      <a:pt x="12" y="9"/>
                    </a:cubicBezTo>
                    <a:cubicBezTo>
                      <a:pt x="12" y="13"/>
                      <a:pt x="14" y="10"/>
                      <a:pt x="14" y="17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86" name="Freeform 80"/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auto">
              <a:xfrm>
                <a:off x="5293275" y="3194794"/>
                <a:ext cx="145038" cy="195329"/>
              </a:xfrm>
              <a:custGeom>
                <a:avLst/>
                <a:gdLst/>
                <a:ahLst/>
                <a:cxnLst>
                  <a:cxn ang="0">
                    <a:pos x="1" y="62"/>
                  </a:cxn>
                  <a:cxn ang="0">
                    <a:pos x="0" y="67"/>
                  </a:cxn>
                  <a:cxn ang="0">
                    <a:pos x="6" y="78"/>
                  </a:cxn>
                  <a:cxn ang="0">
                    <a:pos x="8" y="82"/>
                  </a:cxn>
                  <a:cxn ang="0">
                    <a:pos x="11" y="86"/>
                  </a:cxn>
                  <a:cxn ang="0">
                    <a:pos x="14" y="86"/>
                  </a:cxn>
                  <a:cxn ang="0">
                    <a:pos x="23" y="82"/>
                  </a:cxn>
                  <a:cxn ang="0">
                    <a:pos x="32" y="73"/>
                  </a:cxn>
                  <a:cxn ang="0">
                    <a:pos x="44" y="64"/>
                  </a:cxn>
                  <a:cxn ang="0">
                    <a:pos x="47" y="51"/>
                  </a:cxn>
                  <a:cxn ang="0">
                    <a:pos x="54" y="45"/>
                  </a:cxn>
                  <a:cxn ang="0">
                    <a:pos x="63" y="34"/>
                  </a:cxn>
                  <a:cxn ang="0">
                    <a:pos x="61" y="26"/>
                  </a:cxn>
                  <a:cxn ang="0">
                    <a:pos x="54" y="15"/>
                  </a:cxn>
                  <a:cxn ang="0">
                    <a:pos x="46" y="14"/>
                  </a:cxn>
                  <a:cxn ang="0">
                    <a:pos x="37" y="1"/>
                  </a:cxn>
                  <a:cxn ang="0">
                    <a:pos x="34" y="3"/>
                  </a:cxn>
                  <a:cxn ang="0">
                    <a:pos x="32" y="6"/>
                  </a:cxn>
                  <a:cxn ang="0">
                    <a:pos x="32" y="9"/>
                  </a:cxn>
                  <a:cxn ang="0">
                    <a:pos x="32" y="11"/>
                  </a:cxn>
                  <a:cxn ang="0">
                    <a:pos x="29" y="12"/>
                  </a:cxn>
                  <a:cxn ang="0">
                    <a:pos x="29" y="17"/>
                  </a:cxn>
                  <a:cxn ang="0">
                    <a:pos x="28" y="25"/>
                  </a:cxn>
                  <a:cxn ang="0">
                    <a:pos x="31" y="32"/>
                  </a:cxn>
                  <a:cxn ang="0">
                    <a:pos x="29" y="39"/>
                  </a:cxn>
                  <a:cxn ang="0">
                    <a:pos x="26" y="53"/>
                  </a:cxn>
                  <a:cxn ang="0">
                    <a:pos x="14" y="57"/>
                  </a:cxn>
                  <a:cxn ang="0">
                    <a:pos x="1" y="62"/>
                  </a:cxn>
                </a:cxnLst>
                <a:rect l="0" t="0" r="r" b="b"/>
                <a:pathLst>
                  <a:path w="64" h="86">
                    <a:moveTo>
                      <a:pt x="1" y="62"/>
                    </a:moveTo>
                    <a:cubicBezTo>
                      <a:pt x="1" y="64"/>
                      <a:pt x="0" y="65"/>
                      <a:pt x="0" y="67"/>
                    </a:cubicBezTo>
                    <a:cubicBezTo>
                      <a:pt x="1" y="70"/>
                      <a:pt x="5" y="75"/>
                      <a:pt x="6" y="78"/>
                    </a:cubicBezTo>
                    <a:cubicBezTo>
                      <a:pt x="8" y="79"/>
                      <a:pt x="6" y="79"/>
                      <a:pt x="8" y="82"/>
                    </a:cubicBezTo>
                    <a:cubicBezTo>
                      <a:pt x="8" y="84"/>
                      <a:pt x="9" y="86"/>
                      <a:pt x="11" y="86"/>
                    </a:cubicBezTo>
                    <a:cubicBezTo>
                      <a:pt x="11" y="86"/>
                      <a:pt x="12" y="86"/>
                      <a:pt x="14" y="86"/>
                    </a:cubicBezTo>
                    <a:cubicBezTo>
                      <a:pt x="15" y="86"/>
                      <a:pt x="17" y="82"/>
                      <a:pt x="23" y="82"/>
                    </a:cubicBezTo>
                    <a:cubicBezTo>
                      <a:pt x="29" y="84"/>
                      <a:pt x="26" y="73"/>
                      <a:pt x="32" y="73"/>
                    </a:cubicBezTo>
                    <a:cubicBezTo>
                      <a:pt x="41" y="73"/>
                      <a:pt x="35" y="65"/>
                      <a:pt x="44" y="64"/>
                    </a:cubicBezTo>
                    <a:cubicBezTo>
                      <a:pt x="52" y="62"/>
                      <a:pt x="44" y="61"/>
                      <a:pt x="47" y="51"/>
                    </a:cubicBezTo>
                    <a:cubicBezTo>
                      <a:pt x="52" y="40"/>
                      <a:pt x="50" y="54"/>
                      <a:pt x="54" y="45"/>
                    </a:cubicBezTo>
                    <a:cubicBezTo>
                      <a:pt x="57" y="39"/>
                      <a:pt x="60" y="42"/>
                      <a:pt x="63" y="34"/>
                    </a:cubicBezTo>
                    <a:cubicBezTo>
                      <a:pt x="64" y="28"/>
                      <a:pt x="64" y="28"/>
                      <a:pt x="61" y="26"/>
                    </a:cubicBezTo>
                    <a:cubicBezTo>
                      <a:pt x="60" y="25"/>
                      <a:pt x="57" y="15"/>
                      <a:pt x="54" y="15"/>
                    </a:cubicBezTo>
                    <a:cubicBezTo>
                      <a:pt x="50" y="17"/>
                      <a:pt x="52" y="14"/>
                      <a:pt x="46" y="14"/>
                    </a:cubicBezTo>
                    <a:cubicBezTo>
                      <a:pt x="41" y="14"/>
                      <a:pt x="37" y="6"/>
                      <a:pt x="37" y="1"/>
                    </a:cubicBezTo>
                    <a:cubicBezTo>
                      <a:pt x="34" y="3"/>
                      <a:pt x="35" y="6"/>
                      <a:pt x="34" y="3"/>
                    </a:cubicBezTo>
                    <a:cubicBezTo>
                      <a:pt x="32" y="0"/>
                      <a:pt x="32" y="3"/>
                      <a:pt x="32" y="6"/>
                    </a:cubicBezTo>
                    <a:cubicBezTo>
                      <a:pt x="32" y="9"/>
                      <a:pt x="31" y="9"/>
                      <a:pt x="32" y="9"/>
                    </a:cubicBezTo>
                    <a:cubicBezTo>
                      <a:pt x="34" y="9"/>
                      <a:pt x="35" y="11"/>
                      <a:pt x="32" y="11"/>
                    </a:cubicBezTo>
                    <a:cubicBezTo>
                      <a:pt x="31" y="12"/>
                      <a:pt x="29" y="12"/>
                      <a:pt x="29" y="12"/>
                    </a:cubicBezTo>
                    <a:cubicBezTo>
                      <a:pt x="31" y="14"/>
                      <a:pt x="31" y="12"/>
                      <a:pt x="29" y="17"/>
                    </a:cubicBezTo>
                    <a:cubicBezTo>
                      <a:pt x="26" y="21"/>
                      <a:pt x="28" y="23"/>
                      <a:pt x="28" y="25"/>
                    </a:cubicBezTo>
                    <a:cubicBezTo>
                      <a:pt x="28" y="26"/>
                      <a:pt x="31" y="31"/>
                      <a:pt x="31" y="32"/>
                    </a:cubicBezTo>
                    <a:cubicBezTo>
                      <a:pt x="31" y="34"/>
                      <a:pt x="29" y="37"/>
                      <a:pt x="29" y="39"/>
                    </a:cubicBezTo>
                    <a:cubicBezTo>
                      <a:pt x="29" y="40"/>
                      <a:pt x="26" y="51"/>
                      <a:pt x="26" y="53"/>
                    </a:cubicBezTo>
                    <a:cubicBezTo>
                      <a:pt x="24" y="54"/>
                      <a:pt x="17" y="56"/>
                      <a:pt x="14" y="57"/>
                    </a:cubicBezTo>
                    <a:cubicBezTo>
                      <a:pt x="9" y="59"/>
                      <a:pt x="6" y="61"/>
                      <a:pt x="1" y="62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87" name="Freeform 81"/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5122504" y="3336320"/>
                <a:ext cx="195333" cy="147374"/>
              </a:xfrm>
              <a:custGeom>
                <a:avLst/>
                <a:gdLst/>
                <a:ahLst/>
                <a:cxnLst>
                  <a:cxn ang="0">
                    <a:pos x="77" y="0"/>
                  </a:cxn>
                  <a:cxn ang="0">
                    <a:pos x="75" y="5"/>
                  </a:cxn>
                  <a:cxn ang="0">
                    <a:pos x="81" y="16"/>
                  </a:cxn>
                  <a:cxn ang="0">
                    <a:pos x="83" y="20"/>
                  </a:cxn>
                  <a:cxn ang="0">
                    <a:pos x="86" y="23"/>
                  </a:cxn>
                  <a:cxn ang="0">
                    <a:pos x="77" y="36"/>
                  </a:cxn>
                  <a:cxn ang="0">
                    <a:pos x="69" y="39"/>
                  </a:cxn>
                  <a:cxn ang="0">
                    <a:pos x="61" y="42"/>
                  </a:cxn>
                  <a:cxn ang="0">
                    <a:pos x="46" y="50"/>
                  </a:cxn>
                  <a:cxn ang="0">
                    <a:pos x="31" y="56"/>
                  </a:cxn>
                  <a:cxn ang="0">
                    <a:pos x="23" y="61"/>
                  </a:cxn>
                  <a:cxn ang="0">
                    <a:pos x="19" y="62"/>
                  </a:cxn>
                  <a:cxn ang="0">
                    <a:pos x="16" y="64"/>
                  </a:cxn>
                  <a:cxn ang="0">
                    <a:pos x="13" y="64"/>
                  </a:cxn>
                  <a:cxn ang="0">
                    <a:pos x="8" y="62"/>
                  </a:cxn>
                  <a:cxn ang="0">
                    <a:pos x="7" y="56"/>
                  </a:cxn>
                  <a:cxn ang="0">
                    <a:pos x="5" y="47"/>
                  </a:cxn>
                  <a:cxn ang="0">
                    <a:pos x="4" y="40"/>
                  </a:cxn>
                  <a:cxn ang="0">
                    <a:pos x="2" y="37"/>
                  </a:cxn>
                  <a:cxn ang="0">
                    <a:pos x="2" y="33"/>
                  </a:cxn>
                  <a:cxn ang="0">
                    <a:pos x="4" y="26"/>
                  </a:cxn>
                  <a:cxn ang="0">
                    <a:pos x="7" y="23"/>
                  </a:cxn>
                  <a:cxn ang="0">
                    <a:pos x="7" y="22"/>
                  </a:cxn>
                  <a:cxn ang="0">
                    <a:pos x="7" y="17"/>
                  </a:cxn>
                  <a:cxn ang="0">
                    <a:pos x="7" y="17"/>
                  </a:cxn>
                  <a:cxn ang="0">
                    <a:pos x="8" y="16"/>
                  </a:cxn>
                  <a:cxn ang="0">
                    <a:pos x="11" y="17"/>
                  </a:cxn>
                  <a:cxn ang="0">
                    <a:pos x="13" y="17"/>
                  </a:cxn>
                  <a:cxn ang="0">
                    <a:pos x="13" y="17"/>
                  </a:cxn>
                  <a:cxn ang="0">
                    <a:pos x="13" y="17"/>
                  </a:cxn>
                  <a:cxn ang="0">
                    <a:pos x="14" y="17"/>
                  </a:cxn>
                  <a:cxn ang="0">
                    <a:pos x="31" y="23"/>
                  </a:cxn>
                  <a:cxn ang="0">
                    <a:pos x="31" y="26"/>
                  </a:cxn>
                  <a:cxn ang="0">
                    <a:pos x="31" y="34"/>
                  </a:cxn>
                  <a:cxn ang="0">
                    <a:pos x="46" y="16"/>
                  </a:cxn>
                  <a:cxn ang="0">
                    <a:pos x="51" y="8"/>
                  </a:cxn>
                  <a:cxn ang="0">
                    <a:pos x="65" y="5"/>
                  </a:cxn>
                  <a:cxn ang="0">
                    <a:pos x="77" y="0"/>
                  </a:cxn>
                </a:cxnLst>
                <a:rect l="0" t="0" r="r" b="b"/>
                <a:pathLst>
                  <a:path w="86" h="65">
                    <a:moveTo>
                      <a:pt x="77" y="0"/>
                    </a:moveTo>
                    <a:cubicBezTo>
                      <a:pt x="77" y="2"/>
                      <a:pt x="75" y="3"/>
                      <a:pt x="75" y="5"/>
                    </a:cubicBezTo>
                    <a:cubicBezTo>
                      <a:pt x="77" y="8"/>
                      <a:pt x="80" y="12"/>
                      <a:pt x="81" y="16"/>
                    </a:cubicBezTo>
                    <a:cubicBezTo>
                      <a:pt x="83" y="17"/>
                      <a:pt x="81" y="17"/>
                      <a:pt x="83" y="20"/>
                    </a:cubicBezTo>
                    <a:cubicBezTo>
                      <a:pt x="83" y="22"/>
                      <a:pt x="84" y="23"/>
                      <a:pt x="86" y="23"/>
                    </a:cubicBezTo>
                    <a:cubicBezTo>
                      <a:pt x="74" y="30"/>
                      <a:pt x="83" y="34"/>
                      <a:pt x="77" y="36"/>
                    </a:cubicBezTo>
                    <a:cubicBezTo>
                      <a:pt x="74" y="36"/>
                      <a:pt x="77" y="37"/>
                      <a:pt x="69" y="39"/>
                    </a:cubicBezTo>
                    <a:cubicBezTo>
                      <a:pt x="63" y="40"/>
                      <a:pt x="63" y="43"/>
                      <a:pt x="61" y="42"/>
                    </a:cubicBezTo>
                    <a:cubicBezTo>
                      <a:pt x="54" y="42"/>
                      <a:pt x="52" y="53"/>
                      <a:pt x="46" y="50"/>
                    </a:cubicBezTo>
                    <a:cubicBezTo>
                      <a:pt x="42" y="48"/>
                      <a:pt x="40" y="57"/>
                      <a:pt x="31" y="56"/>
                    </a:cubicBezTo>
                    <a:cubicBezTo>
                      <a:pt x="25" y="56"/>
                      <a:pt x="26" y="61"/>
                      <a:pt x="23" y="61"/>
                    </a:cubicBezTo>
                    <a:cubicBezTo>
                      <a:pt x="20" y="61"/>
                      <a:pt x="23" y="64"/>
                      <a:pt x="19" y="62"/>
                    </a:cubicBezTo>
                    <a:cubicBezTo>
                      <a:pt x="16" y="62"/>
                      <a:pt x="17" y="64"/>
                      <a:pt x="16" y="64"/>
                    </a:cubicBezTo>
                    <a:cubicBezTo>
                      <a:pt x="14" y="64"/>
                      <a:pt x="14" y="65"/>
                      <a:pt x="13" y="64"/>
                    </a:cubicBezTo>
                    <a:cubicBezTo>
                      <a:pt x="10" y="62"/>
                      <a:pt x="10" y="65"/>
                      <a:pt x="8" y="62"/>
                    </a:cubicBezTo>
                    <a:cubicBezTo>
                      <a:pt x="8" y="57"/>
                      <a:pt x="7" y="59"/>
                      <a:pt x="7" y="56"/>
                    </a:cubicBezTo>
                    <a:cubicBezTo>
                      <a:pt x="8" y="53"/>
                      <a:pt x="5" y="51"/>
                      <a:pt x="5" y="47"/>
                    </a:cubicBezTo>
                    <a:cubicBezTo>
                      <a:pt x="5" y="43"/>
                      <a:pt x="4" y="43"/>
                      <a:pt x="4" y="40"/>
                    </a:cubicBezTo>
                    <a:cubicBezTo>
                      <a:pt x="4" y="39"/>
                      <a:pt x="0" y="39"/>
                      <a:pt x="2" y="37"/>
                    </a:cubicBezTo>
                    <a:cubicBezTo>
                      <a:pt x="5" y="36"/>
                      <a:pt x="2" y="36"/>
                      <a:pt x="2" y="33"/>
                    </a:cubicBezTo>
                    <a:cubicBezTo>
                      <a:pt x="4" y="31"/>
                      <a:pt x="4" y="30"/>
                      <a:pt x="4" y="26"/>
                    </a:cubicBezTo>
                    <a:cubicBezTo>
                      <a:pt x="5" y="25"/>
                      <a:pt x="7" y="23"/>
                      <a:pt x="7" y="23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0"/>
                      <a:pt x="7" y="19"/>
                      <a:pt x="7" y="17"/>
                    </a:cubicBezTo>
                    <a:cubicBezTo>
                      <a:pt x="8" y="17"/>
                      <a:pt x="7" y="17"/>
                      <a:pt x="7" y="17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10" y="16"/>
                      <a:pt x="11" y="17"/>
                      <a:pt x="11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4" y="17"/>
                      <a:pt x="14" y="17"/>
                      <a:pt x="14" y="17"/>
                    </a:cubicBezTo>
                    <a:cubicBezTo>
                      <a:pt x="16" y="16"/>
                      <a:pt x="31" y="23"/>
                      <a:pt x="31" y="23"/>
                    </a:cubicBezTo>
                    <a:cubicBezTo>
                      <a:pt x="31" y="23"/>
                      <a:pt x="31" y="25"/>
                      <a:pt x="31" y="26"/>
                    </a:cubicBezTo>
                    <a:cubicBezTo>
                      <a:pt x="31" y="28"/>
                      <a:pt x="31" y="31"/>
                      <a:pt x="31" y="34"/>
                    </a:cubicBezTo>
                    <a:cubicBezTo>
                      <a:pt x="36" y="28"/>
                      <a:pt x="42" y="22"/>
                      <a:pt x="46" y="16"/>
                    </a:cubicBezTo>
                    <a:cubicBezTo>
                      <a:pt x="46" y="14"/>
                      <a:pt x="49" y="9"/>
                      <a:pt x="51" y="8"/>
                    </a:cubicBezTo>
                    <a:cubicBezTo>
                      <a:pt x="54" y="6"/>
                      <a:pt x="61" y="5"/>
                      <a:pt x="65" y="5"/>
                    </a:cubicBezTo>
                    <a:cubicBezTo>
                      <a:pt x="69" y="3"/>
                      <a:pt x="72" y="2"/>
                      <a:pt x="77" y="0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88" name="Freeform 82"/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4521300" y="3006482"/>
                <a:ext cx="294754" cy="318142"/>
              </a:xfrm>
              <a:custGeom>
                <a:avLst/>
                <a:gdLst/>
                <a:ahLst/>
                <a:cxnLst>
                  <a:cxn ang="0">
                    <a:pos x="119" y="140"/>
                  </a:cxn>
                  <a:cxn ang="0">
                    <a:pos x="119" y="135"/>
                  </a:cxn>
                  <a:cxn ang="0">
                    <a:pos x="129" y="135"/>
                  </a:cxn>
                  <a:cxn ang="0">
                    <a:pos x="129" y="115"/>
                  </a:cxn>
                  <a:cxn ang="0">
                    <a:pos x="129" y="39"/>
                  </a:cxn>
                  <a:cxn ang="0">
                    <a:pos x="127" y="28"/>
                  </a:cxn>
                  <a:cxn ang="0">
                    <a:pos x="129" y="18"/>
                  </a:cxn>
                  <a:cxn ang="0">
                    <a:pos x="129" y="16"/>
                  </a:cxn>
                  <a:cxn ang="0">
                    <a:pos x="124" y="11"/>
                  </a:cxn>
                  <a:cxn ang="0">
                    <a:pos x="116" y="10"/>
                  </a:cxn>
                  <a:cxn ang="0">
                    <a:pos x="109" y="4"/>
                  </a:cxn>
                  <a:cxn ang="0">
                    <a:pos x="100" y="4"/>
                  </a:cxn>
                  <a:cxn ang="0">
                    <a:pos x="89" y="10"/>
                  </a:cxn>
                  <a:cxn ang="0">
                    <a:pos x="87" y="25"/>
                  </a:cxn>
                  <a:cxn ang="0">
                    <a:pos x="77" y="27"/>
                  </a:cxn>
                  <a:cxn ang="0">
                    <a:pos x="61" y="21"/>
                  </a:cxn>
                  <a:cxn ang="0">
                    <a:pos x="52" y="13"/>
                  </a:cxn>
                  <a:cxn ang="0">
                    <a:pos x="43" y="5"/>
                  </a:cxn>
                  <a:cxn ang="0">
                    <a:pos x="31" y="4"/>
                  </a:cxn>
                  <a:cxn ang="0">
                    <a:pos x="22" y="0"/>
                  </a:cxn>
                  <a:cxn ang="0">
                    <a:pos x="20" y="8"/>
                  </a:cxn>
                  <a:cxn ang="0">
                    <a:pos x="11" y="14"/>
                  </a:cxn>
                  <a:cxn ang="0">
                    <a:pos x="5" y="30"/>
                  </a:cxn>
                  <a:cxn ang="0">
                    <a:pos x="8" y="53"/>
                  </a:cxn>
                  <a:cxn ang="0">
                    <a:pos x="8" y="64"/>
                  </a:cxn>
                  <a:cxn ang="0">
                    <a:pos x="6" y="76"/>
                  </a:cxn>
                  <a:cxn ang="0">
                    <a:pos x="9" y="87"/>
                  </a:cxn>
                  <a:cxn ang="0">
                    <a:pos x="19" y="90"/>
                  </a:cxn>
                  <a:cxn ang="0">
                    <a:pos x="25" y="100"/>
                  </a:cxn>
                  <a:cxn ang="0">
                    <a:pos x="40" y="106"/>
                  </a:cxn>
                  <a:cxn ang="0">
                    <a:pos x="48" y="104"/>
                  </a:cxn>
                  <a:cxn ang="0">
                    <a:pos x="57" y="100"/>
                  </a:cxn>
                  <a:cxn ang="0">
                    <a:pos x="119" y="140"/>
                  </a:cxn>
                </a:cxnLst>
                <a:rect l="0" t="0" r="r" b="b"/>
                <a:pathLst>
                  <a:path w="130" h="140">
                    <a:moveTo>
                      <a:pt x="119" y="140"/>
                    </a:moveTo>
                    <a:cubicBezTo>
                      <a:pt x="119" y="135"/>
                      <a:pt x="119" y="135"/>
                      <a:pt x="119" y="135"/>
                    </a:cubicBezTo>
                    <a:cubicBezTo>
                      <a:pt x="129" y="135"/>
                      <a:pt x="129" y="135"/>
                      <a:pt x="129" y="135"/>
                    </a:cubicBezTo>
                    <a:cubicBezTo>
                      <a:pt x="129" y="115"/>
                      <a:pt x="129" y="115"/>
                      <a:pt x="129" y="115"/>
                    </a:cubicBezTo>
                    <a:cubicBezTo>
                      <a:pt x="129" y="39"/>
                      <a:pt x="129" y="39"/>
                      <a:pt x="129" y="39"/>
                    </a:cubicBezTo>
                    <a:cubicBezTo>
                      <a:pt x="129" y="36"/>
                      <a:pt x="124" y="35"/>
                      <a:pt x="127" y="28"/>
                    </a:cubicBezTo>
                    <a:cubicBezTo>
                      <a:pt x="130" y="24"/>
                      <a:pt x="125" y="21"/>
                      <a:pt x="129" y="18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29" y="14"/>
                      <a:pt x="129" y="11"/>
                      <a:pt x="124" y="11"/>
                    </a:cubicBezTo>
                    <a:cubicBezTo>
                      <a:pt x="119" y="11"/>
                      <a:pt x="121" y="11"/>
                      <a:pt x="116" y="10"/>
                    </a:cubicBezTo>
                    <a:cubicBezTo>
                      <a:pt x="112" y="10"/>
                      <a:pt x="116" y="7"/>
                      <a:pt x="109" y="4"/>
                    </a:cubicBezTo>
                    <a:cubicBezTo>
                      <a:pt x="103" y="0"/>
                      <a:pt x="101" y="2"/>
                      <a:pt x="100" y="4"/>
                    </a:cubicBezTo>
                    <a:cubicBezTo>
                      <a:pt x="98" y="5"/>
                      <a:pt x="96" y="2"/>
                      <a:pt x="89" y="10"/>
                    </a:cubicBezTo>
                    <a:cubicBezTo>
                      <a:pt x="86" y="14"/>
                      <a:pt x="92" y="21"/>
                      <a:pt x="87" y="25"/>
                    </a:cubicBezTo>
                    <a:cubicBezTo>
                      <a:pt x="83" y="32"/>
                      <a:pt x="80" y="32"/>
                      <a:pt x="77" y="27"/>
                    </a:cubicBezTo>
                    <a:cubicBezTo>
                      <a:pt x="74" y="24"/>
                      <a:pt x="67" y="21"/>
                      <a:pt x="61" y="21"/>
                    </a:cubicBezTo>
                    <a:cubicBezTo>
                      <a:pt x="57" y="19"/>
                      <a:pt x="54" y="19"/>
                      <a:pt x="52" y="13"/>
                    </a:cubicBezTo>
                    <a:cubicBezTo>
                      <a:pt x="51" y="5"/>
                      <a:pt x="46" y="8"/>
                      <a:pt x="43" y="5"/>
                    </a:cubicBezTo>
                    <a:cubicBezTo>
                      <a:pt x="41" y="4"/>
                      <a:pt x="35" y="2"/>
                      <a:pt x="31" y="4"/>
                    </a:cubicBezTo>
                    <a:cubicBezTo>
                      <a:pt x="28" y="4"/>
                      <a:pt x="23" y="0"/>
                      <a:pt x="22" y="0"/>
                    </a:cubicBezTo>
                    <a:cubicBezTo>
                      <a:pt x="19" y="5"/>
                      <a:pt x="23" y="7"/>
                      <a:pt x="20" y="8"/>
                    </a:cubicBezTo>
                    <a:cubicBezTo>
                      <a:pt x="17" y="10"/>
                      <a:pt x="15" y="11"/>
                      <a:pt x="11" y="14"/>
                    </a:cubicBezTo>
                    <a:cubicBezTo>
                      <a:pt x="6" y="19"/>
                      <a:pt x="15" y="24"/>
                      <a:pt x="5" y="30"/>
                    </a:cubicBezTo>
                    <a:cubicBezTo>
                      <a:pt x="9" y="44"/>
                      <a:pt x="6" y="47"/>
                      <a:pt x="8" y="53"/>
                    </a:cubicBezTo>
                    <a:cubicBezTo>
                      <a:pt x="9" y="58"/>
                      <a:pt x="6" y="59"/>
                      <a:pt x="8" y="64"/>
                    </a:cubicBezTo>
                    <a:cubicBezTo>
                      <a:pt x="9" y="72"/>
                      <a:pt x="0" y="69"/>
                      <a:pt x="6" y="76"/>
                    </a:cubicBezTo>
                    <a:cubicBezTo>
                      <a:pt x="11" y="84"/>
                      <a:pt x="8" y="83"/>
                      <a:pt x="9" y="87"/>
                    </a:cubicBezTo>
                    <a:cubicBezTo>
                      <a:pt x="12" y="92"/>
                      <a:pt x="12" y="87"/>
                      <a:pt x="19" y="90"/>
                    </a:cubicBezTo>
                    <a:cubicBezTo>
                      <a:pt x="23" y="94"/>
                      <a:pt x="22" y="94"/>
                      <a:pt x="25" y="100"/>
                    </a:cubicBezTo>
                    <a:cubicBezTo>
                      <a:pt x="28" y="103"/>
                      <a:pt x="37" y="101"/>
                      <a:pt x="40" y="106"/>
                    </a:cubicBezTo>
                    <a:cubicBezTo>
                      <a:pt x="43" y="111"/>
                      <a:pt x="41" y="109"/>
                      <a:pt x="48" y="104"/>
                    </a:cubicBezTo>
                    <a:cubicBezTo>
                      <a:pt x="51" y="103"/>
                      <a:pt x="55" y="100"/>
                      <a:pt x="57" y="100"/>
                    </a:cubicBezTo>
                    <a:cubicBezTo>
                      <a:pt x="78" y="112"/>
                      <a:pt x="119" y="140"/>
                      <a:pt x="119" y="14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89" name="Freeform 83"/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4750553" y="3245088"/>
                <a:ext cx="304112" cy="444462"/>
              </a:xfrm>
              <a:custGeom>
                <a:avLst/>
                <a:gdLst/>
                <a:ahLst/>
                <a:cxnLst>
                  <a:cxn ang="0">
                    <a:pos x="47" y="179"/>
                  </a:cxn>
                  <a:cxn ang="0">
                    <a:pos x="55" y="185"/>
                  </a:cxn>
                  <a:cxn ang="0">
                    <a:pos x="61" y="183"/>
                  </a:cxn>
                  <a:cxn ang="0">
                    <a:pos x="67" y="186"/>
                  </a:cxn>
                  <a:cxn ang="0">
                    <a:pos x="73" y="194"/>
                  </a:cxn>
                  <a:cxn ang="0">
                    <a:pos x="79" y="191"/>
                  </a:cxn>
                  <a:cxn ang="0">
                    <a:pos x="82" y="193"/>
                  </a:cxn>
                  <a:cxn ang="0">
                    <a:pos x="91" y="189"/>
                  </a:cxn>
                  <a:cxn ang="0">
                    <a:pos x="93" y="191"/>
                  </a:cxn>
                  <a:cxn ang="0">
                    <a:pos x="97" y="186"/>
                  </a:cxn>
                  <a:cxn ang="0">
                    <a:pos x="103" y="180"/>
                  </a:cxn>
                  <a:cxn ang="0">
                    <a:pos x="110" y="180"/>
                  </a:cxn>
                  <a:cxn ang="0">
                    <a:pos x="113" y="183"/>
                  </a:cxn>
                  <a:cxn ang="0">
                    <a:pos x="111" y="175"/>
                  </a:cxn>
                  <a:cxn ang="0">
                    <a:pos x="105" y="166"/>
                  </a:cxn>
                  <a:cxn ang="0">
                    <a:pos x="99" y="157"/>
                  </a:cxn>
                  <a:cxn ang="0">
                    <a:pos x="91" y="149"/>
                  </a:cxn>
                  <a:cxn ang="0">
                    <a:pos x="96" y="146"/>
                  </a:cxn>
                  <a:cxn ang="0">
                    <a:pos x="100" y="130"/>
                  </a:cxn>
                  <a:cxn ang="0">
                    <a:pos x="100" y="123"/>
                  </a:cxn>
                  <a:cxn ang="0">
                    <a:pos x="105" y="123"/>
                  </a:cxn>
                  <a:cxn ang="0">
                    <a:pos x="108" y="110"/>
                  </a:cxn>
                  <a:cxn ang="0">
                    <a:pos x="116" y="102"/>
                  </a:cxn>
                  <a:cxn ang="0">
                    <a:pos x="119" y="87"/>
                  </a:cxn>
                  <a:cxn ang="0">
                    <a:pos x="117" y="79"/>
                  </a:cxn>
                  <a:cxn ang="0">
                    <a:pos x="122" y="62"/>
                  </a:cxn>
                  <a:cxn ang="0">
                    <a:pos x="126" y="57"/>
                  </a:cxn>
                  <a:cxn ang="0">
                    <a:pos x="134" y="49"/>
                  </a:cxn>
                  <a:cxn ang="0">
                    <a:pos x="131" y="48"/>
                  </a:cxn>
                  <a:cxn ang="0">
                    <a:pos x="126" y="43"/>
                  </a:cxn>
                  <a:cxn ang="0">
                    <a:pos x="123" y="28"/>
                  </a:cxn>
                  <a:cxn ang="0">
                    <a:pos x="123" y="20"/>
                  </a:cxn>
                  <a:cxn ang="0">
                    <a:pos x="122" y="10"/>
                  </a:cxn>
                  <a:cxn ang="0">
                    <a:pos x="119" y="7"/>
                  </a:cxn>
                  <a:cxn ang="0">
                    <a:pos x="114" y="3"/>
                  </a:cxn>
                  <a:cxn ang="0">
                    <a:pos x="111" y="0"/>
                  </a:cxn>
                  <a:cxn ang="0">
                    <a:pos x="105" y="4"/>
                  </a:cxn>
                  <a:cxn ang="0">
                    <a:pos x="99" y="10"/>
                  </a:cxn>
                  <a:cxn ang="0">
                    <a:pos x="91" y="10"/>
                  </a:cxn>
                  <a:cxn ang="0">
                    <a:pos x="77" y="10"/>
                  </a:cxn>
                  <a:cxn ang="0">
                    <a:pos x="77" y="9"/>
                  </a:cxn>
                  <a:cxn ang="0">
                    <a:pos x="76" y="10"/>
                  </a:cxn>
                  <a:cxn ang="0">
                    <a:pos x="27" y="10"/>
                  </a:cxn>
                  <a:cxn ang="0">
                    <a:pos x="27" y="31"/>
                  </a:cxn>
                  <a:cxn ang="0">
                    <a:pos x="18" y="31"/>
                  </a:cxn>
                  <a:cxn ang="0">
                    <a:pos x="18" y="35"/>
                  </a:cxn>
                  <a:cxn ang="0">
                    <a:pos x="18" y="71"/>
                  </a:cxn>
                  <a:cxn ang="0">
                    <a:pos x="16" y="73"/>
                  </a:cxn>
                  <a:cxn ang="0">
                    <a:pos x="10" y="77"/>
                  </a:cxn>
                  <a:cxn ang="0">
                    <a:pos x="9" y="82"/>
                  </a:cxn>
                  <a:cxn ang="0">
                    <a:pos x="6" y="87"/>
                  </a:cxn>
                  <a:cxn ang="0">
                    <a:pos x="4" y="95"/>
                  </a:cxn>
                  <a:cxn ang="0">
                    <a:pos x="1" y="104"/>
                  </a:cxn>
                  <a:cxn ang="0">
                    <a:pos x="6" y="105"/>
                  </a:cxn>
                  <a:cxn ang="0">
                    <a:pos x="7" y="113"/>
                  </a:cxn>
                  <a:cxn ang="0">
                    <a:pos x="10" y="121"/>
                  </a:cxn>
                  <a:cxn ang="0">
                    <a:pos x="15" y="137"/>
                  </a:cxn>
                  <a:cxn ang="0">
                    <a:pos x="19" y="144"/>
                  </a:cxn>
                  <a:cxn ang="0">
                    <a:pos x="27" y="149"/>
                  </a:cxn>
                  <a:cxn ang="0">
                    <a:pos x="32" y="157"/>
                  </a:cxn>
                  <a:cxn ang="0">
                    <a:pos x="38" y="165"/>
                  </a:cxn>
                  <a:cxn ang="0">
                    <a:pos x="42" y="171"/>
                  </a:cxn>
                  <a:cxn ang="0">
                    <a:pos x="47" y="179"/>
                  </a:cxn>
                </a:cxnLst>
                <a:rect l="0" t="0" r="r" b="b"/>
                <a:pathLst>
                  <a:path w="134" h="196">
                    <a:moveTo>
                      <a:pt x="47" y="179"/>
                    </a:moveTo>
                    <a:cubicBezTo>
                      <a:pt x="50" y="183"/>
                      <a:pt x="53" y="188"/>
                      <a:pt x="55" y="185"/>
                    </a:cubicBezTo>
                    <a:cubicBezTo>
                      <a:pt x="58" y="182"/>
                      <a:pt x="59" y="188"/>
                      <a:pt x="61" y="183"/>
                    </a:cubicBezTo>
                    <a:cubicBezTo>
                      <a:pt x="64" y="180"/>
                      <a:pt x="65" y="182"/>
                      <a:pt x="67" y="186"/>
                    </a:cubicBezTo>
                    <a:cubicBezTo>
                      <a:pt x="70" y="191"/>
                      <a:pt x="70" y="188"/>
                      <a:pt x="73" y="194"/>
                    </a:cubicBezTo>
                    <a:cubicBezTo>
                      <a:pt x="76" y="186"/>
                      <a:pt x="77" y="194"/>
                      <a:pt x="79" y="191"/>
                    </a:cubicBezTo>
                    <a:cubicBezTo>
                      <a:pt x="81" y="189"/>
                      <a:pt x="81" y="191"/>
                      <a:pt x="82" y="193"/>
                    </a:cubicBezTo>
                    <a:cubicBezTo>
                      <a:pt x="84" y="196"/>
                      <a:pt x="87" y="189"/>
                      <a:pt x="91" y="189"/>
                    </a:cubicBezTo>
                    <a:cubicBezTo>
                      <a:pt x="93" y="191"/>
                      <a:pt x="90" y="191"/>
                      <a:pt x="93" y="191"/>
                    </a:cubicBezTo>
                    <a:cubicBezTo>
                      <a:pt x="96" y="191"/>
                      <a:pt x="96" y="189"/>
                      <a:pt x="97" y="186"/>
                    </a:cubicBezTo>
                    <a:cubicBezTo>
                      <a:pt x="99" y="185"/>
                      <a:pt x="100" y="182"/>
                      <a:pt x="103" y="180"/>
                    </a:cubicBezTo>
                    <a:cubicBezTo>
                      <a:pt x="106" y="180"/>
                      <a:pt x="110" y="179"/>
                      <a:pt x="110" y="180"/>
                    </a:cubicBezTo>
                    <a:cubicBezTo>
                      <a:pt x="108" y="183"/>
                      <a:pt x="111" y="183"/>
                      <a:pt x="113" y="183"/>
                    </a:cubicBezTo>
                    <a:cubicBezTo>
                      <a:pt x="111" y="177"/>
                      <a:pt x="114" y="175"/>
                      <a:pt x="111" y="175"/>
                    </a:cubicBezTo>
                    <a:cubicBezTo>
                      <a:pt x="106" y="174"/>
                      <a:pt x="106" y="174"/>
                      <a:pt x="105" y="166"/>
                    </a:cubicBezTo>
                    <a:cubicBezTo>
                      <a:pt x="103" y="158"/>
                      <a:pt x="102" y="161"/>
                      <a:pt x="99" y="157"/>
                    </a:cubicBezTo>
                    <a:cubicBezTo>
                      <a:pt x="96" y="151"/>
                      <a:pt x="87" y="152"/>
                      <a:pt x="91" y="149"/>
                    </a:cubicBezTo>
                    <a:cubicBezTo>
                      <a:pt x="93" y="147"/>
                      <a:pt x="88" y="143"/>
                      <a:pt x="96" y="146"/>
                    </a:cubicBezTo>
                    <a:cubicBezTo>
                      <a:pt x="102" y="147"/>
                      <a:pt x="97" y="137"/>
                      <a:pt x="100" y="130"/>
                    </a:cubicBezTo>
                    <a:cubicBezTo>
                      <a:pt x="102" y="126"/>
                      <a:pt x="99" y="127"/>
                      <a:pt x="100" y="123"/>
                    </a:cubicBezTo>
                    <a:cubicBezTo>
                      <a:pt x="103" y="118"/>
                      <a:pt x="103" y="124"/>
                      <a:pt x="105" y="123"/>
                    </a:cubicBezTo>
                    <a:cubicBezTo>
                      <a:pt x="106" y="121"/>
                      <a:pt x="105" y="113"/>
                      <a:pt x="108" y="110"/>
                    </a:cubicBezTo>
                    <a:cubicBezTo>
                      <a:pt x="111" y="109"/>
                      <a:pt x="110" y="102"/>
                      <a:pt x="116" y="102"/>
                    </a:cubicBezTo>
                    <a:cubicBezTo>
                      <a:pt x="114" y="98"/>
                      <a:pt x="117" y="96"/>
                      <a:pt x="119" y="87"/>
                    </a:cubicBezTo>
                    <a:cubicBezTo>
                      <a:pt x="119" y="84"/>
                      <a:pt x="116" y="81"/>
                      <a:pt x="117" y="79"/>
                    </a:cubicBezTo>
                    <a:cubicBezTo>
                      <a:pt x="119" y="76"/>
                      <a:pt x="122" y="71"/>
                      <a:pt x="122" y="62"/>
                    </a:cubicBezTo>
                    <a:cubicBezTo>
                      <a:pt x="120" y="56"/>
                      <a:pt x="123" y="63"/>
                      <a:pt x="126" y="57"/>
                    </a:cubicBezTo>
                    <a:cubicBezTo>
                      <a:pt x="128" y="54"/>
                      <a:pt x="131" y="59"/>
                      <a:pt x="134" y="49"/>
                    </a:cubicBezTo>
                    <a:cubicBezTo>
                      <a:pt x="134" y="48"/>
                      <a:pt x="132" y="46"/>
                      <a:pt x="131" y="48"/>
                    </a:cubicBezTo>
                    <a:cubicBezTo>
                      <a:pt x="129" y="48"/>
                      <a:pt x="129" y="43"/>
                      <a:pt x="126" y="43"/>
                    </a:cubicBezTo>
                    <a:cubicBezTo>
                      <a:pt x="125" y="45"/>
                      <a:pt x="122" y="29"/>
                      <a:pt x="123" y="28"/>
                    </a:cubicBezTo>
                    <a:cubicBezTo>
                      <a:pt x="125" y="23"/>
                      <a:pt x="120" y="20"/>
                      <a:pt x="123" y="20"/>
                    </a:cubicBezTo>
                    <a:cubicBezTo>
                      <a:pt x="126" y="21"/>
                      <a:pt x="122" y="18"/>
                      <a:pt x="122" y="10"/>
                    </a:cubicBezTo>
                    <a:cubicBezTo>
                      <a:pt x="120" y="9"/>
                      <a:pt x="120" y="7"/>
                      <a:pt x="119" y="7"/>
                    </a:cubicBezTo>
                    <a:cubicBezTo>
                      <a:pt x="116" y="7"/>
                      <a:pt x="117" y="3"/>
                      <a:pt x="114" y="3"/>
                    </a:cubicBezTo>
                    <a:cubicBezTo>
                      <a:pt x="113" y="3"/>
                      <a:pt x="111" y="1"/>
                      <a:pt x="111" y="0"/>
                    </a:cubicBezTo>
                    <a:cubicBezTo>
                      <a:pt x="108" y="4"/>
                      <a:pt x="106" y="0"/>
                      <a:pt x="105" y="4"/>
                    </a:cubicBezTo>
                    <a:cubicBezTo>
                      <a:pt x="103" y="9"/>
                      <a:pt x="100" y="7"/>
                      <a:pt x="99" y="10"/>
                    </a:cubicBezTo>
                    <a:cubicBezTo>
                      <a:pt x="97" y="14"/>
                      <a:pt x="94" y="15"/>
                      <a:pt x="91" y="10"/>
                    </a:cubicBezTo>
                    <a:cubicBezTo>
                      <a:pt x="77" y="10"/>
                      <a:pt x="77" y="10"/>
                      <a:pt x="77" y="10"/>
                    </a:cubicBezTo>
                    <a:cubicBezTo>
                      <a:pt x="77" y="9"/>
                      <a:pt x="77" y="9"/>
                      <a:pt x="77" y="9"/>
                    </a:cubicBezTo>
                    <a:cubicBezTo>
                      <a:pt x="76" y="10"/>
                      <a:pt x="76" y="10"/>
                      <a:pt x="76" y="10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8" y="71"/>
                      <a:pt x="21" y="74"/>
                      <a:pt x="16" y="73"/>
                    </a:cubicBezTo>
                    <a:cubicBezTo>
                      <a:pt x="13" y="73"/>
                      <a:pt x="10" y="73"/>
                      <a:pt x="10" y="77"/>
                    </a:cubicBezTo>
                    <a:cubicBezTo>
                      <a:pt x="10" y="82"/>
                      <a:pt x="7" y="79"/>
                      <a:pt x="9" y="82"/>
                    </a:cubicBezTo>
                    <a:cubicBezTo>
                      <a:pt x="9" y="87"/>
                      <a:pt x="4" y="82"/>
                      <a:pt x="6" y="87"/>
                    </a:cubicBezTo>
                    <a:cubicBezTo>
                      <a:pt x="9" y="91"/>
                      <a:pt x="1" y="90"/>
                      <a:pt x="4" y="95"/>
                    </a:cubicBezTo>
                    <a:cubicBezTo>
                      <a:pt x="7" y="99"/>
                      <a:pt x="0" y="99"/>
                      <a:pt x="1" y="104"/>
                    </a:cubicBezTo>
                    <a:cubicBezTo>
                      <a:pt x="3" y="105"/>
                      <a:pt x="6" y="101"/>
                      <a:pt x="6" y="105"/>
                    </a:cubicBezTo>
                    <a:cubicBezTo>
                      <a:pt x="6" y="110"/>
                      <a:pt x="7" y="109"/>
                      <a:pt x="7" y="113"/>
                    </a:cubicBezTo>
                    <a:cubicBezTo>
                      <a:pt x="7" y="118"/>
                      <a:pt x="12" y="115"/>
                      <a:pt x="10" y="121"/>
                    </a:cubicBezTo>
                    <a:cubicBezTo>
                      <a:pt x="13" y="126"/>
                      <a:pt x="18" y="130"/>
                      <a:pt x="15" y="137"/>
                    </a:cubicBezTo>
                    <a:cubicBezTo>
                      <a:pt x="13" y="147"/>
                      <a:pt x="23" y="141"/>
                      <a:pt x="19" y="144"/>
                    </a:cubicBezTo>
                    <a:cubicBezTo>
                      <a:pt x="18" y="149"/>
                      <a:pt x="24" y="146"/>
                      <a:pt x="27" y="149"/>
                    </a:cubicBezTo>
                    <a:cubicBezTo>
                      <a:pt x="30" y="154"/>
                      <a:pt x="26" y="152"/>
                      <a:pt x="32" y="157"/>
                    </a:cubicBezTo>
                    <a:cubicBezTo>
                      <a:pt x="36" y="161"/>
                      <a:pt x="38" y="161"/>
                      <a:pt x="38" y="165"/>
                    </a:cubicBezTo>
                    <a:cubicBezTo>
                      <a:pt x="36" y="168"/>
                      <a:pt x="38" y="168"/>
                      <a:pt x="42" y="171"/>
                    </a:cubicBezTo>
                    <a:cubicBezTo>
                      <a:pt x="45" y="171"/>
                      <a:pt x="44" y="175"/>
                      <a:pt x="47" y="179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90" name="Freeform 84"/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4941208" y="2945661"/>
                <a:ext cx="43278" cy="26902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0" y="6"/>
                  </a:cxn>
                  <a:cxn ang="0">
                    <a:pos x="5" y="6"/>
                  </a:cxn>
                  <a:cxn ang="0">
                    <a:pos x="8" y="3"/>
                  </a:cxn>
                  <a:cxn ang="0">
                    <a:pos x="17" y="0"/>
                  </a:cxn>
                  <a:cxn ang="0">
                    <a:pos x="17" y="1"/>
                  </a:cxn>
                  <a:cxn ang="0">
                    <a:pos x="14" y="6"/>
                  </a:cxn>
                  <a:cxn ang="0">
                    <a:pos x="11" y="7"/>
                  </a:cxn>
                  <a:cxn ang="0">
                    <a:pos x="6" y="10"/>
                  </a:cxn>
                  <a:cxn ang="0">
                    <a:pos x="5" y="10"/>
                  </a:cxn>
                  <a:cxn ang="0">
                    <a:pos x="2" y="9"/>
                  </a:cxn>
                </a:cxnLst>
                <a:rect l="0" t="0" r="r" b="b"/>
                <a:pathLst>
                  <a:path w="19" h="12">
                    <a:moveTo>
                      <a:pt x="2" y="9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2" y="7"/>
                      <a:pt x="2" y="4"/>
                      <a:pt x="5" y="6"/>
                    </a:cubicBezTo>
                    <a:cubicBezTo>
                      <a:pt x="6" y="6"/>
                      <a:pt x="3" y="3"/>
                      <a:pt x="8" y="3"/>
                    </a:cubicBezTo>
                    <a:cubicBezTo>
                      <a:pt x="12" y="4"/>
                      <a:pt x="15" y="1"/>
                      <a:pt x="17" y="0"/>
                    </a:cubicBezTo>
                    <a:cubicBezTo>
                      <a:pt x="19" y="0"/>
                      <a:pt x="19" y="0"/>
                      <a:pt x="17" y="1"/>
                    </a:cubicBezTo>
                    <a:cubicBezTo>
                      <a:pt x="14" y="4"/>
                      <a:pt x="12" y="4"/>
                      <a:pt x="14" y="6"/>
                    </a:cubicBezTo>
                    <a:cubicBezTo>
                      <a:pt x="15" y="7"/>
                      <a:pt x="12" y="6"/>
                      <a:pt x="11" y="7"/>
                    </a:cubicBezTo>
                    <a:cubicBezTo>
                      <a:pt x="9" y="10"/>
                      <a:pt x="6" y="10"/>
                      <a:pt x="6" y="10"/>
                    </a:cubicBezTo>
                    <a:cubicBezTo>
                      <a:pt x="6" y="12"/>
                      <a:pt x="6" y="10"/>
                      <a:pt x="5" y="10"/>
                    </a:cubicBezTo>
                    <a:cubicBezTo>
                      <a:pt x="3" y="10"/>
                      <a:pt x="2" y="10"/>
                      <a:pt x="2" y="9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91" name="Freeform 85"/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auto">
              <a:xfrm>
                <a:off x="4617212" y="2933965"/>
                <a:ext cx="5848" cy="7018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3"/>
                  </a:cxn>
                  <a:cxn ang="0">
                    <a:pos x="1" y="2"/>
                  </a:cxn>
                </a:cxnLst>
                <a:rect l="0" t="0" r="r" b="b"/>
                <a:pathLst>
                  <a:path w="3" h="3">
                    <a:moveTo>
                      <a:pt x="1" y="2"/>
                    </a:moveTo>
                    <a:cubicBezTo>
                      <a:pt x="1" y="0"/>
                      <a:pt x="3" y="3"/>
                      <a:pt x="3" y="3"/>
                    </a:cubicBezTo>
                    <a:cubicBezTo>
                      <a:pt x="1" y="3"/>
                      <a:pt x="0" y="2"/>
                      <a:pt x="1" y="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92" name="Freeform 86"/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4206661" y="2904724"/>
                <a:ext cx="371952" cy="436274"/>
              </a:xfrm>
              <a:custGeom>
                <a:avLst/>
                <a:gdLst/>
                <a:ahLst/>
                <a:cxnLst>
                  <a:cxn ang="0">
                    <a:pos x="0" y="102"/>
                  </a:cxn>
                  <a:cxn ang="0">
                    <a:pos x="0" y="106"/>
                  </a:cxn>
                  <a:cxn ang="0">
                    <a:pos x="32" y="129"/>
                  </a:cxn>
                  <a:cxn ang="0">
                    <a:pos x="77" y="168"/>
                  </a:cxn>
                  <a:cxn ang="0">
                    <a:pos x="80" y="173"/>
                  </a:cxn>
                  <a:cxn ang="0">
                    <a:pos x="85" y="178"/>
                  </a:cxn>
                  <a:cxn ang="0">
                    <a:pos x="91" y="181"/>
                  </a:cxn>
                  <a:cxn ang="0">
                    <a:pos x="94" y="188"/>
                  </a:cxn>
                  <a:cxn ang="0">
                    <a:pos x="102" y="188"/>
                  </a:cxn>
                  <a:cxn ang="0">
                    <a:pos x="129" y="171"/>
                  </a:cxn>
                  <a:cxn ang="0">
                    <a:pos x="164" y="145"/>
                  </a:cxn>
                  <a:cxn ang="0">
                    <a:pos x="158" y="136"/>
                  </a:cxn>
                  <a:cxn ang="0">
                    <a:pos x="148" y="133"/>
                  </a:cxn>
                  <a:cxn ang="0">
                    <a:pos x="145" y="122"/>
                  </a:cxn>
                  <a:cxn ang="0">
                    <a:pos x="147" y="109"/>
                  </a:cxn>
                  <a:cxn ang="0">
                    <a:pos x="147" y="98"/>
                  </a:cxn>
                  <a:cxn ang="0">
                    <a:pos x="144" y="75"/>
                  </a:cxn>
                  <a:cxn ang="0">
                    <a:pos x="133" y="49"/>
                  </a:cxn>
                  <a:cxn ang="0">
                    <a:pos x="127" y="36"/>
                  </a:cxn>
                  <a:cxn ang="0">
                    <a:pos x="133" y="28"/>
                  </a:cxn>
                  <a:cxn ang="0">
                    <a:pos x="135" y="18"/>
                  </a:cxn>
                  <a:cxn ang="0">
                    <a:pos x="133" y="10"/>
                  </a:cxn>
                  <a:cxn ang="0">
                    <a:pos x="136" y="4"/>
                  </a:cxn>
                  <a:cxn ang="0">
                    <a:pos x="132" y="5"/>
                  </a:cxn>
                  <a:cxn ang="0">
                    <a:pos x="127" y="2"/>
                  </a:cxn>
                  <a:cxn ang="0">
                    <a:pos x="123" y="4"/>
                  </a:cxn>
                  <a:cxn ang="0">
                    <a:pos x="115" y="5"/>
                  </a:cxn>
                  <a:cxn ang="0">
                    <a:pos x="109" y="7"/>
                  </a:cxn>
                  <a:cxn ang="0">
                    <a:pos x="98" y="5"/>
                  </a:cxn>
                  <a:cxn ang="0">
                    <a:pos x="91" y="7"/>
                  </a:cxn>
                  <a:cxn ang="0">
                    <a:pos x="83" y="8"/>
                  </a:cxn>
                  <a:cxn ang="0">
                    <a:pos x="70" y="14"/>
                  </a:cxn>
                  <a:cxn ang="0">
                    <a:pos x="65" y="16"/>
                  </a:cxn>
                  <a:cxn ang="0">
                    <a:pos x="59" y="19"/>
                  </a:cxn>
                  <a:cxn ang="0">
                    <a:pos x="51" y="24"/>
                  </a:cxn>
                  <a:cxn ang="0">
                    <a:pos x="59" y="50"/>
                  </a:cxn>
                  <a:cxn ang="0">
                    <a:pos x="59" y="55"/>
                  </a:cxn>
                  <a:cxn ang="0">
                    <a:pos x="45" y="58"/>
                  </a:cxn>
                  <a:cxn ang="0">
                    <a:pos x="38" y="63"/>
                  </a:cxn>
                  <a:cxn ang="0">
                    <a:pos x="36" y="70"/>
                  </a:cxn>
                  <a:cxn ang="0">
                    <a:pos x="27" y="77"/>
                  </a:cxn>
                  <a:cxn ang="0">
                    <a:pos x="7" y="86"/>
                  </a:cxn>
                  <a:cxn ang="0">
                    <a:pos x="0" y="91"/>
                  </a:cxn>
                  <a:cxn ang="0">
                    <a:pos x="0" y="102"/>
                  </a:cxn>
                </a:cxnLst>
                <a:rect l="0" t="0" r="r" b="b"/>
                <a:pathLst>
                  <a:path w="164" h="192">
                    <a:moveTo>
                      <a:pt x="0" y="102"/>
                    </a:moveTo>
                    <a:cubicBezTo>
                      <a:pt x="0" y="106"/>
                      <a:pt x="0" y="106"/>
                      <a:pt x="0" y="106"/>
                    </a:cubicBezTo>
                    <a:cubicBezTo>
                      <a:pt x="32" y="129"/>
                      <a:pt x="32" y="129"/>
                      <a:pt x="32" y="129"/>
                    </a:cubicBezTo>
                    <a:cubicBezTo>
                      <a:pt x="32" y="129"/>
                      <a:pt x="76" y="167"/>
                      <a:pt x="77" y="168"/>
                    </a:cubicBezTo>
                    <a:cubicBezTo>
                      <a:pt x="80" y="171"/>
                      <a:pt x="77" y="171"/>
                      <a:pt x="80" y="173"/>
                    </a:cubicBezTo>
                    <a:cubicBezTo>
                      <a:pt x="83" y="175"/>
                      <a:pt x="82" y="179"/>
                      <a:pt x="85" y="178"/>
                    </a:cubicBezTo>
                    <a:cubicBezTo>
                      <a:pt x="89" y="178"/>
                      <a:pt x="86" y="181"/>
                      <a:pt x="91" y="181"/>
                    </a:cubicBezTo>
                    <a:cubicBezTo>
                      <a:pt x="95" y="181"/>
                      <a:pt x="95" y="185"/>
                      <a:pt x="94" y="188"/>
                    </a:cubicBezTo>
                    <a:cubicBezTo>
                      <a:pt x="92" y="190"/>
                      <a:pt x="94" y="192"/>
                      <a:pt x="102" y="188"/>
                    </a:cubicBezTo>
                    <a:cubicBezTo>
                      <a:pt x="123" y="188"/>
                      <a:pt x="120" y="178"/>
                      <a:pt x="129" y="171"/>
                    </a:cubicBezTo>
                    <a:cubicBezTo>
                      <a:pt x="138" y="164"/>
                      <a:pt x="159" y="148"/>
                      <a:pt x="164" y="145"/>
                    </a:cubicBezTo>
                    <a:cubicBezTo>
                      <a:pt x="161" y="139"/>
                      <a:pt x="162" y="139"/>
                      <a:pt x="158" y="136"/>
                    </a:cubicBezTo>
                    <a:cubicBezTo>
                      <a:pt x="152" y="133"/>
                      <a:pt x="152" y="137"/>
                      <a:pt x="148" y="133"/>
                    </a:cubicBezTo>
                    <a:cubicBezTo>
                      <a:pt x="147" y="128"/>
                      <a:pt x="150" y="129"/>
                      <a:pt x="145" y="122"/>
                    </a:cubicBezTo>
                    <a:cubicBezTo>
                      <a:pt x="139" y="114"/>
                      <a:pt x="148" y="117"/>
                      <a:pt x="147" y="109"/>
                    </a:cubicBezTo>
                    <a:cubicBezTo>
                      <a:pt x="145" y="105"/>
                      <a:pt x="148" y="103"/>
                      <a:pt x="147" y="98"/>
                    </a:cubicBezTo>
                    <a:cubicBezTo>
                      <a:pt x="145" y="92"/>
                      <a:pt x="148" y="89"/>
                      <a:pt x="144" y="75"/>
                    </a:cubicBezTo>
                    <a:cubicBezTo>
                      <a:pt x="141" y="47"/>
                      <a:pt x="136" y="58"/>
                      <a:pt x="133" y="49"/>
                    </a:cubicBezTo>
                    <a:cubicBezTo>
                      <a:pt x="133" y="46"/>
                      <a:pt x="127" y="39"/>
                      <a:pt x="127" y="36"/>
                    </a:cubicBezTo>
                    <a:cubicBezTo>
                      <a:pt x="129" y="33"/>
                      <a:pt x="133" y="30"/>
                      <a:pt x="133" y="28"/>
                    </a:cubicBezTo>
                    <a:cubicBezTo>
                      <a:pt x="133" y="22"/>
                      <a:pt x="136" y="25"/>
                      <a:pt x="135" y="18"/>
                    </a:cubicBezTo>
                    <a:cubicBezTo>
                      <a:pt x="133" y="13"/>
                      <a:pt x="135" y="10"/>
                      <a:pt x="133" y="10"/>
                    </a:cubicBezTo>
                    <a:cubicBezTo>
                      <a:pt x="132" y="8"/>
                      <a:pt x="136" y="7"/>
                      <a:pt x="136" y="4"/>
                    </a:cubicBezTo>
                    <a:cubicBezTo>
                      <a:pt x="135" y="4"/>
                      <a:pt x="133" y="4"/>
                      <a:pt x="132" y="5"/>
                    </a:cubicBezTo>
                    <a:cubicBezTo>
                      <a:pt x="130" y="7"/>
                      <a:pt x="130" y="4"/>
                      <a:pt x="127" y="2"/>
                    </a:cubicBezTo>
                    <a:cubicBezTo>
                      <a:pt x="124" y="0"/>
                      <a:pt x="126" y="5"/>
                      <a:pt x="123" y="4"/>
                    </a:cubicBezTo>
                    <a:cubicBezTo>
                      <a:pt x="118" y="2"/>
                      <a:pt x="120" y="4"/>
                      <a:pt x="115" y="5"/>
                    </a:cubicBezTo>
                    <a:cubicBezTo>
                      <a:pt x="111" y="5"/>
                      <a:pt x="112" y="8"/>
                      <a:pt x="109" y="7"/>
                    </a:cubicBezTo>
                    <a:cubicBezTo>
                      <a:pt x="108" y="4"/>
                      <a:pt x="102" y="4"/>
                      <a:pt x="98" y="5"/>
                    </a:cubicBezTo>
                    <a:cubicBezTo>
                      <a:pt x="94" y="7"/>
                      <a:pt x="92" y="4"/>
                      <a:pt x="91" y="7"/>
                    </a:cubicBezTo>
                    <a:cubicBezTo>
                      <a:pt x="89" y="8"/>
                      <a:pt x="88" y="8"/>
                      <a:pt x="83" y="8"/>
                    </a:cubicBezTo>
                    <a:cubicBezTo>
                      <a:pt x="77" y="8"/>
                      <a:pt x="70" y="11"/>
                      <a:pt x="70" y="14"/>
                    </a:cubicBezTo>
                    <a:cubicBezTo>
                      <a:pt x="68" y="19"/>
                      <a:pt x="67" y="14"/>
                      <a:pt x="65" y="16"/>
                    </a:cubicBezTo>
                    <a:cubicBezTo>
                      <a:pt x="62" y="19"/>
                      <a:pt x="62" y="14"/>
                      <a:pt x="59" y="19"/>
                    </a:cubicBezTo>
                    <a:cubicBezTo>
                      <a:pt x="58" y="21"/>
                      <a:pt x="54" y="25"/>
                      <a:pt x="51" y="24"/>
                    </a:cubicBezTo>
                    <a:cubicBezTo>
                      <a:pt x="58" y="27"/>
                      <a:pt x="53" y="47"/>
                      <a:pt x="59" y="50"/>
                    </a:cubicBezTo>
                    <a:cubicBezTo>
                      <a:pt x="62" y="52"/>
                      <a:pt x="59" y="52"/>
                      <a:pt x="59" y="55"/>
                    </a:cubicBezTo>
                    <a:cubicBezTo>
                      <a:pt x="59" y="58"/>
                      <a:pt x="48" y="53"/>
                      <a:pt x="45" y="58"/>
                    </a:cubicBezTo>
                    <a:cubicBezTo>
                      <a:pt x="42" y="61"/>
                      <a:pt x="36" y="58"/>
                      <a:pt x="38" y="63"/>
                    </a:cubicBezTo>
                    <a:cubicBezTo>
                      <a:pt x="41" y="67"/>
                      <a:pt x="42" y="67"/>
                      <a:pt x="36" y="70"/>
                    </a:cubicBezTo>
                    <a:cubicBezTo>
                      <a:pt x="30" y="72"/>
                      <a:pt x="30" y="72"/>
                      <a:pt x="27" y="77"/>
                    </a:cubicBezTo>
                    <a:cubicBezTo>
                      <a:pt x="27" y="78"/>
                      <a:pt x="9" y="83"/>
                      <a:pt x="7" y="86"/>
                    </a:cubicBezTo>
                    <a:cubicBezTo>
                      <a:pt x="0" y="91"/>
                      <a:pt x="0" y="91"/>
                      <a:pt x="0" y="91"/>
                    </a:cubicBezTo>
                    <a:cubicBezTo>
                      <a:pt x="0" y="102"/>
                      <a:pt x="0" y="102"/>
                      <a:pt x="0" y="102"/>
                    </a:cubicBezTo>
                    <a:close/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93" name="Freeform 87"/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4494398" y="2902385"/>
                <a:ext cx="79537" cy="173106"/>
              </a:xfrm>
              <a:custGeom>
                <a:avLst/>
                <a:gdLst/>
                <a:ahLst/>
                <a:cxnLst>
                  <a:cxn ang="0">
                    <a:pos x="9" y="5"/>
                  </a:cxn>
                  <a:cxn ang="0">
                    <a:pos x="6" y="11"/>
                  </a:cxn>
                  <a:cxn ang="0">
                    <a:pos x="8" y="19"/>
                  </a:cxn>
                  <a:cxn ang="0">
                    <a:pos x="6" y="30"/>
                  </a:cxn>
                  <a:cxn ang="0">
                    <a:pos x="0" y="37"/>
                  </a:cxn>
                  <a:cxn ang="0">
                    <a:pos x="6" y="50"/>
                  </a:cxn>
                  <a:cxn ang="0">
                    <a:pos x="17" y="76"/>
                  </a:cxn>
                  <a:cxn ang="0">
                    <a:pos x="23" y="61"/>
                  </a:cxn>
                  <a:cxn ang="0">
                    <a:pos x="32" y="54"/>
                  </a:cxn>
                  <a:cxn ang="0">
                    <a:pos x="34" y="47"/>
                  </a:cxn>
                  <a:cxn ang="0">
                    <a:pos x="29" y="42"/>
                  </a:cxn>
                  <a:cxn ang="0">
                    <a:pos x="28" y="40"/>
                  </a:cxn>
                  <a:cxn ang="0">
                    <a:pos x="21" y="36"/>
                  </a:cxn>
                  <a:cxn ang="0">
                    <a:pos x="29" y="23"/>
                  </a:cxn>
                  <a:cxn ang="0">
                    <a:pos x="26" y="17"/>
                  </a:cxn>
                  <a:cxn ang="0">
                    <a:pos x="25" y="11"/>
                  </a:cxn>
                  <a:cxn ang="0">
                    <a:pos x="29" y="5"/>
                  </a:cxn>
                  <a:cxn ang="0">
                    <a:pos x="23" y="8"/>
                  </a:cxn>
                  <a:cxn ang="0">
                    <a:pos x="20" y="2"/>
                  </a:cxn>
                  <a:cxn ang="0">
                    <a:pos x="11" y="5"/>
                  </a:cxn>
                  <a:cxn ang="0">
                    <a:pos x="9" y="5"/>
                  </a:cxn>
                </a:cxnLst>
                <a:rect l="0" t="0" r="r" b="b"/>
                <a:pathLst>
                  <a:path w="35" h="76">
                    <a:moveTo>
                      <a:pt x="9" y="5"/>
                    </a:moveTo>
                    <a:cubicBezTo>
                      <a:pt x="9" y="8"/>
                      <a:pt x="5" y="9"/>
                      <a:pt x="6" y="11"/>
                    </a:cubicBezTo>
                    <a:cubicBezTo>
                      <a:pt x="8" y="11"/>
                      <a:pt x="6" y="14"/>
                      <a:pt x="8" y="19"/>
                    </a:cubicBezTo>
                    <a:cubicBezTo>
                      <a:pt x="9" y="26"/>
                      <a:pt x="6" y="23"/>
                      <a:pt x="6" y="30"/>
                    </a:cubicBezTo>
                    <a:cubicBezTo>
                      <a:pt x="6" y="31"/>
                      <a:pt x="2" y="34"/>
                      <a:pt x="0" y="37"/>
                    </a:cubicBezTo>
                    <a:cubicBezTo>
                      <a:pt x="0" y="40"/>
                      <a:pt x="6" y="47"/>
                      <a:pt x="6" y="50"/>
                    </a:cubicBezTo>
                    <a:cubicBezTo>
                      <a:pt x="9" y="59"/>
                      <a:pt x="14" y="48"/>
                      <a:pt x="17" y="76"/>
                    </a:cubicBezTo>
                    <a:cubicBezTo>
                      <a:pt x="28" y="70"/>
                      <a:pt x="18" y="65"/>
                      <a:pt x="23" y="61"/>
                    </a:cubicBezTo>
                    <a:cubicBezTo>
                      <a:pt x="28" y="57"/>
                      <a:pt x="29" y="56"/>
                      <a:pt x="32" y="54"/>
                    </a:cubicBezTo>
                    <a:cubicBezTo>
                      <a:pt x="35" y="53"/>
                      <a:pt x="31" y="51"/>
                      <a:pt x="34" y="47"/>
                    </a:cubicBezTo>
                    <a:cubicBezTo>
                      <a:pt x="31" y="45"/>
                      <a:pt x="31" y="45"/>
                      <a:pt x="29" y="42"/>
                    </a:cubicBezTo>
                    <a:cubicBezTo>
                      <a:pt x="29" y="39"/>
                      <a:pt x="28" y="42"/>
                      <a:pt x="28" y="40"/>
                    </a:cubicBezTo>
                    <a:cubicBezTo>
                      <a:pt x="26" y="40"/>
                      <a:pt x="21" y="40"/>
                      <a:pt x="21" y="36"/>
                    </a:cubicBezTo>
                    <a:cubicBezTo>
                      <a:pt x="20" y="33"/>
                      <a:pt x="32" y="26"/>
                      <a:pt x="29" y="23"/>
                    </a:cubicBezTo>
                    <a:cubicBezTo>
                      <a:pt x="28" y="20"/>
                      <a:pt x="31" y="20"/>
                      <a:pt x="26" y="17"/>
                    </a:cubicBezTo>
                    <a:cubicBezTo>
                      <a:pt x="23" y="16"/>
                      <a:pt x="23" y="12"/>
                      <a:pt x="25" y="11"/>
                    </a:cubicBezTo>
                    <a:cubicBezTo>
                      <a:pt x="28" y="9"/>
                      <a:pt x="31" y="6"/>
                      <a:pt x="29" y="5"/>
                    </a:cubicBezTo>
                    <a:cubicBezTo>
                      <a:pt x="28" y="2"/>
                      <a:pt x="25" y="8"/>
                      <a:pt x="23" y="8"/>
                    </a:cubicBezTo>
                    <a:cubicBezTo>
                      <a:pt x="21" y="6"/>
                      <a:pt x="25" y="3"/>
                      <a:pt x="20" y="2"/>
                    </a:cubicBezTo>
                    <a:cubicBezTo>
                      <a:pt x="14" y="0"/>
                      <a:pt x="12" y="5"/>
                      <a:pt x="11" y="5"/>
                    </a:cubicBezTo>
                    <a:cubicBezTo>
                      <a:pt x="11" y="5"/>
                      <a:pt x="11" y="5"/>
                      <a:pt x="9" y="5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94" name="Freeform 88"/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4803188" y="3039232"/>
                <a:ext cx="205860" cy="242115"/>
              </a:xfrm>
              <a:custGeom>
                <a:avLst/>
                <a:gdLst/>
                <a:ahLst/>
                <a:cxnLst>
                  <a:cxn ang="0">
                    <a:pos x="82" y="24"/>
                  </a:cxn>
                  <a:cxn ang="0">
                    <a:pos x="77" y="41"/>
                  </a:cxn>
                  <a:cxn ang="0">
                    <a:pos x="70" y="36"/>
                  </a:cxn>
                  <a:cxn ang="0">
                    <a:pos x="67" y="27"/>
                  </a:cxn>
                  <a:cxn ang="0">
                    <a:pos x="64" y="19"/>
                  </a:cxn>
                  <a:cxn ang="0">
                    <a:pos x="64" y="27"/>
                  </a:cxn>
                  <a:cxn ang="0">
                    <a:pos x="71" y="44"/>
                  </a:cxn>
                  <a:cxn ang="0">
                    <a:pos x="74" y="52"/>
                  </a:cxn>
                  <a:cxn ang="0">
                    <a:pos x="83" y="74"/>
                  </a:cxn>
                  <a:cxn ang="0">
                    <a:pos x="88" y="82"/>
                  </a:cxn>
                  <a:cxn ang="0">
                    <a:pos x="88" y="91"/>
                  </a:cxn>
                  <a:cxn ang="0">
                    <a:pos x="82" y="96"/>
                  </a:cxn>
                  <a:cxn ang="0">
                    <a:pos x="76" y="102"/>
                  </a:cxn>
                  <a:cxn ang="0">
                    <a:pos x="68" y="102"/>
                  </a:cxn>
                  <a:cxn ang="0">
                    <a:pos x="54" y="102"/>
                  </a:cxn>
                  <a:cxn ang="0">
                    <a:pos x="54" y="100"/>
                  </a:cxn>
                  <a:cxn ang="0">
                    <a:pos x="53" y="102"/>
                  </a:cxn>
                  <a:cxn ang="0">
                    <a:pos x="4" y="102"/>
                  </a:cxn>
                  <a:cxn ang="0">
                    <a:pos x="4" y="25"/>
                  </a:cxn>
                  <a:cxn ang="0">
                    <a:pos x="3" y="14"/>
                  </a:cxn>
                  <a:cxn ang="0">
                    <a:pos x="4" y="3"/>
                  </a:cxn>
                  <a:cxn ang="0">
                    <a:pos x="16" y="3"/>
                  </a:cxn>
                  <a:cxn ang="0">
                    <a:pos x="24" y="6"/>
                  </a:cxn>
                  <a:cxn ang="0">
                    <a:pos x="30" y="8"/>
                  </a:cxn>
                  <a:cxn ang="0">
                    <a:pos x="39" y="9"/>
                  </a:cxn>
                  <a:cxn ang="0">
                    <a:pos x="45" y="5"/>
                  </a:cxn>
                  <a:cxn ang="0">
                    <a:pos x="50" y="2"/>
                  </a:cxn>
                  <a:cxn ang="0">
                    <a:pos x="56" y="3"/>
                  </a:cxn>
                  <a:cxn ang="0">
                    <a:pos x="59" y="3"/>
                  </a:cxn>
                  <a:cxn ang="0">
                    <a:pos x="61" y="5"/>
                  </a:cxn>
                  <a:cxn ang="0">
                    <a:pos x="57" y="3"/>
                  </a:cxn>
                  <a:cxn ang="0">
                    <a:pos x="57" y="5"/>
                  </a:cxn>
                  <a:cxn ang="0">
                    <a:pos x="59" y="6"/>
                  </a:cxn>
                  <a:cxn ang="0">
                    <a:pos x="61" y="6"/>
                  </a:cxn>
                  <a:cxn ang="0">
                    <a:pos x="62" y="6"/>
                  </a:cxn>
                  <a:cxn ang="0">
                    <a:pos x="68" y="6"/>
                  </a:cxn>
                  <a:cxn ang="0">
                    <a:pos x="76" y="5"/>
                  </a:cxn>
                  <a:cxn ang="0">
                    <a:pos x="77" y="6"/>
                  </a:cxn>
                  <a:cxn ang="0">
                    <a:pos x="82" y="24"/>
                  </a:cxn>
                </a:cxnLst>
                <a:rect l="0" t="0" r="r" b="b"/>
                <a:pathLst>
                  <a:path w="91" h="107">
                    <a:moveTo>
                      <a:pt x="82" y="24"/>
                    </a:moveTo>
                    <a:cubicBezTo>
                      <a:pt x="77" y="38"/>
                      <a:pt x="79" y="38"/>
                      <a:pt x="77" y="41"/>
                    </a:cubicBezTo>
                    <a:cubicBezTo>
                      <a:pt x="76" y="44"/>
                      <a:pt x="74" y="41"/>
                      <a:pt x="70" y="36"/>
                    </a:cubicBezTo>
                    <a:cubicBezTo>
                      <a:pt x="67" y="33"/>
                      <a:pt x="70" y="30"/>
                      <a:pt x="67" y="27"/>
                    </a:cubicBezTo>
                    <a:cubicBezTo>
                      <a:pt x="62" y="22"/>
                      <a:pt x="65" y="20"/>
                      <a:pt x="64" y="19"/>
                    </a:cubicBezTo>
                    <a:cubicBezTo>
                      <a:pt x="59" y="25"/>
                      <a:pt x="64" y="22"/>
                      <a:pt x="64" y="27"/>
                    </a:cubicBezTo>
                    <a:cubicBezTo>
                      <a:pt x="64" y="33"/>
                      <a:pt x="71" y="39"/>
                      <a:pt x="71" y="44"/>
                    </a:cubicBezTo>
                    <a:cubicBezTo>
                      <a:pt x="71" y="47"/>
                      <a:pt x="74" y="49"/>
                      <a:pt x="74" y="52"/>
                    </a:cubicBezTo>
                    <a:cubicBezTo>
                      <a:pt x="73" y="56"/>
                      <a:pt x="79" y="63"/>
                      <a:pt x="83" y="74"/>
                    </a:cubicBezTo>
                    <a:cubicBezTo>
                      <a:pt x="86" y="82"/>
                      <a:pt x="91" y="82"/>
                      <a:pt x="88" y="82"/>
                    </a:cubicBezTo>
                    <a:cubicBezTo>
                      <a:pt x="85" y="82"/>
                      <a:pt x="86" y="88"/>
                      <a:pt x="88" y="91"/>
                    </a:cubicBezTo>
                    <a:cubicBezTo>
                      <a:pt x="85" y="96"/>
                      <a:pt x="83" y="91"/>
                      <a:pt x="82" y="96"/>
                    </a:cubicBezTo>
                    <a:cubicBezTo>
                      <a:pt x="80" y="100"/>
                      <a:pt x="77" y="99"/>
                      <a:pt x="76" y="102"/>
                    </a:cubicBezTo>
                    <a:cubicBezTo>
                      <a:pt x="74" y="105"/>
                      <a:pt x="71" y="107"/>
                      <a:pt x="68" y="102"/>
                    </a:cubicBezTo>
                    <a:cubicBezTo>
                      <a:pt x="54" y="102"/>
                      <a:pt x="54" y="102"/>
                      <a:pt x="54" y="102"/>
                    </a:cubicBezTo>
                    <a:cubicBezTo>
                      <a:pt x="54" y="100"/>
                      <a:pt x="54" y="100"/>
                      <a:pt x="54" y="100"/>
                    </a:cubicBezTo>
                    <a:cubicBezTo>
                      <a:pt x="53" y="102"/>
                      <a:pt x="53" y="102"/>
                      <a:pt x="53" y="102"/>
                    </a:cubicBezTo>
                    <a:cubicBezTo>
                      <a:pt x="4" y="102"/>
                      <a:pt x="4" y="102"/>
                      <a:pt x="4" y="102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22"/>
                      <a:pt x="0" y="20"/>
                      <a:pt x="3" y="14"/>
                    </a:cubicBezTo>
                    <a:cubicBezTo>
                      <a:pt x="6" y="9"/>
                      <a:pt x="1" y="6"/>
                      <a:pt x="4" y="3"/>
                    </a:cubicBezTo>
                    <a:cubicBezTo>
                      <a:pt x="6" y="3"/>
                      <a:pt x="7" y="0"/>
                      <a:pt x="16" y="3"/>
                    </a:cubicBezTo>
                    <a:cubicBezTo>
                      <a:pt x="27" y="5"/>
                      <a:pt x="22" y="6"/>
                      <a:pt x="24" y="6"/>
                    </a:cubicBezTo>
                    <a:cubicBezTo>
                      <a:pt x="27" y="5"/>
                      <a:pt x="27" y="8"/>
                      <a:pt x="30" y="8"/>
                    </a:cubicBezTo>
                    <a:cubicBezTo>
                      <a:pt x="32" y="6"/>
                      <a:pt x="36" y="13"/>
                      <a:pt x="39" y="9"/>
                    </a:cubicBezTo>
                    <a:cubicBezTo>
                      <a:pt x="45" y="3"/>
                      <a:pt x="44" y="6"/>
                      <a:pt x="45" y="5"/>
                    </a:cubicBezTo>
                    <a:cubicBezTo>
                      <a:pt x="47" y="2"/>
                      <a:pt x="47" y="3"/>
                      <a:pt x="50" y="2"/>
                    </a:cubicBezTo>
                    <a:cubicBezTo>
                      <a:pt x="53" y="0"/>
                      <a:pt x="54" y="5"/>
                      <a:pt x="56" y="3"/>
                    </a:cubicBezTo>
                    <a:cubicBezTo>
                      <a:pt x="57" y="2"/>
                      <a:pt x="57" y="2"/>
                      <a:pt x="59" y="3"/>
                    </a:cubicBezTo>
                    <a:cubicBezTo>
                      <a:pt x="61" y="5"/>
                      <a:pt x="61" y="5"/>
                      <a:pt x="61" y="5"/>
                    </a:cubicBezTo>
                    <a:cubicBezTo>
                      <a:pt x="59" y="5"/>
                      <a:pt x="57" y="3"/>
                      <a:pt x="57" y="3"/>
                    </a:cubicBezTo>
                    <a:cubicBezTo>
                      <a:pt x="57" y="5"/>
                      <a:pt x="56" y="5"/>
                      <a:pt x="57" y="5"/>
                    </a:cubicBezTo>
                    <a:cubicBezTo>
                      <a:pt x="57" y="6"/>
                      <a:pt x="59" y="5"/>
                      <a:pt x="59" y="6"/>
                    </a:cubicBezTo>
                    <a:cubicBezTo>
                      <a:pt x="61" y="8"/>
                      <a:pt x="62" y="6"/>
                      <a:pt x="61" y="6"/>
                    </a:cubicBezTo>
                    <a:cubicBezTo>
                      <a:pt x="61" y="5"/>
                      <a:pt x="61" y="5"/>
                      <a:pt x="62" y="6"/>
                    </a:cubicBezTo>
                    <a:cubicBezTo>
                      <a:pt x="65" y="9"/>
                      <a:pt x="67" y="5"/>
                      <a:pt x="68" y="6"/>
                    </a:cubicBezTo>
                    <a:cubicBezTo>
                      <a:pt x="70" y="8"/>
                      <a:pt x="68" y="8"/>
                      <a:pt x="76" y="5"/>
                    </a:cubicBezTo>
                    <a:cubicBezTo>
                      <a:pt x="76" y="5"/>
                      <a:pt x="76" y="6"/>
                      <a:pt x="77" y="6"/>
                    </a:cubicBezTo>
                    <a:cubicBezTo>
                      <a:pt x="79" y="11"/>
                      <a:pt x="80" y="17"/>
                      <a:pt x="82" y="24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95" name="Freeform 89"/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5002030" y="2902385"/>
                <a:ext cx="120475" cy="122812"/>
              </a:xfrm>
              <a:custGeom>
                <a:avLst/>
                <a:gdLst/>
                <a:ahLst/>
                <a:cxnLst>
                  <a:cxn ang="0">
                    <a:pos x="2" y="29"/>
                  </a:cxn>
                  <a:cxn ang="0">
                    <a:pos x="5" y="29"/>
                  </a:cxn>
                  <a:cxn ang="0">
                    <a:pos x="5" y="29"/>
                  </a:cxn>
                  <a:cxn ang="0">
                    <a:pos x="5" y="31"/>
                  </a:cxn>
                  <a:cxn ang="0">
                    <a:pos x="8" y="34"/>
                  </a:cxn>
                  <a:cxn ang="0">
                    <a:pos x="5" y="37"/>
                  </a:cxn>
                  <a:cxn ang="0">
                    <a:pos x="6" y="39"/>
                  </a:cxn>
                  <a:cxn ang="0">
                    <a:pos x="3" y="39"/>
                  </a:cxn>
                  <a:cxn ang="0">
                    <a:pos x="2" y="40"/>
                  </a:cxn>
                  <a:cxn ang="0">
                    <a:pos x="3" y="40"/>
                  </a:cxn>
                  <a:cxn ang="0">
                    <a:pos x="0" y="45"/>
                  </a:cxn>
                  <a:cxn ang="0">
                    <a:pos x="0" y="45"/>
                  </a:cxn>
                  <a:cxn ang="0">
                    <a:pos x="0" y="45"/>
                  </a:cxn>
                  <a:cxn ang="0">
                    <a:pos x="0" y="48"/>
                  </a:cxn>
                  <a:cxn ang="0">
                    <a:pos x="0" y="49"/>
                  </a:cxn>
                  <a:cxn ang="0">
                    <a:pos x="2" y="49"/>
                  </a:cxn>
                  <a:cxn ang="0">
                    <a:pos x="3" y="52"/>
                  </a:cxn>
                  <a:cxn ang="0">
                    <a:pos x="9" y="54"/>
                  </a:cxn>
                  <a:cxn ang="0">
                    <a:pos x="18" y="48"/>
                  </a:cxn>
                  <a:cxn ang="0">
                    <a:pos x="24" y="43"/>
                  </a:cxn>
                  <a:cxn ang="0">
                    <a:pos x="35" y="37"/>
                  </a:cxn>
                  <a:cxn ang="0">
                    <a:pos x="43" y="32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4" y="26"/>
                  </a:cxn>
                  <a:cxn ang="0">
                    <a:pos x="44" y="23"/>
                  </a:cxn>
                  <a:cxn ang="0">
                    <a:pos x="46" y="17"/>
                  </a:cxn>
                  <a:cxn ang="0">
                    <a:pos x="44" y="11"/>
                  </a:cxn>
                  <a:cxn ang="0">
                    <a:pos x="49" y="9"/>
                  </a:cxn>
                  <a:cxn ang="0">
                    <a:pos x="53" y="3"/>
                  </a:cxn>
                  <a:cxn ang="0">
                    <a:pos x="53" y="2"/>
                  </a:cxn>
                  <a:cxn ang="0">
                    <a:pos x="52" y="2"/>
                  </a:cxn>
                  <a:cxn ang="0">
                    <a:pos x="47" y="3"/>
                  </a:cxn>
                  <a:cxn ang="0">
                    <a:pos x="41" y="3"/>
                  </a:cxn>
                  <a:cxn ang="0">
                    <a:pos x="27" y="8"/>
                  </a:cxn>
                  <a:cxn ang="0">
                    <a:pos x="21" y="5"/>
                  </a:cxn>
                  <a:cxn ang="0">
                    <a:pos x="14" y="8"/>
                  </a:cxn>
                  <a:cxn ang="0">
                    <a:pos x="12" y="8"/>
                  </a:cxn>
                  <a:cxn ang="0">
                    <a:pos x="8" y="6"/>
                  </a:cxn>
                  <a:cxn ang="0">
                    <a:pos x="8" y="11"/>
                  </a:cxn>
                  <a:cxn ang="0">
                    <a:pos x="8" y="12"/>
                  </a:cxn>
                  <a:cxn ang="0">
                    <a:pos x="6" y="12"/>
                  </a:cxn>
                  <a:cxn ang="0">
                    <a:pos x="3" y="17"/>
                  </a:cxn>
                  <a:cxn ang="0">
                    <a:pos x="2" y="15"/>
                  </a:cxn>
                  <a:cxn ang="0">
                    <a:pos x="2" y="22"/>
                  </a:cxn>
                  <a:cxn ang="0">
                    <a:pos x="2" y="29"/>
                  </a:cxn>
                </a:cxnLst>
                <a:rect l="0" t="0" r="r" b="b"/>
                <a:pathLst>
                  <a:path w="53" h="54">
                    <a:moveTo>
                      <a:pt x="2" y="29"/>
                    </a:moveTo>
                    <a:cubicBezTo>
                      <a:pt x="3" y="29"/>
                      <a:pt x="3" y="29"/>
                      <a:pt x="5" y="29"/>
                    </a:cubicBezTo>
                    <a:cubicBezTo>
                      <a:pt x="5" y="29"/>
                      <a:pt x="5" y="29"/>
                      <a:pt x="5" y="29"/>
                    </a:cubicBezTo>
                    <a:cubicBezTo>
                      <a:pt x="6" y="31"/>
                      <a:pt x="5" y="31"/>
                      <a:pt x="5" y="31"/>
                    </a:cubicBezTo>
                    <a:cubicBezTo>
                      <a:pt x="6" y="31"/>
                      <a:pt x="8" y="32"/>
                      <a:pt x="8" y="34"/>
                    </a:cubicBezTo>
                    <a:cubicBezTo>
                      <a:pt x="8" y="36"/>
                      <a:pt x="5" y="36"/>
                      <a:pt x="5" y="37"/>
                    </a:cubicBezTo>
                    <a:cubicBezTo>
                      <a:pt x="5" y="37"/>
                      <a:pt x="6" y="37"/>
                      <a:pt x="6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3" y="39"/>
                      <a:pt x="3" y="39"/>
                      <a:pt x="2" y="4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3" y="42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0" y="46"/>
                      <a:pt x="0" y="48"/>
                      <a:pt x="0" y="48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51"/>
                      <a:pt x="0" y="49"/>
                      <a:pt x="2" y="49"/>
                    </a:cubicBezTo>
                    <a:cubicBezTo>
                      <a:pt x="3" y="51"/>
                      <a:pt x="3" y="51"/>
                      <a:pt x="3" y="52"/>
                    </a:cubicBezTo>
                    <a:cubicBezTo>
                      <a:pt x="5" y="52"/>
                      <a:pt x="8" y="54"/>
                      <a:pt x="9" y="54"/>
                    </a:cubicBezTo>
                    <a:cubicBezTo>
                      <a:pt x="11" y="54"/>
                      <a:pt x="15" y="49"/>
                      <a:pt x="18" y="48"/>
                    </a:cubicBezTo>
                    <a:cubicBezTo>
                      <a:pt x="20" y="46"/>
                      <a:pt x="23" y="45"/>
                      <a:pt x="24" y="43"/>
                    </a:cubicBezTo>
                    <a:cubicBezTo>
                      <a:pt x="27" y="40"/>
                      <a:pt x="32" y="39"/>
                      <a:pt x="35" y="37"/>
                    </a:cubicBezTo>
                    <a:cubicBezTo>
                      <a:pt x="37" y="36"/>
                      <a:pt x="40" y="34"/>
                      <a:pt x="43" y="32"/>
                    </a:cubicBezTo>
                    <a:cubicBezTo>
                      <a:pt x="43" y="31"/>
                      <a:pt x="44" y="29"/>
                      <a:pt x="44" y="28"/>
                    </a:cubicBezTo>
                    <a:cubicBezTo>
                      <a:pt x="44" y="28"/>
                      <a:pt x="44" y="28"/>
                      <a:pt x="44" y="28"/>
                    </a:cubicBezTo>
                    <a:cubicBezTo>
                      <a:pt x="44" y="28"/>
                      <a:pt x="44" y="28"/>
                      <a:pt x="44" y="26"/>
                    </a:cubicBezTo>
                    <a:cubicBezTo>
                      <a:pt x="44" y="26"/>
                      <a:pt x="44" y="25"/>
                      <a:pt x="44" y="23"/>
                    </a:cubicBezTo>
                    <a:cubicBezTo>
                      <a:pt x="44" y="22"/>
                      <a:pt x="46" y="19"/>
                      <a:pt x="46" y="17"/>
                    </a:cubicBezTo>
                    <a:cubicBezTo>
                      <a:pt x="44" y="15"/>
                      <a:pt x="44" y="14"/>
                      <a:pt x="44" y="11"/>
                    </a:cubicBezTo>
                    <a:cubicBezTo>
                      <a:pt x="46" y="9"/>
                      <a:pt x="47" y="9"/>
                      <a:pt x="49" y="9"/>
                    </a:cubicBezTo>
                    <a:cubicBezTo>
                      <a:pt x="50" y="8"/>
                      <a:pt x="52" y="5"/>
                      <a:pt x="53" y="3"/>
                    </a:cubicBezTo>
                    <a:cubicBezTo>
                      <a:pt x="53" y="2"/>
                      <a:pt x="53" y="2"/>
                      <a:pt x="53" y="2"/>
                    </a:cubicBezTo>
                    <a:cubicBezTo>
                      <a:pt x="53" y="2"/>
                      <a:pt x="52" y="0"/>
                      <a:pt x="52" y="2"/>
                    </a:cubicBezTo>
                    <a:cubicBezTo>
                      <a:pt x="50" y="3"/>
                      <a:pt x="49" y="3"/>
                      <a:pt x="47" y="3"/>
                    </a:cubicBezTo>
                    <a:cubicBezTo>
                      <a:pt x="44" y="3"/>
                      <a:pt x="43" y="3"/>
                      <a:pt x="41" y="3"/>
                    </a:cubicBezTo>
                    <a:cubicBezTo>
                      <a:pt x="37" y="5"/>
                      <a:pt x="34" y="8"/>
                      <a:pt x="27" y="8"/>
                    </a:cubicBezTo>
                    <a:cubicBezTo>
                      <a:pt x="24" y="8"/>
                      <a:pt x="24" y="6"/>
                      <a:pt x="21" y="5"/>
                    </a:cubicBezTo>
                    <a:cubicBezTo>
                      <a:pt x="18" y="5"/>
                      <a:pt x="17" y="8"/>
                      <a:pt x="1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8"/>
                      <a:pt x="8" y="6"/>
                      <a:pt x="8" y="6"/>
                    </a:cubicBezTo>
                    <a:cubicBezTo>
                      <a:pt x="8" y="6"/>
                      <a:pt x="6" y="9"/>
                      <a:pt x="8" y="11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5" y="12"/>
                      <a:pt x="5" y="17"/>
                      <a:pt x="3" y="17"/>
                    </a:cubicBezTo>
                    <a:cubicBezTo>
                      <a:pt x="3" y="17"/>
                      <a:pt x="3" y="15"/>
                      <a:pt x="2" y="15"/>
                    </a:cubicBezTo>
                    <a:cubicBezTo>
                      <a:pt x="2" y="17"/>
                      <a:pt x="0" y="19"/>
                      <a:pt x="2" y="22"/>
                    </a:cubicBezTo>
                    <a:cubicBezTo>
                      <a:pt x="3" y="23"/>
                      <a:pt x="2" y="25"/>
                      <a:pt x="2" y="29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96" name="Freeform 90"/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4991503" y="2967884"/>
                <a:ext cx="26902" cy="38598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3" y="16"/>
                  </a:cxn>
                  <a:cxn ang="0">
                    <a:pos x="3" y="17"/>
                  </a:cxn>
                  <a:cxn ang="0">
                    <a:pos x="0" y="17"/>
                  </a:cxn>
                  <a:cxn ang="0">
                    <a:pos x="3" y="11"/>
                  </a:cxn>
                  <a:cxn ang="0">
                    <a:pos x="5" y="6"/>
                  </a:cxn>
                  <a:cxn ang="0">
                    <a:pos x="6" y="0"/>
                  </a:cxn>
                  <a:cxn ang="0">
                    <a:pos x="9" y="0"/>
                  </a:cxn>
                  <a:cxn ang="0">
                    <a:pos x="9" y="0"/>
                  </a:cxn>
                  <a:cxn ang="0">
                    <a:pos x="9" y="2"/>
                  </a:cxn>
                  <a:cxn ang="0">
                    <a:pos x="12" y="5"/>
                  </a:cxn>
                  <a:cxn ang="0">
                    <a:pos x="9" y="8"/>
                  </a:cxn>
                  <a:cxn ang="0">
                    <a:pos x="11" y="10"/>
                  </a:cxn>
                  <a:cxn ang="0">
                    <a:pos x="8" y="10"/>
                  </a:cxn>
                  <a:cxn ang="0">
                    <a:pos x="6" y="11"/>
                  </a:cxn>
                  <a:cxn ang="0">
                    <a:pos x="8" y="11"/>
                  </a:cxn>
                  <a:cxn ang="0">
                    <a:pos x="5" y="16"/>
                  </a:cxn>
                </a:cxnLst>
                <a:rect l="0" t="0" r="r" b="b"/>
                <a:pathLst>
                  <a:path w="12" h="17">
                    <a:moveTo>
                      <a:pt x="5" y="16"/>
                    </a:moveTo>
                    <a:cubicBezTo>
                      <a:pt x="3" y="16"/>
                      <a:pt x="3" y="14"/>
                      <a:pt x="3" y="16"/>
                    </a:cubicBezTo>
                    <a:cubicBezTo>
                      <a:pt x="3" y="17"/>
                      <a:pt x="3" y="17"/>
                      <a:pt x="3" y="17"/>
                    </a:cubicBezTo>
                    <a:cubicBezTo>
                      <a:pt x="3" y="17"/>
                      <a:pt x="2" y="17"/>
                      <a:pt x="0" y="17"/>
                    </a:cubicBezTo>
                    <a:cubicBezTo>
                      <a:pt x="2" y="13"/>
                      <a:pt x="2" y="14"/>
                      <a:pt x="3" y="11"/>
                    </a:cubicBezTo>
                    <a:cubicBezTo>
                      <a:pt x="3" y="6"/>
                      <a:pt x="5" y="10"/>
                      <a:pt x="5" y="6"/>
                    </a:cubicBezTo>
                    <a:cubicBezTo>
                      <a:pt x="3" y="2"/>
                      <a:pt x="8" y="3"/>
                      <a:pt x="6" y="0"/>
                    </a:cubicBezTo>
                    <a:cubicBezTo>
                      <a:pt x="8" y="0"/>
                      <a:pt x="8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11" y="2"/>
                      <a:pt x="9" y="2"/>
                      <a:pt x="9" y="2"/>
                    </a:cubicBezTo>
                    <a:cubicBezTo>
                      <a:pt x="11" y="2"/>
                      <a:pt x="12" y="3"/>
                      <a:pt x="12" y="5"/>
                    </a:cubicBezTo>
                    <a:cubicBezTo>
                      <a:pt x="12" y="6"/>
                      <a:pt x="9" y="6"/>
                      <a:pt x="9" y="8"/>
                    </a:cubicBezTo>
                    <a:cubicBezTo>
                      <a:pt x="9" y="8"/>
                      <a:pt x="11" y="8"/>
                      <a:pt x="11" y="10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8" y="10"/>
                      <a:pt x="8" y="10"/>
                      <a:pt x="6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3"/>
                      <a:pt x="5" y="16"/>
                      <a:pt x="5" y="16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97" name="Freeform 91"/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4989164" y="3000634"/>
                <a:ext cx="79537" cy="99419"/>
              </a:xfrm>
              <a:custGeom>
                <a:avLst/>
                <a:gdLst/>
                <a:ahLst/>
                <a:cxnLst>
                  <a:cxn ang="0">
                    <a:pos x="6" y="7"/>
                  </a:cxn>
                  <a:cxn ang="0">
                    <a:pos x="5" y="10"/>
                  </a:cxn>
                  <a:cxn ang="0">
                    <a:pos x="5" y="11"/>
                  </a:cxn>
                  <a:cxn ang="0">
                    <a:pos x="5" y="19"/>
                  </a:cxn>
                  <a:cxn ang="0">
                    <a:pos x="5" y="24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9" y="44"/>
                  </a:cxn>
                  <a:cxn ang="0">
                    <a:pos x="15" y="37"/>
                  </a:cxn>
                  <a:cxn ang="0">
                    <a:pos x="21" y="36"/>
                  </a:cxn>
                  <a:cxn ang="0">
                    <a:pos x="21" y="33"/>
                  </a:cxn>
                  <a:cxn ang="0">
                    <a:pos x="24" y="30"/>
                  </a:cxn>
                  <a:cxn ang="0">
                    <a:pos x="17" y="20"/>
                  </a:cxn>
                  <a:cxn ang="0">
                    <a:pos x="21" y="19"/>
                  </a:cxn>
                  <a:cxn ang="0">
                    <a:pos x="33" y="13"/>
                  </a:cxn>
                  <a:cxn ang="0">
                    <a:pos x="35" y="13"/>
                  </a:cxn>
                  <a:cxn ang="0">
                    <a:pos x="32" y="11"/>
                  </a:cxn>
                  <a:cxn ang="0">
                    <a:pos x="32" y="10"/>
                  </a:cxn>
                  <a:cxn ang="0">
                    <a:pos x="33" y="10"/>
                  </a:cxn>
                  <a:cxn ang="0">
                    <a:pos x="33" y="8"/>
                  </a:cxn>
                  <a:cxn ang="0">
                    <a:pos x="30" y="0"/>
                  </a:cxn>
                  <a:cxn ang="0">
                    <a:pos x="24" y="5"/>
                  </a:cxn>
                  <a:cxn ang="0">
                    <a:pos x="15" y="11"/>
                  </a:cxn>
                  <a:cxn ang="0">
                    <a:pos x="9" y="10"/>
                  </a:cxn>
                  <a:cxn ang="0">
                    <a:pos x="8" y="7"/>
                  </a:cxn>
                  <a:cxn ang="0">
                    <a:pos x="6" y="7"/>
                  </a:cxn>
                </a:cxnLst>
                <a:rect l="0" t="0" r="r" b="b"/>
                <a:pathLst>
                  <a:path w="35" h="44">
                    <a:moveTo>
                      <a:pt x="6" y="7"/>
                    </a:moveTo>
                    <a:cubicBezTo>
                      <a:pt x="5" y="7"/>
                      <a:pt x="5" y="8"/>
                      <a:pt x="5" y="10"/>
                    </a:cubicBezTo>
                    <a:cubicBezTo>
                      <a:pt x="5" y="11"/>
                      <a:pt x="5" y="11"/>
                      <a:pt x="5" y="11"/>
                    </a:cubicBezTo>
                    <a:cubicBezTo>
                      <a:pt x="5" y="13"/>
                      <a:pt x="6" y="17"/>
                      <a:pt x="5" y="19"/>
                    </a:cubicBezTo>
                    <a:cubicBezTo>
                      <a:pt x="5" y="20"/>
                      <a:pt x="5" y="22"/>
                      <a:pt x="5" y="24"/>
                    </a:cubicBezTo>
                    <a:cubicBezTo>
                      <a:pt x="5" y="25"/>
                      <a:pt x="2" y="30"/>
                      <a:pt x="2" y="34"/>
                    </a:cubicBezTo>
                    <a:cubicBezTo>
                      <a:pt x="2" y="36"/>
                      <a:pt x="0" y="40"/>
                      <a:pt x="0" y="40"/>
                    </a:cubicBezTo>
                    <a:cubicBezTo>
                      <a:pt x="0" y="40"/>
                      <a:pt x="0" y="40"/>
                      <a:pt x="0" y="42"/>
                    </a:cubicBezTo>
                    <a:cubicBezTo>
                      <a:pt x="2" y="42"/>
                      <a:pt x="8" y="44"/>
                      <a:pt x="9" y="44"/>
                    </a:cubicBezTo>
                    <a:cubicBezTo>
                      <a:pt x="12" y="44"/>
                      <a:pt x="12" y="39"/>
                      <a:pt x="15" y="37"/>
                    </a:cubicBezTo>
                    <a:cubicBezTo>
                      <a:pt x="15" y="36"/>
                      <a:pt x="20" y="37"/>
                      <a:pt x="21" y="36"/>
                    </a:cubicBezTo>
                    <a:cubicBezTo>
                      <a:pt x="21" y="34"/>
                      <a:pt x="21" y="33"/>
                      <a:pt x="21" y="33"/>
                    </a:cubicBezTo>
                    <a:cubicBezTo>
                      <a:pt x="23" y="31"/>
                      <a:pt x="24" y="31"/>
                      <a:pt x="24" y="30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19"/>
                      <a:pt x="20" y="19"/>
                      <a:pt x="21" y="19"/>
                    </a:cubicBezTo>
                    <a:cubicBezTo>
                      <a:pt x="23" y="17"/>
                      <a:pt x="32" y="16"/>
                      <a:pt x="33" y="13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5" y="10"/>
                      <a:pt x="33" y="11"/>
                      <a:pt x="32" y="11"/>
                    </a:cubicBezTo>
                    <a:cubicBezTo>
                      <a:pt x="32" y="10"/>
                      <a:pt x="32" y="10"/>
                      <a:pt x="32" y="10"/>
                    </a:cubicBezTo>
                    <a:cubicBezTo>
                      <a:pt x="33" y="10"/>
                      <a:pt x="33" y="10"/>
                      <a:pt x="33" y="10"/>
                    </a:cubicBezTo>
                    <a:cubicBezTo>
                      <a:pt x="33" y="10"/>
                      <a:pt x="33" y="10"/>
                      <a:pt x="33" y="8"/>
                    </a:cubicBezTo>
                    <a:cubicBezTo>
                      <a:pt x="32" y="7"/>
                      <a:pt x="32" y="4"/>
                      <a:pt x="30" y="0"/>
                    </a:cubicBezTo>
                    <a:cubicBezTo>
                      <a:pt x="29" y="2"/>
                      <a:pt x="26" y="4"/>
                      <a:pt x="24" y="5"/>
                    </a:cubicBezTo>
                    <a:cubicBezTo>
                      <a:pt x="21" y="7"/>
                      <a:pt x="17" y="11"/>
                      <a:pt x="15" y="11"/>
                    </a:cubicBezTo>
                    <a:cubicBezTo>
                      <a:pt x="14" y="11"/>
                      <a:pt x="11" y="10"/>
                      <a:pt x="9" y="10"/>
                    </a:cubicBezTo>
                    <a:cubicBezTo>
                      <a:pt x="9" y="8"/>
                      <a:pt x="9" y="8"/>
                      <a:pt x="8" y="7"/>
                    </a:cubicBezTo>
                    <a:cubicBezTo>
                      <a:pt x="6" y="7"/>
                      <a:pt x="6" y="8"/>
                      <a:pt x="6" y="7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98" name="Freeform 92"/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5100281" y="3490712"/>
                <a:ext cx="192994" cy="307615"/>
              </a:xfrm>
              <a:custGeom>
                <a:avLst/>
                <a:gdLst/>
                <a:ahLst/>
                <a:cxnLst>
                  <a:cxn ang="0">
                    <a:pos x="5" y="136"/>
                  </a:cxn>
                  <a:cxn ang="0">
                    <a:pos x="0" y="126"/>
                  </a:cxn>
                  <a:cxn ang="0">
                    <a:pos x="0" y="92"/>
                  </a:cxn>
                  <a:cxn ang="0">
                    <a:pos x="8" y="81"/>
                  </a:cxn>
                  <a:cxn ang="0">
                    <a:pos x="12" y="78"/>
                  </a:cxn>
                  <a:cxn ang="0">
                    <a:pos x="18" y="73"/>
                  </a:cxn>
                  <a:cxn ang="0">
                    <a:pos x="33" y="69"/>
                  </a:cxn>
                  <a:cxn ang="0">
                    <a:pos x="49" y="48"/>
                  </a:cxn>
                  <a:cxn ang="0">
                    <a:pos x="53" y="41"/>
                  </a:cxn>
                  <a:cxn ang="0">
                    <a:pos x="38" y="38"/>
                  </a:cxn>
                  <a:cxn ang="0">
                    <a:pos x="23" y="30"/>
                  </a:cxn>
                  <a:cxn ang="0">
                    <a:pos x="18" y="25"/>
                  </a:cxn>
                  <a:cxn ang="0">
                    <a:pos x="15" y="20"/>
                  </a:cxn>
                  <a:cxn ang="0">
                    <a:pos x="15" y="13"/>
                  </a:cxn>
                  <a:cxn ang="0">
                    <a:pos x="18" y="6"/>
                  </a:cxn>
                  <a:cxn ang="0">
                    <a:pos x="27" y="17"/>
                  </a:cxn>
                  <a:cxn ang="0">
                    <a:pos x="41" y="14"/>
                  </a:cxn>
                  <a:cxn ang="0">
                    <a:pos x="53" y="11"/>
                  </a:cxn>
                  <a:cxn ang="0">
                    <a:pos x="62" y="8"/>
                  </a:cxn>
                  <a:cxn ang="0">
                    <a:pos x="79" y="3"/>
                  </a:cxn>
                  <a:cxn ang="0">
                    <a:pos x="80" y="16"/>
                  </a:cxn>
                  <a:cxn ang="0">
                    <a:pos x="77" y="24"/>
                  </a:cxn>
                  <a:cxn ang="0">
                    <a:pos x="68" y="48"/>
                  </a:cxn>
                  <a:cxn ang="0">
                    <a:pos x="35" y="98"/>
                  </a:cxn>
                  <a:cxn ang="0">
                    <a:pos x="12" y="122"/>
                  </a:cxn>
                  <a:cxn ang="0">
                    <a:pos x="5" y="136"/>
                  </a:cxn>
                </a:cxnLst>
                <a:rect l="0" t="0" r="r" b="b"/>
                <a:pathLst>
                  <a:path w="85" h="136">
                    <a:moveTo>
                      <a:pt x="5" y="136"/>
                    </a:moveTo>
                    <a:cubicBezTo>
                      <a:pt x="3" y="131"/>
                      <a:pt x="0" y="133"/>
                      <a:pt x="0" y="126"/>
                    </a:cubicBezTo>
                    <a:cubicBezTo>
                      <a:pt x="0" y="119"/>
                      <a:pt x="0" y="92"/>
                      <a:pt x="0" y="92"/>
                    </a:cubicBezTo>
                    <a:cubicBezTo>
                      <a:pt x="0" y="92"/>
                      <a:pt x="5" y="84"/>
                      <a:pt x="8" y="81"/>
                    </a:cubicBezTo>
                    <a:cubicBezTo>
                      <a:pt x="9" y="78"/>
                      <a:pt x="9" y="78"/>
                      <a:pt x="12" y="78"/>
                    </a:cubicBezTo>
                    <a:cubicBezTo>
                      <a:pt x="18" y="78"/>
                      <a:pt x="11" y="77"/>
                      <a:pt x="18" y="73"/>
                    </a:cubicBezTo>
                    <a:cubicBezTo>
                      <a:pt x="27" y="69"/>
                      <a:pt x="27" y="77"/>
                      <a:pt x="33" y="69"/>
                    </a:cubicBezTo>
                    <a:cubicBezTo>
                      <a:pt x="39" y="61"/>
                      <a:pt x="42" y="56"/>
                      <a:pt x="49" y="48"/>
                    </a:cubicBezTo>
                    <a:cubicBezTo>
                      <a:pt x="56" y="41"/>
                      <a:pt x="56" y="41"/>
                      <a:pt x="53" y="41"/>
                    </a:cubicBezTo>
                    <a:cubicBezTo>
                      <a:pt x="52" y="41"/>
                      <a:pt x="49" y="42"/>
                      <a:pt x="38" y="38"/>
                    </a:cubicBezTo>
                    <a:cubicBezTo>
                      <a:pt x="27" y="33"/>
                      <a:pt x="26" y="34"/>
                      <a:pt x="23" y="30"/>
                    </a:cubicBezTo>
                    <a:cubicBezTo>
                      <a:pt x="20" y="27"/>
                      <a:pt x="18" y="28"/>
                      <a:pt x="18" y="25"/>
                    </a:cubicBezTo>
                    <a:cubicBezTo>
                      <a:pt x="17" y="22"/>
                      <a:pt x="17" y="24"/>
                      <a:pt x="15" y="20"/>
                    </a:cubicBezTo>
                    <a:cubicBezTo>
                      <a:pt x="14" y="16"/>
                      <a:pt x="12" y="16"/>
                      <a:pt x="15" y="13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21" y="11"/>
                      <a:pt x="20" y="14"/>
                      <a:pt x="27" y="17"/>
                    </a:cubicBezTo>
                    <a:cubicBezTo>
                      <a:pt x="32" y="20"/>
                      <a:pt x="33" y="11"/>
                      <a:pt x="41" y="14"/>
                    </a:cubicBezTo>
                    <a:cubicBezTo>
                      <a:pt x="47" y="17"/>
                      <a:pt x="45" y="10"/>
                      <a:pt x="53" y="11"/>
                    </a:cubicBezTo>
                    <a:cubicBezTo>
                      <a:pt x="61" y="11"/>
                      <a:pt x="52" y="8"/>
                      <a:pt x="62" y="8"/>
                    </a:cubicBezTo>
                    <a:cubicBezTo>
                      <a:pt x="73" y="10"/>
                      <a:pt x="74" y="0"/>
                      <a:pt x="79" y="3"/>
                    </a:cubicBezTo>
                    <a:cubicBezTo>
                      <a:pt x="83" y="5"/>
                      <a:pt x="76" y="8"/>
                      <a:pt x="80" y="16"/>
                    </a:cubicBezTo>
                    <a:cubicBezTo>
                      <a:pt x="85" y="22"/>
                      <a:pt x="79" y="13"/>
                      <a:pt x="77" y="24"/>
                    </a:cubicBezTo>
                    <a:cubicBezTo>
                      <a:pt x="77" y="30"/>
                      <a:pt x="73" y="34"/>
                      <a:pt x="68" y="48"/>
                    </a:cubicBezTo>
                    <a:cubicBezTo>
                      <a:pt x="59" y="72"/>
                      <a:pt x="47" y="89"/>
                      <a:pt x="35" y="98"/>
                    </a:cubicBezTo>
                    <a:cubicBezTo>
                      <a:pt x="21" y="109"/>
                      <a:pt x="21" y="111"/>
                      <a:pt x="12" y="122"/>
                    </a:cubicBezTo>
                    <a:cubicBezTo>
                      <a:pt x="5" y="131"/>
                      <a:pt x="9" y="130"/>
                      <a:pt x="5" y="136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899" name="Freeform 93"/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4948225" y="3424043"/>
                <a:ext cx="278379" cy="265508"/>
              </a:xfrm>
              <a:custGeom>
                <a:avLst/>
                <a:gdLst/>
                <a:ahLst/>
                <a:cxnLst>
                  <a:cxn ang="0">
                    <a:pos x="26" y="104"/>
                  </a:cxn>
                  <a:cxn ang="0">
                    <a:pos x="38" y="109"/>
                  </a:cxn>
                  <a:cxn ang="0">
                    <a:pos x="49" y="114"/>
                  </a:cxn>
                  <a:cxn ang="0">
                    <a:pos x="53" y="115"/>
                  </a:cxn>
                  <a:cxn ang="0">
                    <a:pos x="61" y="109"/>
                  </a:cxn>
                  <a:cxn ang="0">
                    <a:pos x="67" y="109"/>
                  </a:cxn>
                  <a:cxn ang="0">
                    <a:pos x="75" y="110"/>
                  </a:cxn>
                  <a:cxn ang="0">
                    <a:pos x="79" y="107"/>
                  </a:cxn>
                  <a:cxn ang="0">
                    <a:pos x="85" y="103"/>
                  </a:cxn>
                  <a:cxn ang="0">
                    <a:pos x="101" y="98"/>
                  </a:cxn>
                  <a:cxn ang="0">
                    <a:pos x="116" y="78"/>
                  </a:cxn>
                  <a:cxn ang="0">
                    <a:pos x="120" y="70"/>
                  </a:cxn>
                  <a:cxn ang="0">
                    <a:pos x="105" y="67"/>
                  </a:cxn>
                  <a:cxn ang="0">
                    <a:pos x="90" y="59"/>
                  </a:cxn>
                  <a:cxn ang="0">
                    <a:pos x="85" y="54"/>
                  </a:cxn>
                  <a:cxn ang="0">
                    <a:pos x="82" y="50"/>
                  </a:cxn>
                  <a:cxn ang="0">
                    <a:pos x="82" y="42"/>
                  </a:cxn>
                  <a:cxn ang="0">
                    <a:pos x="73" y="40"/>
                  </a:cxn>
                  <a:cxn ang="0">
                    <a:pos x="78" y="26"/>
                  </a:cxn>
                  <a:cxn ang="0">
                    <a:pos x="72" y="17"/>
                  </a:cxn>
                  <a:cxn ang="0">
                    <a:pos x="64" y="9"/>
                  </a:cxn>
                  <a:cxn ang="0">
                    <a:pos x="56" y="6"/>
                  </a:cxn>
                  <a:cxn ang="0">
                    <a:pos x="52" y="6"/>
                  </a:cxn>
                  <a:cxn ang="0">
                    <a:pos x="44" y="3"/>
                  </a:cxn>
                  <a:cxn ang="0">
                    <a:pos x="38" y="7"/>
                  </a:cxn>
                  <a:cxn ang="0">
                    <a:pos x="32" y="7"/>
                  </a:cxn>
                  <a:cxn ang="0">
                    <a:pos x="29" y="23"/>
                  </a:cxn>
                  <a:cxn ang="0">
                    <a:pos x="21" y="31"/>
                  </a:cxn>
                  <a:cxn ang="0">
                    <a:pos x="18" y="43"/>
                  </a:cxn>
                  <a:cxn ang="0">
                    <a:pos x="14" y="43"/>
                  </a:cxn>
                  <a:cxn ang="0">
                    <a:pos x="14" y="51"/>
                  </a:cxn>
                  <a:cxn ang="0">
                    <a:pos x="9" y="67"/>
                  </a:cxn>
                  <a:cxn ang="0">
                    <a:pos x="5" y="70"/>
                  </a:cxn>
                  <a:cxn ang="0">
                    <a:pos x="12" y="78"/>
                  </a:cxn>
                  <a:cxn ang="0">
                    <a:pos x="18" y="87"/>
                  </a:cxn>
                  <a:cxn ang="0">
                    <a:pos x="24" y="96"/>
                  </a:cxn>
                  <a:cxn ang="0">
                    <a:pos x="26" y="104"/>
                  </a:cxn>
                </a:cxnLst>
                <a:rect l="0" t="0" r="r" b="b"/>
                <a:pathLst>
                  <a:path w="123" h="117">
                    <a:moveTo>
                      <a:pt x="26" y="104"/>
                    </a:moveTo>
                    <a:cubicBezTo>
                      <a:pt x="31" y="109"/>
                      <a:pt x="31" y="101"/>
                      <a:pt x="38" y="109"/>
                    </a:cubicBezTo>
                    <a:cubicBezTo>
                      <a:pt x="46" y="117"/>
                      <a:pt x="46" y="112"/>
                      <a:pt x="49" y="114"/>
                    </a:cubicBezTo>
                    <a:cubicBezTo>
                      <a:pt x="52" y="115"/>
                      <a:pt x="53" y="114"/>
                      <a:pt x="53" y="115"/>
                    </a:cubicBezTo>
                    <a:cubicBezTo>
                      <a:pt x="56" y="117"/>
                      <a:pt x="55" y="112"/>
                      <a:pt x="61" y="109"/>
                    </a:cubicBezTo>
                    <a:cubicBezTo>
                      <a:pt x="66" y="106"/>
                      <a:pt x="66" y="107"/>
                      <a:pt x="67" y="109"/>
                    </a:cubicBezTo>
                    <a:cubicBezTo>
                      <a:pt x="69" y="110"/>
                      <a:pt x="72" y="110"/>
                      <a:pt x="75" y="110"/>
                    </a:cubicBezTo>
                    <a:cubicBezTo>
                      <a:pt x="76" y="107"/>
                      <a:pt x="76" y="107"/>
                      <a:pt x="79" y="107"/>
                    </a:cubicBezTo>
                    <a:cubicBezTo>
                      <a:pt x="85" y="107"/>
                      <a:pt x="78" y="106"/>
                      <a:pt x="85" y="103"/>
                    </a:cubicBezTo>
                    <a:cubicBezTo>
                      <a:pt x="94" y="98"/>
                      <a:pt x="94" y="106"/>
                      <a:pt x="101" y="98"/>
                    </a:cubicBezTo>
                    <a:cubicBezTo>
                      <a:pt x="107" y="90"/>
                      <a:pt x="110" y="85"/>
                      <a:pt x="116" y="78"/>
                    </a:cubicBezTo>
                    <a:cubicBezTo>
                      <a:pt x="123" y="70"/>
                      <a:pt x="123" y="70"/>
                      <a:pt x="120" y="70"/>
                    </a:cubicBezTo>
                    <a:cubicBezTo>
                      <a:pt x="119" y="70"/>
                      <a:pt x="116" y="71"/>
                      <a:pt x="105" y="67"/>
                    </a:cubicBezTo>
                    <a:cubicBezTo>
                      <a:pt x="94" y="62"/>
                      <a:pt x="93" y="64"/>
                      <a:pt x="90" y="59"/>
                    </a:cubicBezTo>
                    <a:cubicBezTo>
                      <a:pt x="87" y="56"/>
                      <a:pt x="85" y="57"/>
                      <a:pt x="85" y="54"/>
                    </a:cubicBezTo>
                    <a:cubicBezTo>
                      <a:pt x="84" y="51"/>
                      <a:pt x="84" y="53"/>
                      <a:pt x="82" y="50"/>
                    </a:cubicBezTo>
                    <a:cubicBezTo>
                      <a:pt x="81" y="45"/>
                      <a:pt x="79" y="45"/>
                      <a:pt x="82" y="42"/>
                    </a:cubicBezTo>
                    <a:cubicBezTo>
                      <a:pt x="81" y="37"/>
                      <a:pt x="76" y="43"/>
                      <a:pt x="73" y="40"/>
                    </a:cubicBezTo>
                    <a:cubicBezTo>
                      <a:pt x="73" y="31"/>
                      <a:pt x="75" y="36"/>
                      <a:pt x="78" y="26"/>
                    </a:cubicBezTo>
                    <a:cubicBezTo>
                      <a:pt x="73" y="23"/>
                      <a:pt x="75" y="20"/>
                      <a:pt x="72" y="17"/>
                    </a:cubicBezTo>
                    <a:cubicBezTo>
                      <a:pt x="69" y="15"/>
                      <a:pt x="67" y="9"/>
                      <a:pt x="64" y="9"/>
                    </a:cubicBezTo>
                    <a:cubicBezTo>
                      <a:pt x="62" y="7"/>
                      <a:pt x="61" y="6"/>
                      <a:pt x="56" y="6"/>
                    </a:cubicBezTo>
                    <a:cubicBezTo>
                      <a:pt x="52" y="4"/>
                      <a:pt x="53" y="7"/>
                      <a:pt x="52" y="6"/>
                    </a:cubicBezTo>
                    <a:cubicBezTo>
                      <a:pt x="50" y="3"/>
                      <a:pt x="50" y="12"/>
                      <a:pt x="44" y="3"/>
                    </a:cubicBezTo>
                    <a:cubicBezTo>
                      <a:pt x="41" y="0"/>
                      <a:pt x="41" y="12"/>
                      <a:pt x="38" y="7"/>
                    </a:cubicBezTo>
                    <a:cubicBezTo>
                      <a:pt x="37" y="3"/>
                      <a:pt x="38" y="11"/>
                      <a:pt x="32" y="7"/>
                    </a:cubicBezTo>
                    <a:cubicBezTo>
                      <a:pt x="31" y="17"/>
                      <a:pt x="27" y="18"/>
                      <a:pt x="29" y="23"/>
                    </a:cubicBezTo>
                    <a:cubicBezTo>
                      <a:pt x="23" y="23"/>
                      <a:pt x="24" y="29"/>
                      <a:pt x="21" y="31"/>
                    </a:cubicBezTo>
                    <a:cubicBezTo>
                      <a:pt x="18" y="34"/>
                      <a:pt x="20" y="42"/>
                      <a:pt x="18" y="43"/>
                    </a:cubicBezTo>
                    <a:cubicBezTo>
                      <a:pt x="17" y="45"/>
                      <a:pt x="17" y="39"/>
                      <a:pt x="14" y="43"/>
                    </a:cubicBezTo>
                    <a:cubicBezTo>
                      <a:pt x="12" y="48"/>
                      <a:pt x="15" y="46"/>
                      <a:pt x="14" y="51"/>
                    </a:cubicBezTo>
                    <a:cubicBezTo>
                      <a:pt x="11" y="57"/>
                      <a:pt x="15" y="68"/>
                      <a:pt x="9" y="67"/>
                    </a:cubicBezTo>
                    <a:cubicBezTo>
                      <a:pt x="2" y="64"/>
                      <a:pt x="6" y="68"/>
                      <a:pt x="5" y="70"/>
                    </a:cubicBezTo>
                    <a:cubicBezTo>
                      <a:pt x="0" y="73"/>
                      <a:pt x="9" y="71"/>
                      <a:pt x="12" y="78"/>
                    </a:cubicBezTo>
                    <a:cubicBezTo>
                      <a:pt x="15" y="82"/>
                      <a:pt x="17" y="79"/>
                      <a:pt x="18" y="87"/>
                    </a:cubicBezTo>
                    <a:cubicBezTo>
                      <a:pt x="20" y="95"/>
                      <a:pt x="20" y="95"/>
                      <a:pt x="24" y="96"/>
                    </a:cubicBezTo>
                    <a:cubicBezTo>
                      <a:pt x="27" y="96"/>
                      <a:pt x="24" y="98"/>
                      <a:pt x="26" y="104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00" name="Freeform 94"/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5011387" y="3358543"/>
                <a:ext cx="125153" cy="132169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10" y="37"/>
                  </a:cxn>
                  <a:cxn ang="0">
                    <a:pos x="16" y="32"/>
                  </a:cxn>
                  <a:cxn ang="0">
                    <a:pos x="23" y="35"/>
                  </a:cxn>
                  <a:cxn ang="0">
                    <a:pos x="28" y="35"/>
                  </a:cxn>
                  <a:cxn ang="0">
                    <a:pos x="36" y="38"/>
                  </a:cxn>
                  <a:cxn ang="0">
                    <a:pos x="43" y="46"/>
                  </a:cxn>
                  <a:cxn ang="0">
                    <a:pos x="49" y="55"/>
                  </a:cxn>
                  <a:cxn ang="0">
                    <a:pos x="55" y="52"/>
                  </a:cxn>
                  <a:cxn ang="0">
                    <a:pos x="51" y="49"/>
                  </a:cxn>
                  <a:cxn ang="0">
                    <a:pos x="49" y="46"/>
                  </a:cxn>
                  <a:cxn ang="0">
                    <a:pos x="46" y="43"/>
                  </a:cxn>
                  <a:cxn ang="0">
                    <a:pos x="42" y="37"/>
                  </a:cxn>
                  <a:cxn ang="0">
                    <a:pos x="36" y="32"/>
                  </a:cxn>
                  <a:cxn ang="0">
                    <a:pos x="31" y="27"/>
                  </a:cxn>
                  <a:cxn ang="0">
                    <a:pos x="28" y="30"/>
                  </a:cxn>
                  <a:cxn ang="0">
                    <a:pos x="25" y="23"/>
                  </a:cxn>
                  <a:cxn ang="0">
                    <a:pos x="19" y="0"/>
                  </a:cxn>
                  <a:cxn ang="0">
                    <a:pos x="11" y="7"/>
                  </a:cxn>
                  <a:cxn ang="0">
                    <a:pos x="7" y="12"/>
                  </a:cxn>
                  <a:cxn ang="0">
                    <a:pos x="2" y="29"/>
                  </a:cxn>
                  <a:cxn ang="0">
                    <a:pos x="4" y="37"/>
                  </a:cxn>
                </a:cxnLst>
                <a:rect l="0" t="0" r="r" b="b"/>
                <a:pathLst>
                  <a:path w="55" h="58">
                    <a:moveTo>
                      <a:pt x="4" y="37"/>
                    </a:moveTo>
                    <a:cubicBezTo>
                      <a:pt x="10" y="40"/>
                      <a:pt x="8" y="32"/>
                      <a:pt x="10" y="37"/>
                    </a:cubicBezTo>
                    <a:cubicBezTo>
                      <a:pt x="13" y="41"/>
                      <a:pt x="13" y="29"/>
                      <a:pt x="16" y="32"/>
                    </a:cubicBezTo>
                    <a:cubicBezTo>
                      <a:pt x="22" y="41"/>
                      <a:pt x="22" y="32"/>
                      <a:pt x="23" y="35"/>
                    </a:cubicBezTo>
                    <a:cubicBezTo>
                      <a:pt x="25" y="37"/>
                      <a:pt x="23" y="34"/>
                      <a:pt x="28" y="35"/>
                    </a:cubicBezTo>
                    <a:cubicBezTo>
                      <a:pt x="33" y="35"/>
                      <a:pt x="34" y="37"/>
                      <a:pt x="36" y="38"/>
                    </a:cubicBezTo>
                    <a:cubicBezTo>
                      <a:pt x="39" y="38"/>
                      <a:pt x="40" y="44"/>
                      <a:pt x="43" y="46"/>
                    </a:cubicBezTo>
                    <a:cubicBezTo>
                      <a:pt x="46" y="49"/>
                      <a:pt x="45" y="52"/>
                      <a:pt x="49" y="55"/>
                    </a:cubicBezTo>
                    <a:cubicBezTo>
                      <a:pt x="51" y="54"/>
                      <a:pt x="51" y="58"/>
                      <a:pt x="55" y="52"/>
                    </a:cubicBezTo>
                    <a:cubicBezTo>
                      <a:pt x="54" y="50"/>
                      <a:pt x="52" y="52"/>
                      <a:pt x="51" y="49"/>
                    </a:cubicBezTo>
                    <a:cubicBezTo>
                      <a:pt x="51" y="47"/>
                      <a:pt x="51" y="49"/>
                      <a:pt x="49" y="46"/>
                    </a:cubicBezTo>
                    <a:cubicBezTo>
                      <a:pt x="46" y="40"/>
                      <a:pt x="48" y="46"/>
                      <a:pt x="46" y="43"/>
                    </a:cubicBezTo>
                    <a:cubicBezTo>
                      <a:pt x="45" y="38"/>
                      <a:pt x="45" y="44"/>
                      <a:pt x="42" y="37"/>
                    </a:cubicBezTo>
                    <a:cubicBezTo>
                      <a:pt x="37" y="30"/>
                      <a:pt x="39" y="37"/>
                      <a:pt x="36" y="32"/>
                    </a:cubicBezTo>
                    <a:cubicBezTo>
                      <a:pt x="34" y="27"/>
                      <a:pt x="34" y="35"/>
                      <a:pt x="31" y="27"/>
                    </a:cubicBezTo>
                    <a:cubicBezTo>
                      <a:pt x="28" y="21"/>
                      <a:pt x="29" y="30"/>
                      <a:pt x="28" y="30"/>
                    </a:cubicBezTo>
                    <a:cubicBezTo>
                      <a:pt x="28" y="29"/>
                      <a:pt x="28" y="27"/>
                      <a:pt x="25" y="23"/>
                    </a:cubicBezTo>
                    <a:cubicBezTo>
                      <a:pt x="23" y="18"/>
                      <a:pt x="23" y="7"/>
                      <a:pt x="19" y="0"/>
                    </a:cubicBezTo>
                    <a:cubicBezTo>
                      <a:pt x="16" y="9"/>
                      <a:pt x="13" y="4"/>
                      <a:pt x="11" y="7"/>
                    </a:cubicBezTo>
                    <a:cubicBezTo>
                      <a:pt x="8" y="13"/>
                      <a:pt x="5" y="6"/>
                      <a:pt x="7" y="12"/>
                    </a:cubicBezTo>
                    <a:cubicBezTo>
                      <a:pt x="7" y="21"/>
                      <a:pt x="4" y="26"/>
                      <a:pt x="2" y="29"/>
                    </a:cubicBezTo>
                    <a:cubicBezTo>
                      <a:pt x="0" y="30"/>
                      <a:pt x="4" y="34"/>
                      <a:pt x="4" y="37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01" name="Freeform 95"/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5113148" y="3476677"/>
                <a:ext cx="32751" cy="47955"/>
              </a:xfrm>
              <a:custGeom>
                <a:avLst/>
                <a:gdLst/>
                <a:ahLst/>
                <a:cxnLst>
                  <a:cxn ang="0">
                    <a:pos x="9" y="19"/>
                  </a:cxn>
                  <a:cxn ang="0">
                    <a:pos x="0" y="17"/>
                  </a:cxn>
                  <a:cxn ang="0">
                    <a:pos x="5" y="3"/>
                  </a:cxn>
                  <a:cxn ang="0">
                    <a:pos x="11" y="0"/>
                  </a:cxn>
                  <a:cxn ang="0">
                    <a:pos x="11" y="10"/>
                  </a:cxn>
                  <a:cxn ang="0">
                    <a:pos x="12" y="13"/>
                  </a:cxn>
                  <a:cxn ang="0">
                    <a:pos x="9" y="19"/>
                  </a:cxn>
                </a:cxnLst>
                <a:rect l="0" t="0" r="r" b="b"/>
                <a:pathLst>
                  <a:path w="14" h="21">
                    <a:moveTo>
                      <a:pt x="9" y="19"/>
                    </a:moveTo>
                    <a:cubicBezTo>
                      <a:pt x="8" y="14"/>
                      <a:pt x="3" y="21"/>
                      <a:pt x="0" y="17"/>
                    </a:cubicBezTo>
                    <a:cubicBezTo>
                      <a:pt x="0" y="8"/>
                      <a:pt x="2" y="13"/>
                      <a:pt x="5" y="3"/>
                    </a:cubicBezTo>
                    <a:cubicBezTo>
                      <a:pt x="6" y="2"/>
                      <a:pt x="6" y="6"/>
                      <a:pt x="11" y="0"/>
                    </a:cubicBezTo>
                    <a:cubicBezTo>
                      <a:pt x="12" y="5"/>
                      <a:pt x="14" y="6"/>
                      <a:pt x="11" y="10"/>
                    </a:cubicBezTo>
                    <a:cubicBezTo>
                      <a:pt x="3" y="14"/>
                      <a:pt x="9" y="11"/>
                      <a:pt x="12" y="13"/>
                    </a:cubicBezTo>
                    <a:cubicBezTo>
                      <a:pt x="9" y="19"/>
                      <a:pt x="9" y="19"/>
                      <a:pt x="9" y="19"/>
                    </a:cubicBezTo>
                    <a:close/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02" name="Freeform 96"/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4580952" y="3635747"/>
                <a:ext cx="350898" cy="437445"/>
              </a:xfrm>
              <a:custGeom>
                <a:avLst/>
                <a:gdLst/>
                <a:ahLst/>
                <a:cxnLst>
                  <a:cxn ang="0">
                    <a:pos x="138" y="114"/>
                  </a:cxn>
                  <a:cxn ang="0">
                    <a:pos x="148" y="136"/>
                  </a:cxn>
                  <a:cxn ang="0">
                    <a:pos x="130" y="148"/>
                  </a:cxn>
                  <a:cxn ang="0">
                    <a:pos x="129" y="170"/>
                  </a:cxn>
                  <a:cxn ang="0">
                    <a:pos x="141" y="181"/>
                  </a:cxn>
                  <a:cxn ang="0">
                    <a:pos x="132" y="182"/>
                  </a:cxn>
                  <a:cxn ang="0">
                    <a:pos x="119" y="171"/>
                  </a:cxn>
                  <a:cxn ang="0">
                    <a:pos x="107" y="171"/>
                  </a:cxn>
                  <a:cxn ang="0">
                    <a:pos x="93" y="162"/>
                  </a:cxn>
                  <a:cxn ang="0">
                    <a:pos x="84" y="164"/>
                  </a:cxn>
                  <a:cxn ang="0">
                    <a:pos x="78" y="153"/>
                  </a:cxn>
                  <a:cxn ang="0">
                    <a:pos x="77" y="128"/>
                  </a:cxn>
                  <a:cxn ang="0">
                    <a:pos x="64" y="123"/>
                  </a:cxn>
                  <a:cxn ang="0">
                    <a:pos x="57" y="133"/>
                  </a:cxn>
                  <a:cxn ang="0">
                    <a:pos x="41" y="133"/>
                  </a:cxn>
                  <a:cxn ang="0">
                    <a:pos x="35" y="117"/>
                  </a:cxn>
                  <a:cxn ang="0">
                    <a:pos x="8" y="112"/>
                  </a:cxn>
                  <a:cxn ang="0">
                    <a:pos x="0" y="112"/>
                  </a:cxn>
                  <a:cxn ang="0">
                    <a:pos x="8" y="101"/>
                  </a:cxn>
                  <a:cxn ang="0">
                    <a:pos x="19" y="103"/>
                  </a:cxn>
                  <a:cxn ang="0">
                    <a:pos x="32" y="86"/>
                  </a:cxn>
                  <a:cxn ang="0">
                    <a:pos x="46" y="53"/>
                  </a:cxn>
                  <a:cxn ang="0">
                    <a:pos x="48" y="30"/>
                  </a:cxn>
                  <a:cxn ang="0">
                    <a:pos x="52" y="13"/>
                  </a:cxn>
                  <a:cxn ang="0">
                    <a:pos x="67" y="13"/>
                  </a:cxn>
                  <a:cxn ang="0">
                    <a:pos x="93" y="8"/>
                  </a:cxn>
                  <a:cxn ang="0">
                    <a:pos x="116" y="6"/>
                  </a:cxn>
                  <a:cxn ang="0">
                    <a:pos x="130" y="13"/>
                  </a:cxn>
                  <a:cxn ang="0">
                    <a:pos x="142" y="14"/>
                  </a:cxn>
                  <a:cxn ang="0">
                    <a:pos x="150" y="33"/>
                  </a:cxn>
                  <a:cxn ang="0">
                    <a:pos x="139" y="69"/>
                  </a:cxn>
                  <a:cxn ang="0">
                    <a:pos x="133" y="83"/>
                  </a:cxn>
                  <a:cxn ang="0">
                    <a:pos x="138" y="100"/>
                  </a:cxn>
                </a:cxnLst>
                <a:rect l="0" t="0" r="r" b="b"/>
                <a:pathLst>
                  <a:path w="155" h="193">
                    <a:moveTo>
                      <a:pt x="138" y="100"/>
                    </a:moveTo>
                    <a:cubicBezTo>
                      <a:pt x="136" y="106"/>
                      <a:pt x="139" y="109"/>
                      <a:pt x="138" y="114"/>
                    </a:cubicBezTo>
                    <a:cubicBezTo>
                      <a:pt x="136" y="119"/>
                      <a:pt x="144" y="125"/>
                      <a:pt x="145" y="128"/>
                    </a:cubicBezTo>
                    <a:cubicBezTo>
                      <a:pt x="145" y="133"/>
                      <a:pt x="147" y="134"/>
                      <a:pt x="148" y="136"/>
                    </a:cubicBezTo>
                    <a:cubicBezTo>
                      <a:pt x="142" y="137"/>
                      <a:pt x="133" y="136"/>
                      <a:pt x="133" y="140"/>
                    </a:cubicBezTo>
                    <a:cubicBezTo>
                      <a:pt x="133" y="147"/>
                      <a:pt x="127" y="145"/>
                      <a:pt x="130" y="148"/>
                    </a:cubicBezTo>
                    <a:cubicBezTo>
                      <a:pt x="135" y="154"/>
                      <a:pt x="129" y="153"/>
                      <a:pt x="130" y="157"/>
                    </a:cubicBezTo>
                    <a:cubicBezTo>
                      <a:pt x="133" y="161"/>
                      <a:pt x="127" y="167"/>
                      <a:pt x="129" y="170"/>
                    </a:cubicBezTo>
                    <a:cubicBezTo>
                      <a:pt x="130" y="173"/>
                      <a:pt x="132" y="176"/>
                      <a:pt x="135" y="178"/>
                    </a:cubicBezTo>
                    <a:cubicBezTo>
                      <a:pt x="139" y="179"/>
                      <a:pt x="141" y="168"/>
                      <a:pt x="141" y="181"/>
                    </a:cubicBezTo>
                    <a:cubicBezTo>
                      <a:pt x="139" y="193"/>
                      <a:pt x="139" y="184"/>
                      <a:pt x="138" y="186"/>
                    </a:cubicBezTo>
                    <a:cubicBezTo>
                      <a:pt x="135" y="189"/>
                      <a:pt x="135" y="189"/>
                      <a:pt x="132" y="182"/>
                    </a:cubicBezTo>
                    <a:cubicBezTo>
                      <a:pt x="129" y="178"/>
                      <a:pt x="127" y="176"/>
                      <a:pt x="124" y="176"/>
                    </a:cubicBezTo>
                    <a:cubicBezTo>
                      <a:pt x="122" y="176"/>
                      <a:pt x="121" y="173"/>
                      <a:pt x="119" y="171"/>
                    </a:cubicBezTo>
                    <a:cubicBezTo>
                      <a:pt x="119" y="168"/>
                      <a:pt x="118" y="167"/>
                      <a:pt x="118" y="171"/>
                    </a:cubicBezTo>
                    <a:cubicBezTo>
                      <a:pt x="116" y="175"/>
                      <a:pt x="115" y="173"/>
                      <a:pt x="107" y="171"/>
                    </a:cubicBezTo>
                    <a:cubicBezTo>
                      <a:pt x="101" y="170"/>
                      <a:pt x="109" y="162"/>
                      <a:pt x="101" y="167"/>
                    </a:cubicBezTo>
                    <a:cubicBezTo>
                      <a:pt x="95" y="170"/>
                      <a:pt x="101" y="162"/>
                      <a:pt x="93" y="162"/>
                    </a:cubicBezTo>
                    <a:cubicBezTo>
                      <a:pt x="93" y="164"/>
                      <a:pt x="93" y="164"/>
                      <a:pt x="90" y="164"/>
                    </a:cubicBezTo>
                    <a:cubicBezTo>
                      <a:pt x="89" y="162"/>
                      <a:pt x="87" y="165"/>
                      <a:pt x="84" y="164"/>
                    </a:cubicBezTo>
                    <a:cubicBezTo>
                      <a:pt x="81" y="164"/>
                      <a:pt x="83" y="167"/>
                      <a:pt x="80" y="167"/>
                    </a:cubicBezTo>
                    <a:cubicBezTo>
                      <a:pt x="77" y="165"/>
                      <a:pt x="83" y="159"/>
                      <a:pt x="78" y="153"/>
                    </a:cubicBezTo>
                    <a:cubicBezTo>
                      <a:pt x="74" y="147"/>
                      <a:pt x="78" y="140"/>
                      <a:pt x="77" y="136"/>
                    </a:cubicBezTo>
                    <a:cubicBezTo>
                      <a:pt x="75" y="131"/>
                      <a:pt x="77" y="131"/>
                      <a:pt x="77" y="128"/>
                    </a:cubicBezTo>
                    <a:cubicBezTo>
                      <a:pt x="77" y="125"/>
                      <a:pt x="64" y="129"/>
                      <a:pt x="67" y="125"/>
                    </a:cubicBezTo>
                    <a:cubicBezTo>
                      <a:pt x="67" y="123"/>
                      <a:pt x="66" y="122"/>
                      <a:pt x="64" y="123"/>
                    </a:cubicBezTo>
                    <a:cubicBezTo>
                      <a:pt x="63" y="125"/>
                      <a:pt x="58" y="122"/>
                      <a:pt x="58" y="126"/>
                    </a:cubicBezTo>
                    <a:cubicBezTo>
                      <a:pt x="58" y="131"/>
                      <a:pt x="57" y="128"/>
                      <a:pt x="57" y="133"/>
                    </a:cubicBezTo>
                    <a:cubicBezTo>
                      <a:pt x="58" y="136"/>
                      <a:pt x="54" y="134"/>
                      <a:pt x="52" y="134"/>
                    </a:cubicBezTo>
                    <a:cubicBezTo>
                      <a:pt x="51" y="133"/>
                      <a:pt x="43" y="137"/>
                      <a:pt x="41" y="133"/>
                    </a:cubicBezTo>
                    <a:cubicBezTo>
                      <a:pt x="40" y="128"/>
                      <a:pt x="38" y="129"/>
                      <a:pt x="38" y="125"/>
                    </a:cubicBezTo>
                    <a:cubicBezTo>
                      <a:pt x="38" y="122"/>
                      <a:pt x="37" y="122"/>
                      <a:pt x="35" y="117"/>
                    </a:cubicBezTo>
                    <a:cubicBezTo>
                      <a:pt x="35" y="112"/>
                      <a:pt x="35" y="112"/>
                      <a:pt x="25" y="114"/>
                    </a:cubicBezTo>
                    <a:cubicBezTo>
                      <a:pt x="12" y="114"/>
                      <a:pt x="14" y="112"/>
                      <a:pt x="8" y="112"/>
                    </a:cubicBezTo>
                    <a:cubicBezTo>
                      <a:pt x="6" y="112"/>
                      <a:pt x="6" y="112"/>
                      <a:pt x="3" y="112"/>
                    </a:cubicBezTo>
                    <a:cubicBezTo>
                      <a:pt x="2" y="114"/>
                      <a:pt x="2" y="114"/>
                      <a:pt x="0" y="112"/>
                    </a:cubicBezTo>
                    <a:cubicBezTo>
                      <a:pt x="5" y="112"/>
                      <a:pt x="2" y="106"/>
                      <a:pt x="3" y="103"/>
                    </a:cubicBezTo>
                    <a:cubicBezTo>
                      <a:pt x="6" y="101"/>
                      <a:pt x="6" y="101"/>
                      <a:pt x="8" y="101"/>
                    </a:cubicBezTo>
                    <a:cubicBezTo>
                      <a:pt x="11" y="106"/>
                      <a:pt x="14" y="97"/>
                      <a:pt x="17" y="98"/>
                    </a:cubicBezTo>
                    <a:cubicBezTo>
                      <a:pt x="20" y="100"/>
                      <a:pt x="15" y="103"/>
                      <a:pt x="19" y="103"/>
                    </a:cubicBezTo>
                    <a:cubicBezTo>
                      <a:pt x="23" y="105"/>
                      <a:pt x="26" y="95"/>
                      <a:pt x="28" y="95"/>
                    </a:cubicBezTo>
                    <a:cubicBezTo>
                      <a:pt x="31" y="95"/>
                      <a:pt x="34" y="89"/>
                      <a:pt x="32" y="86"/>
                    </a:cubicBezTo>
                    <a:cubicBezTo>
                      <a:pt x="29" y="80"/>
                      <a:pt x="37" y="67"/>
                      <a:pt x="41" y="66"/>
                    </a:cubicBezTo>
                    <a:cubicBezTo>
                      <a:pt x="46" y="62"/>
                      <a:pt x="43" y="59"/>
                      <a:pt x="46" y="53"/>
                    </a:cubicBezTo>
                    <a:cubicBezTo>
                      <a:pt x="48" y="48"/>
                      <a:pt x="45" y="50"/>
                      <a:pt x="46" y="42"/>
                    </a:cubicBezTo>
                    <a:cubicBezTo>
                      <a:pt x="48" y="34"/>
                      <a:pt x="45" y="36"/>
                      <a:pt x="48" y="30"/>
                    </a:cubicBezTo>
                    <a:cubicBezTo>
                      <a:pt x="52" y="25"/>
                      <a:pt x="52" y="24"/>
                      <a:pt x="52" y="22"/>
                    </a:cubicBezTo>
                    <a:cubicBezTo>
                      <a:pt x="51" y="17"/>
                      <a:pt x="49" y="14"/>
                      <a:pt x="52" y="13"/>
                    </a:cubicBezTo>
                    <a:cubicBezTo>
                      <a:pt x="54" y="11"/>
                      <a:pt x="54" y="3"/>
                      <a:pt x="61" y="6"/>
                    </a:cubicBezTo>
                    <a:cubicBezTo>
                      <a:pt x="67" y="10"/>
                      <a:pt x="64" y="13"/>
                      <a:pt x="67" y="13"/>
                    </a:cubicBezTo>
                    <a:cubicBezTo>
                      <a:pt x="77" y="13"/>
                      <a:pt x="81" y="19"/>
                      <a:pt x="84" y="11"/>
                    </a:cubicBezTo>
                    <a:cubicBezTo>
                      <a:pt x="87" y="3"/>
                      <a:pt x="84" y="14"/>
                      <a:pt x="93" y="8"/>
                    </a:cubicBezTo>
                    <a:cubicBezTo>
                      <a:pt x="101" y="3"/>
                      <a:pt x="101" y="10"/>
                      <a:pt x="104" y="5"/>
                    </a:cubicBezTo>
                    <a:cubicBezTo>
                      <a:pt x="107" y="0"/>
                      <a:pt x="115" y="10"/>
                      <a:pt x="116" y="6"/>
                    </a:cubicBezTo>
                    <a:cubicBezTo>
                      <a:pt x="119" y="3"/>
                      <a:pt x="119" y="6"/>
                      <a:pt x="122" y="6"/>
                    </a:cubicBezTo>
                    <a:cubicBezTo>
                      <a:pt x="125" y="11"/>
                      <a:pt x="129" y="16"/>
                      <a:pt x="130" y="13"/>
                    </a:cubicBezTo>
                    <a:cubicBezTo>
                      <a:pt x="133" y="10"/>
                      <a:pt x="135" y="16"/>
                      <a:pt x="136" y="11"/>
                    </a:cubicBezTo>
                    <a:cubicBezTo>
                      <a:pt x="139" y="8"/>
                      <a:pt x="141" y="10"/>
                      <a:pt x="142" y="14"/>
                    </a:cubicBezTo>
                    <a:cubicBezTo>
                      <a:pt x="145" y="19"/>
                      <a:pt x="145" y="16"/>
                      <a:pt x="148" y="22"/>
                    </a:cubicBezTo>
                    <a:cubicBezTo>
                      <a:pt x="148" y="30"/>
                      <a:pt x="145" y="31"/>
                      <a:pt x="150" y="33"/>
                    </a:cubicBezTo>
                    <a:cubicBezTo>
                      <a:pt x="155" y="36"/>
                      <a:pt x="148" y="39"/>
                      <a:pt x="144" y="44"/>
                    </a:cubicBezTo>
                    <a:cubicBezTo>
                      <a:pt x="139" y="48"/>
                      <a:pt x="139" y="59"/>
                      <a:pt x="139" y="69"/>
                    </a:cubicBezTo>
                    <a:cubicBezTo>
                      <a:pt x="130" y="75"/>
                      <a:pt x="138" y="75"/>
                      <a:pt x="135" y="78"/>
                    </a:cubicBezTo>
                    <a:cubicBezTo>
                      <a:pt x="132" y="80"/>
                      <a:pt x="133" y="80"/>
                      <a:pt x="133" y="83"/>
                    </a:cubicBezTo>
                    <a:cubicBezTo>
                      <a:pt x="135" y="86"/>
                      <a:pt x="136" y="86"/>
                      <a:pt x="135" y="90"/>
                    </a:cubicBezTo>
                    <a:cubicBezTo>
                      <a:pt x="135" y="95"/>
                      <a:pt x="138" y="97"/>
                      <a:pt x="138" y="10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03" name="Freeform 97"/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4968110" y="3648614"/>
                <a:ext cx="147377" cy="216383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8" y="22"/>
                  </a:cxn>
                  <a:cxn ang="0">
                    <a:pos x="6" y="41"/>
                  </a:cxn>
                  <a:cxn ang="0">
                    <a:pos x="2" y="59"/>
                  </a:cxn>
                  <a:cxn ang="0">
                    <a:pos x="29" y="78"/>
                  </a:cxn>
                  <a:cxn ang="0">
                    <a:pos x="32" y="86"/>
                  </a:cxn>
                  <a:cxn ang="0">
                    <a:pos x="44" y="95"/>
                  </a:cxn>
                  <a:cxn ang="0">
                    <a:pos x="49" y="86"/>
                  </a:cxn>
                  <a:cxn ang="0">
                    <a:pos x="52" y="78"/>
                  </a:cxn>
                  <a:cxn ang="0">
                    <a:pos x="56" y="70"/>
                  </a:cxn>
                  <a:cxn ang="0">
                    <a:pos x="62" y="66"/>
                  </a:cxn>
                  <a:cxn ang="0">
                    <a:pos x="58" y="56"/>
                  </a:cxn>
                  <a:cxn ang="0">
                    <a:pos x="58" y="22"/>
                  </a:cxn>
                  <a:cxn ang="0">
                    <a:pos x="65" y="11"/>
                  </a:cxn>
                  <a:cxn ang="0">
                    <a:pos x="58" y="10"/>
                  </a:cxn>
                  <a:cxn ang="0">
                    <a:pos x="52" y="10"/>
                  </a:cxn>
                  <a:cxn ang="0">
                    <a:pos x="44" y="16"/>
                  </a:cxn>
                  <a:cxn ang="0">
                    <a:pos x="40" y="14"/>
                  </a:cxn>
                  <a:cxn ang="0">
                    <a:pos x="29" y="10"/>
                  </a:cxn>
                  <a:cxn ang="0">
                    <a:pos x="17" y="5"/>
                  </a:cxn>
                  <a:cxn ang="0">
                    <a:pos x="14" y="2"/>
                  </a:cxn>
                  <a:cxn ang="0">
                    <a:pos x="8" y="2"/>
                  </a:cxn>
                  <a:cxn ang="0">
                    <a:pos x="2" y="8"/>
                  </a:cxn>
                </a:cxnLst>
                <a:rect l="0" t="0" r="r" b="b"/>
                <a:pathLst>
                  <a:path w="65" h="95">
                    <a:moveTo>
                      <a:pt x="2" y="8"/>
                    </a:moveTo>
                    <a:cubicBezTo>
                      <a:pt x="8" y="16"/>
                      <a:pt x="5" y="17"/>
                      <a:pt x="8" y="22"/>
                    </a:cubicBezTo>
                    <a:cubicBezTo>
                      <a:pt x="11" y="27"/>
                      <a:pt x="11" y="34"/>
                      <a:pt x="6" y="41"/>
                    </a:cubicBezTo>
                    <a:cubicBezTo>
                      <a:pt x="0" y="47"/>
                      <a:pt x="3" y="52"/>
                      <a:pt x="2" y="59"/>
                    </a:cubicBezTo>
                    <a:cubicBezTo>
                      <a:pt x="18" y="70"/>
                      <a:pt x="24" y="75"/>
                      <a:pt x="29" y="78"/>
                    </a:cubicBezTo>
                    <a:cubicBezTo>
                      <a:pt x="35" y="81"/>
                      <a:pt x="29" y="81"/>
                      <a:pt x="32" y="86"/>
                    </a:cubicBezTo>
                    <a:cubicBezTo>
                      <a:pt x="37" y="89"/>
                      <a:pt x="43" y="95"/>
                      <a:pt x="44" y="95"/>
                    </a:cubicBezTo>
                    <a:cubicBezTo>
                      <a:pt x="47" y="91"/>
                      <a:pt x="49" y="91"/>
                      <a:pt x="49" y="86"/>
                    </a:cubicBezTo>
                    <a:cubicBezTo>
                      <a:pt x="49" y="80"/>
                      <a:pt x="52" y="86"/>
                      <a:pt x="52" y="78"/>
                    </a:cubicBezTo>
                    <a:cubicBezTo>
                      <a:pt x="50" y="72"/>
                      <a:pt x="58" y="75"/>
                      <a:pt x="56" y="70"/>
                    </a:cubicBezTo>
                    <a:cubicBezTo>
                      <a:pt x="56" y="67"/>
                      <a:pt x="58" y="72"/>
                      <a:pt x="62" y="66"/>
                    </a:cubicBezTo>
                    <a:cubicBezTo>
                      <a:pt x="61" y="61"/>
                      <a:pt x="58" y="63"/>
                      <a:pt x="58" y="56"/>
                    </a:cubicBezTo>
                    <a:cubicBezTo>
                      <a:pt x="58" y="48"/>
                      <a:pt x="58" y="22"/>
                      <a:pt x="58" y="22"/>
                    </a:cubicBezTo>
                    <a:cubicBezTo>
                      <a:pt x="58" y="22"/>
                      <a:pt x="62" y="14"/>
                      <a:pt x="65" y="11"/>
                    </a:cubicBezTo>
                    <a:cubicBezTo>
                      <a:pt x="62" y="11"/>
                      <a:pt x="59" y="11"/>
                      <a:pt x="58" y="10"/>
                    </a:cubicBezTo>
                    <a:cubicBezTo>
                      <a:pt x="56" y="8"/>
                      <a:pt x="56" y="6"/>
                      <a:pt x="52" y="10"/>
                    </a:cubicBezTo>
                    <a:cubicBezTo>
                      <a:pt x="46" y="13"/>
                      <a:pt x="47" y="17"/>
                      <a:pt x="44" y="16"/>
                    </a:cubicBezTo>
                    <a:cubicBezTo>
                      <a:pt x="44" y="14"/>
                      <a:pt x="43" y="16"/>
                      <a:pt x="40" y="14"/>
                    </a:cubicBezTo>
                    <a:cubicBezTo>
                      <a:pt x="37" y="13"/>
                      <a:pt x="37" y="17"/>
                      <a:pt x="29" y="10"/>
                    </a:cubicBezTo>
                    <a:cubicBezTo>
                      <a:pt x="21" y="2"/>
                      <a:pt x="21" y="10"/>
                      <a:pt x="17" y="5"/>
                    </a:cubicBezTo>
                    <a:cubicBezTo>
                      <a:pt x="15" y="5"/>
                      <a:pt x="12" y="5"/>
                      <a:pt x="14" y="2"/>
                    </a:cubicBezTo>
                    <a:cubicBezTo>
                      <a:pt x="14" y="0"/>
                      <a:pt x="11" y="2"/>
                      <a:pt x="8" y="2"/>
                    </a:cubicBezTo>
                    <a:cubicBezTo>
                      <a:pt x="5" y="3"/>
                      <a:pt x="3" y="6"/>
                      <a:pt x="2" y="8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04" name="Freeform 98"/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4895591" y="3667328"/>
                <a:ext cx="95912" cy="127490"/>
              </a:xfrm>
              <a:custGeom>
                <a:avLst/>
                <a:gdLst/>
                <a:ahLst/>
                <a:cxnLst>
                  <a:cxn ang="0">
                    <a:pos x="9" y="8"/>
                  </a:cxn>
                  <a:cxn ang="0">
                    <a:pos x="11" y="19"/>
                  </a:cxn>
                  <a:cxn ang="0">
                    <a:pos x="5" y="30"/>
                  </a:cxn>
                  <a:cxn ang="0">
                    <a:pos x="0" y="55"/>
                  </a:cxn>
                  <a:cxn ang="0">
                    <a:pos x="3" y="56"/>
                  </a:cxn>
                  <a:cxn ang="0">
                    <a:pos x="6" y="52"/>
                  </a:cxn>
                  <a:cxn ang="0">
                    <a:pos x="33" y="52"/>
                  </a:cxn>
                  <a:cxn ang="0">
                    <a:pos x="38" y="33"/>
                  </a:cxn>
                  <a:cxn ang="0">
                    <a:pos x="39" y="14"/>
                  </a:cxn>
                  <a:cxn ang="0">
                    <a:pos x="33" y="0"/>
                  </a:cxn>
                  <a:cxn ang="0">
                    <a:pos x="29" y="5"/>
                  </a:cxn>
                  <a:cxn ang="0">
                    <a:pos x="27" y="3"/>
                  </a:cxn>
                  <a:cxn ang="0">
                    <a:pos x="18" y="6"/>
                  </a:cxn>
                  <a:cxn ang="0">
                    <a:pos x="15" y="5"/>
                  </a:cxn>
                  <a:cxn ang="0">
                    <a:pos x="9" y="8"/>
                  </a:cxn>
                </a:cxnLst>
                <a:rect l="0" t="0" r="r" b="b"/>
                <a:pathLst>
                  <a:path w="42" h="56">
                    <a:moveTo>
                      <a:pt x="9" y="8"/>
                    </a:moveTo>
                    <a:cubicBezTo>
                      <a:pt x="9" y="16"/>
                      <a:pt x="6" y="17"/>
                      <a:pt x="11" y="19"/>
                    </a:cubicBezTo>
                    <a:cubicBezTo>
                      <a:pt x="15" y="22"/>
                      <a:pt x="9" y="25"/>
                      <a:pt x="5" y="30"/>
                    </a:cubicBezTo>
                    <a:cubicBezTo>
                      <a:pt x="0" y="34"/>
                      <a:pt x="0" y="45"/>
                      <a:pt x="0" y="55"/>
                    </a:cubicBezTo>
                    <a:cubicBezTo>
                      <a:pt x="3" y="53"/>
                      <a:pt x="0" y="56"/>
                      <a:pt x="3" y="56"/>
                    </a:cubicBezTo>
                    <a:cubicBezTo>
                      <a:pt x="5" y="55"/>
                      <a:pt x="5" y="53"/>
                      <a:pt x="6" y="52"/>
                    </a:cubicBezTo>
                    <a:cubicBezTo>
                      <a:pt x="9" y="52"/>
                      <a:pt x="29" y="52"/>
                      <a:pt x="33" y="52"/>
                    </a:cubicBezTo>
                    <a:cubicBezTo>
                      <a:pt x="35" y="44"/>
                      <a:pt x="32" y="39"/>
                      <a:pt x="38" y="33"/>
                    </a:cubicBezTo>
                    <a:cubicBezTo>
                      <a:pt x="42" y="27"/>
                      <a:pt x="42" y="19"/>
                      <a:pt x="39" y="14"/>
                    </a:cubicBezTo>
                    <a:cubicBezTo>
                      <a:pt x="36" y="10"/>
                      <a:pt x="39" y="8"/>
                      <a:pt x="33" y="0"/>
                    </a:cubicBezTo>
                    <a:cubicBezTo>
                      <a:pt x="32" y="3"/>
                      <a:pt x="32" y="5"/>
                      <a:pt x="29" y="5"/>
                    </a:cubicBezTo>
                    <a:cubicBezTo>
                      <a:pt x="26" y="5"/>
                      <a:pt x="29" y="5"/>
                      <a:pt x="27" y="3"/>
                    </a:cubicBezTo>
                    <a:cubicBezTo>
                      <a:pt x="23" y="3"/>
                      <a:pt x="20" y="10"/>
                      <a:pt x="18" y="6"/>
                    </a:cubicBezTo>
                    <a:cubicBezTo>
                      <a:pt x="17" y="5"/>
                      <a:pt x="17" y="3"/>
                      <a:pt x="15" y="5"/>
                    </a:cubicBezTo>
                    <a:cubicBezTo>
                      <a:pt x="14" y="8"/>
                      <a:pt x="12" y="0"/>
                      <a:pt x="9" y="8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05" name="Freeform 99"/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4566917" y="3889559"/>
                <a:ext cx="231593" cy="279543"/>
              </a:xfrm>
              <a:custGeom>
                <a:avLst/>
                <a:gdLst/>
                <a:ahLst/>
                <a:cxnLst>
                  <a:cxn ang="0">
                    <a:pos x="95" y="117"/>
                  </a:cxn>
                  <a:cxn ang="0">
                    <a:pos x="84" y="100"/>
                  </a:cxn>
                  <a:cxn ang="0">
                    <a:pos x="84" y="73"/>
                  </a:cxn>
                  <a:cxn ang="0">
                    <a:pos x="98" y="72"/>
                  </a:cxn>
                  <a:cxn ang="0">
                    <a:pos x="99" y="65"/>
                  </a:cxn>
                  <a:cxn ang="0">
                    <a:pos x="99" y="59"/>
                  </a:cxn>
                  <a:cxn ang="0">
                    <a:pos x="99" y="50"/>
                  </a:cxn>
                  <a:cxn ang="0">
                    <a:pos x="96" y="51"/>
                  </a:cxn>
                  <a:cxn ang="0">
                    <a:pos x="90" y="51"/>
                  </a:cxn>
                  <a:cxn ang="0">
                    <a:pos x="85" y="55"/>
                  </a:cxn>
                  <a:cxn ang="0">
                    <a:pos x="84" y="41"/>
                  </a:cxn>
                  <a:cxn ang="0">
                    <a:pos x="82" y="24"/>
                  </a:cxn>
                  <a:cxn ang="0">
                    <a:pos x="82" y="16"/>
                  </a:cxn>
                  <a:cxn ang="0">
                    <a:pos x="73" y="13"/>
                  </a:cxn>
                  <a:cxn ang="0">
                    <a:pos x="70" y="11"/>
                  </a:cxn>
                  <a:cxn ang="0">
                    <a:pos x="64" y="14"/>
                  </a:cxn>
                  <a:cxn ang="0">
                    <a:pos x="63" y="20"/>
                  </a:cxn>
                  <a:cxn ang="0">
                    <a:pos x="58" y="22"/>
                  </a:cxn>
                  <a:cxn ang="0">
                    <a:pos x="47" y="20"/>
                  </a:cxn>
                  <a:cxn ang="0">
                    <a:pos x="44" y="13"/>
                  </a:cxn>
                  <a:cxn ang="0">
                    <a:pos x="41" y="5"/>
                  </a:cxn>
                  <a:cxn ang="0">
                    <a:pos x="31" y="2"/>
                  </a:cxn>
                  <a:cxn ang="0">
                    <a:pos x="14" y="0"/>
                  </a:cxn>
                  <a:cxn ang="0">
                    <a:pos x="8" y="3"/>
                  </a:cxn>
                  <a:cxn ang="0">
                    <a:pos x="14" y="28"/>
                  </a:cxn>
                  <a:cxn ang="0">
                    <a:pos x="18" y="47"/>
                  </a:cxn>
                  <a:cxn ang="0">
                    <a:pos x="14" y="67"/>
                  </a:cxn>
                  <a:cxn ang="0">
                    <a:pos x="5" y="96"/>
                  </a:cxn>
                  <a:cxn ang="0">
                    <a:pos x="2" y="114"/>
                  </a:cxn>
                  <a:cxn ang="0">
                    <a:pos x="12" y="110"/>
                  </a:cxn>
                  <a:cxn ang="0">
                    <a:pos x="22" y="115"/>
                  </a:cxn>
                  <a:cxn ang="0">
                    <a:pos x="50" y="115"/>
                  </a:cxn>
                  <a:cxn ang="0">
                    <a:pos x="58" y="117"/>
                  </a:cxn>
                  <a:cxn ang="0">
                    <a:pos x="72" y="120"/>
                  </a:cxn>
                  <a:cxn ang="0">
                    <a:pos x="76" y="120"/>
                  </a:cxn>
                  <a:cxn ang="0">
                    <a:pos x="79" y="121"/>
                  </a:cxn>
                  <a:cxn ang="0">
                    <a:pos x="95" y="117"/>
                  </a:cxn>
                </a:cxnLst>
                <a:rect l="0" t="0" r="r" b="b"/>
                <a:pathLst>
                  <a:path w="102" h="123">
                    <a:moveTo>
                      <a:pt x="95" y="117"/>
                    </a:moveTo>
                    <a:cubicBezTo>
                      <a:pt x="90" y="112"/>
                      <a:pt x="84" y="106"/>
                      <a:pt x="84" y="100"/>
                    </a:cubicBezTo>
                    <a:cubicBezTo>
                      <a:pt x="84" y="96"/>
                      <a:pt x="84" y="78"/>
                      <a:pt x="84" y="73"/>
                    </a:cubicBezTo>
                    <a:cubicBezTo>
                      <a:pt x="84" y="70"/>
                      <a:pt x="88" y="72"/>
                      <a:pt x="98" y="72"/>
                    </a:cubicBezTo>
                    <a:cubicBezTo>
                      <a:pt x="101" y="72"/>
                      <a:pt x="98" y="69"/>
                      <a:pt x="99" y="65"/>
                    </a:cubicBezTo>
                    <a:cubicBezTo>
                      <a:pt x="102" y="64"/>
                      <a:pt x="98" y="64"/>
                      <a:pt x="99" y="59"/>
                    </a:cubicBezTo>
                    <a:cubicBezTo>
                      <a:pt x="101" y="53"/>
                      <a:pt x="99" y="51"/>
                      <a:pt x="99" y="50"/>
                    </a:cubicBezTo>
                    <a:cubicBezTo>
                      <a:pt x="99" y="51"/>
                      <a:pt x="99" y="51"/>
                      <a:pt x="96" y="51"/>
                    </a:cubicBezTo>
                    <a:cubicBezTo>
                      <a:pt x="95" y="50"/>
                      <a:pt x="93" y="53"/>
                      <a:pt x="90" y="51"/>
                    </a:cubicBezTo>
                    <a:cubicBezTo>
                      <a:pt x="87" y="51"/>
                      <a:pt x="88" y="55"/>
                      <a:pt x="85" y="55"/>
                    </a:cubicBezTo>
                    <a:cubicBezTo>
                      <a:pt x="82" y="53"/>
                      <a:pt x="88" y="47"/>
                      <a:pt x="84" y="41"/>
                    </a:cubicBezTo>
                    <a:cubicBezTo>
                      <a:pt x="79" y="34"/>
                      <a:pt x="84" y="28"/>
                      <a:pt x="82" y="24"/>
                    </a:cubicBezTo>
                    <a:cubicBezTo>
                      <a:pt x="81" y="19"/>
                      <a:pt x="82" y="19"/>
                      <a:pt x="82" y="16"/>
                    </a:cubicBezTo>
                    <a:cubicBezTo>
                      <a:pt x="82" y="13"/>
                      <a:pt x="70" y="17"/>
                      <a:pt x="73" y="13"/>
                    </a:cubicBezTo>
                    <a:cubicBezTo>
                      <a:pt x="73" y="11"/>
                      <a:pt x="72" y="10"/>
                      <a:pt x="70" y="11"/>
                    </a:cubicBezTo>
                    <a:cubicBezTo>
                      <a:pt x="69" y="13"/>
                      <a:pt x="64" y="10"/>
                      <a:pt x="64" y="14"/>
                    </a:cubicBezTo>
                    <a:cubicBezTo>
                      <a:pt x="64" y="19"/>
                      <a:pt x="63" y="16"/>
                      <a:pt x="63" y="20"/>
                    </a:cubicBezTo>
                    <a:cubicBezTo>
                      <a:pt x="64" y="24"/>
                      <a:pt x="60" y="22"/>
                      <a:pt x="58" y="22"/>
                    </a:cubicBezTo>
                    <a:cubicBezTo>
                      <a:pt x="56" y="20"/>
                      <a:pt x="49" y="25"/>
                      <a:pt x="47" y="20"/>
                    </a:cubicBezTo>
                    <a:cubicBezTo>
                      <a:pt x="46" y="16"/>
                      <a:pt x="44" y="17"/>
                      <a:pt x="44" y="13"/>
                    </a:cubicBezTo>
                    <a:cubicBezTo>
                      <a:pt x="44" y="10"/>
                      <a:pt x="43" y="10"/>
                      <a:pt x="41" y="5"/>
                    </a:cubicBezTo>
                    <a:cubicBezTo>
                      <a:pt x="41" y="0"/>
                      <a:pt x="41" y="0"/>
                      <a:pt x="31" y="2"/>
                    </a:cubicBezTo>
                    <a:cubicBezTo>
                      <a:pt x="18" y="2"/>
                      <a:pt x="20" y="0"/>
                      <a:pt x="14" y="0"/>
                    </a:cubicBezTo>
                    <a:cubicBezTo>
                      <a:pt x="9" y="3"/>
                      <a:pt x="6" y="2"/>
                      <a:pt x="8" y="3"/>
                    </a:cubicBezTo>
                    <a:cubicBezTo>
                      <a:pt x="8" y="6"/>
                      <a:pt x="17" y="25"/>
                      <a:pt x="14" y="28"/>
                    </a:cubicBezTo>
                    <a:cubicBezTo>
                      <a:pt x="11" y="33"/>
                      <a:pt x="15" y="41"/>
                      <a:pt x="18" y="47"/>
                    </a:cubicBezTo>
                    <a:cubicBezTo>
                      <a:pt x="20" y="53"/>
                      <a:pt x="20" y="62"/>
                      <a:pt x="14" y="67"/>
                    </a:cubicBezTo>
                    <a:cubicBezTo>
                      <a:pt x="5" y="73"/>
                      <a:pt x="8" y="90"/>
                      <a:pt x="5" y="96"/>
                    </a:cubicBezTo>
                    <a:cubicBezTo>
                      <a:pt x="0" y="103"/>
                      <a:pt x="3" y="104"/>
                      <a:pt x="2" y="114"/>
                    </a:cubicBezTo>
                    <a:cubicBezTo>
                      <a:pt x="8" y="114"/>
                      <a:pt x="8" y="114"/>
                      <a:pt x="12" y="110"/>
                    </a:cubicBezTo>
                    <a:cubicBezTo>
                      <a:pt x="18" y="107"/>
                      <a:pt x="17" y="115"/>
                      <a:pt x="22" y="115"/>
                    </a:cubicBezTo>
                    <a:cubicBezTo>
                      <a:pt x="26" y="115"/>
                      <a:pt x="46" y="115"/>
                      <a:pt x="50" y="115"/>
                    </a:cubicBezTo>
                    <a:cubicBezTo>
                      <a:pt x="55" y="115"/>
                      <a:pt x="56" y="114"/>
                      <a:pt x="58" y="117"/>
                    </a:cubicBezTo>
                    <a:cubicBezTo>
                      <a:pt x="60" y="123"/>
                      <a:pt x="69" y="118"/>
                      <a:pt x="72" y="120"/>
                    </a:cubicBezTo>
                    <a:cubicBezTo>
                      <a:pt x="75" y="121"/>
                      <a:pt x="75" y="121"/>
                      <a:pt x="76" y="120"/>
                    </a:cubicBezTo>
                    <a:cubicBezTo>
                      <a:pt x="76" y="118"/>
                      <a:pt x="78" y="121"/>
                      <a:pt x="79" y="121"/>
                    </a:cubicBezTo>
                    <a:cubicBezTo>
                      <a:pt x="82" y="120"/>
                      <a:pt x="95" y="117"/>
                      <a:pt x="95" y="117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06" name="Freeform 100"/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4757571" y="3942193"/>
                <a:ext cx="210539" cy="228079"/>
              </a:xfrm>
              <a:custGeom>
                <a:avLst/>
                <a:gdLst/>
                <a:ahLst/>
                <a:cxnLst>
                  <a:cxn ang="0">
                    <a:pos x="26" y="95"/>
                  </a:cxn>
                  <a:cxn ang="0">
                    <a:pos x="11" y="94"/>
                  </a:cxn>
                  <a:cxn ang="0">
                    <a:pos x="0" y="76"/>
                  </a:cxn>
                  <a:cxn ang="0">
                    <a:pos x="0" y="50"/>
                  </a:cxn>
                  <a:cxn ang="0">
                    <a:pos x="14" y="48"/>
                  </a:cxn>
                  <a:cxn ang="0">
                    <a:pos x="15" y="42"/>
                  </a:cxn>
                  <a:cxn ang="0">
                    <a:pos x="15" y="36"/>
                  </a:cxn>
                  <a:cxn ang="0">
                    <a:pos x="15" y="27"/>
                  </a:cxn>
                  <a:cxn ang="0">
                    <a:pos x="23" y="31"/>
                  </a:cxn>
                  <a:cxn ang="0">
                    <a:pos x="29" y="36"/>
                  </a:cxn>
                  <a:cxn ang="0">
                    <a:pos x="40" y="36"/>
                  </a:cxn>
                  <a:cxn ang="0">
                    <a:pos x="41" y="36"/>
                  </a:cxn>
                  <a:cxn ang="0">
                    <a:pos x="46" y="41"/>
                  </a:cxn>
                  <a:cxn ang="0">
                    <a:pos x="53" y="47"/>
                  </a:cxn>
                  <a:cxn ang="0">
                    <a:pos x="59" y="50"/>
                  </a:cxn>
                  <a:cxn ang="0">
                    <a:pos x="63" y="45"/>
                  </a:cxn>
                  <a:cxn ang="0">
                    <a:pos x="56" y="42"/>
                  </a:cxn>
                  <a:cxn ang="0">
                    <a:pos x="50" y="35"/>
                  </a:cxn>
                  <a:cxn ang="0">
                    <a:pos x="52" y="22"/>
                  </a:cxn>
                  <a:cxn ang="0">
                    <a:pos x="52" y="13"/>
                  </a:cxn>
                  <a:cxn ang="0">
                    <a:pos x="55" y="5"/>
                  </a:cxn>
                  <a:cxn ang="0">
                    <a:pos x="70" y="0"/>
                  </a:cxn>
                  <a:cxn ang="0">
                    <a:pos x="76" y="6"/>
                  </a:cxn>
                  <a:cxn ang="0">
                    <a:pos x="79" y="8"/>
                  </a:cxn>
                  <a:cxn ang="0">
                    <a:pos x="87" y="13"/>
                  </a:cxn>
                  <a:cxn ang="0">
                    <a:pos x="90" y="16"/>
                  </a:cxn>
                  <a:cxn ang="0">
                    <a:pos x="90" y="20"/>
                  </a:cxn>
                  <a:cxn ang="0">
                    <a:pos x="91" y="27"/>
                  </a:cxn>
                  <a:cxn ang="0">
                    <a:pos x="90" y="31"/>
                  </a:cxn>
                  <a:cxn ang="0">
                    <a:pos x="90" y="38"/>
                  </a:cxn>
                  <a:cxn ang="0">
                    <a:pos x="90" y="44"/>
                  </a:cxn>
                  <a:cxn ang="0">
                    <a:pos x="85" y="53"/>
                  </a:cxn>
                  <a:cxn ang="0">
                    <a:pos x="88" y="58"/>
                  </a:cxn>
                  <a:cxn ang="0">
                    <a:pos x="66" y="67"/>
                  </a:cxn>
                  <a:cxn ang="0">
                    <a:pos x="67" y="73"/>
                  </a:cxn>
                  <a:cxn ang="0">
                    <a:pos x="56" y="76"/>
                  </a:cxn>
                  <a:cxn ang="0">
                    <a:pos x="52" y="84"/>
                  </a:cxn>
                  <a:cxn ang="0">
                    <a:pos x="40" y="97"/>
                  </a:cxn>
                  <a:cxn ang="0">
                    <a:pos x="32" y="97"/>
                  </a:cxn>
                  <a:cxn ang="0">
                    <a:pos x="26" y="95"/>
                  </a:cxn>
                </a:cxnLst>
                <a:rect l="0" t="0" r="r" b="b"/>
                <a:pathLst>
                  <a:path w="93" h="101">
                    <a:moveTo>
                      <a:pt x="26" y="95"/>
                    </a:moveTo>
                    <a:cubicBezTo>
                      <a:pt x="23" y="90"/>
                      <a:pt x="18" y="92"/>
                      <a:pt x="11" y="94"/>
                    </a:cubicBezTo>
                    <a:cubicBezTo>
                      <a:pt x="6" y="89"/>
                      <a:pt x="0" y="83"/>
                      <a:pt x="0" y="76"/>
                    </a:cubicBezTo>
                    <a:cubicBezTo>
                      <a:pt x="0" y="73"/>
                      <a:pt x="0" y="55"/>
                      <a:pt x="0" y="50"/>
                    </a:cubicBezTo>
                    <a:cubicBezTo>
                      <a:pt x="0" y="47"/>
                      <a:pt x="5" y="48"/>
                      <a:pt x="14" y="48"/>
                    </a:cubicBezTo>
                    <a:cubicBezTo>
                      <a:pt x="17" y="48"/>
                      <a:pt x="14" y="45"/>
                      <a:pt x="15" y="42"/>
                    </a:cubicBezTo>
                    <a:cubicBezTo>
                      <a:pt x="18" y="41"/>
                      <a:pt x="14" y="41"/>
                      <a:pt x="15" y="36"/>
                    </a:cubicBezTo>
                    <a:cubicBezTo>
                      <a:pt x="17" y="30"/>
                      <a:pt x="15" y="28"/>
                      <a:pt x="15" y="27"/>
                    </a:cubicBezTo>
                    <a:cubicBezTo>
                      <a:pt x="23" y="27"/>
                      <a:pt x="17" y="35"/>
                      <a:pt x="23" y="31"/>
                    </a:cubicBezTo>
                    <a:cubicBezTo>
                      <a:pt x="31" y="27"/>
                      <a:pt x="23" y="35"/>
                      <a:pt x="29" y="36"/>
                    </a:cubicBezTo>
                    <a:cubicBezTo>
                      <a:pt x="37" y="38"/>
                      <a:pt x="38" y="39"/>
                      <a:pt x="40" y="36"/>
                    </a:cubicBezTo>
                    <a:cubicBezTo>
                      <a:pt x="40" y="31"/>
                      <a:pt x="41" y="33"/>
                      <a:pt x="41" y="36"/>
                    </a:cubicBezTo>
                    <a:cubicBezTo>
                      <a:pt x="43" y="38"/>
                      <a:pt x="44" y="41"/>
                      <a:pt x="46" y="41"/>
                    </a:cubicBezTo>
                    <a:cubicBezTo>
                      <a:pt x="49" y="41"/>
                      <a:pt x="50" y="42"/>
                      <a:pt x="53" y="47"/>
                    </a:cubicBezTo>
                    <a:cubicBezTo>
                      <a:pt x="56" y="53"/>
                      <a:pt x="56" y="53"/>
                      <a:pt x="59" y="50"/>
                    </a:cubicBezTo>
                    <a:cubicBezTo>
                      <a:pt x="61" y="48"/>
                      <a:pt x="61" y="58"/>
                      <a:pt x="63" y="45"/>
                    </a:cubicBezTo>
                    <a:cubicBezTo>
                      <a:pt x="63" y="33"/>
                      <a:pt x="61" y="44"/>
                      <a:pt x="56" y="42"/>
                    </a:cubicBezTo>
                    <a:cubicBezTo>
                      <a:pt x="53" y="41"/>
                      <a:pt x="52" y="38"/>
                      <a:pt x="50" y="35"/>
                    </a:cubicBezTo>
                    <a:cubicBezTo>
                      <a:pt x="49" y="31"/>
                      <a:pt x="55" y="25"/>
                      <a:pt x="52" y="22"/>
                    </a:cubicBezTo>
                    <a:cubicBezTo>
                      <a:pt x="50" y="17"/>
                      <a:pt x="56" y="19"/>
                      <a:pt x="52" y="13"/>
                    </a:cubicBezTo>
                    <a:cubicBezTo>
                      <a:pt x="49" y="10"/>
                      <a:pt x="55" y="11"/>
                      <a:pt x="55" y="5"/>
                    </a:cubicBezTo>
                    <a:cubicBezTo>
                      <a:pt x="55" y="0"/>
                      <a:pt x="64" y="2"/>
                      <a:pt x="70" y="0"/>
                    </a:cubicBezTo>
                    <a:cubicBezTo>
                      <a:pt x="72" y="5"/>
                      <a:pt x="75" y="3"/>
                      <a:pt x="76" y="6"/>
                    </a:cubicBezTo>
                    <a:cubicBezTo>
                      <a:pt x="78" y="10"/>
                      <a:pt x="78" y="5"/>
                      <a:pt x="79" y="8"/>
                    </a:cubicBezTo>
                    <a:cubicBezTo>
                      <a:pt x="81" y="11"/>
                      <a:pt x="79" y="8"/>
                      <a:pt x="87" y="13"/>
                    </a:cubicBezTo>
                    <a:cubicBezTo>
                      <a:pt x="87" y="16"/>
                      <a:pt x="87" y="13"/>
                      <a:pt x="90" y="16"/>
                    </a:cubicBezTo>
                    <a:cubicBezTo>
                      <a:pt x="91" y="17"/>
                      <a:pt x="88" y="17"/>
                      <a:pt x="90" y="20"/>
                    </a:cubicBezTo>
                    <a:cubicBezTo>
                      <a:pt x="93" y="22"/>
                      <a:pt x="93" y="24"/>
                      <a:pt x="91" y="27"/>
                    </a:cubicBezTo>
                    <a:cubicBezTo>
                      <a:pt x="88" y="28"/>
                      <a:pt x="91" y="30"/>
                      <a:pt x="90" y="31"/>
                    </a:cubicBezTo>
                    <a:cubicBezTo>
                      <a:pt x="88" y="33"/>
                      <a:pt x="90" y="35"/>
                      <a:pt x="90" y="38"/>
                    </a:cubicBezTo>
                    <a:cubicBezTo>
                      <a:pt x="88" y="42"/>
                      <a:pt x="93" y="44"/>
                      <a:pt x="90" y="44"/>
                    </a:cubicBezTo>
                    <a:cubicBezTo>
                      <a:pt x="85" y="44"/>
                      <a:pt x="88" y="50"/>
                      <a:pt x="85" y="53"/>
                    </a:cubicBezTo>
                    <a:cubicBezTo>
                      <a:pt x="84" y="55"/>
                      <a:pt x="87" y="56"/>
                      <a:pt x="88" y="58"/>
                    </a:cubicBezTo>
                    <a:cubicBezTo>
                      <a:pt x="87" y="59"/>
                      <a:pt x="67" y="67"/>
                      <a:pt x="66" y="67"/>
                    </a:cubicBezTo>
                    <a:cubicBezTo>
                      <a:pt x="64" y="67"/>
                      <a:pt x="66" y="72"/>
                      <a:pt x="67" y="73"/>
                    </a:cubicBezTo>
                    <a:cubicBezTo>
                      <a:pt x="64" y="75"/>
                      <a:pt x="61" y="73"/>
                      <a:pt x="56" y="76"/>
                    </a:cubicBezTo>
                    <a:cubicBezTo>
                      <a:pt x="52" y="80"/>
                      <a:pt x="56" y="83"/>
                      <a:pt x="52" y="84"/>
                    </a:cubicBezTo>
                    <a:cubicBezTo>
                      <a:pt x="46" y="87"/>
                      <a:pt x="43" y="92"/>
                      <a:pt x="40" y="97"/>
                    </a:cubicBezTo>
                    <a:cubicBezTo>
                      <a:pt x="37" y="101"/>
                      <a:pt x="35" y="95"/>
                      <a:pt x="32" y="97"/>
                    </a:cubicBezTo>
                    <a:cubicBezTo>
                      <a:pt x="31" y="98"/>
                      <a:pt x="31" y="95"/>
                      <a:pt x="26" y="95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07" name="Freeform 101"/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4902609" y="3995996"/>
                <a:ext cx="197672" cy="369605"/>
              </a:xfrm>
              <a:custGeom>
                <a:avLst/>
                <a:gdLst/>
                <a:ahLst/>
                <a:cxnLst>
                  <a:cxn ang="0">
                    <a:pos x="17" y="163"/>
                  </a:cxn>
                  <a:cxn ang="0">
                    <a:pos x="23" y="163"/>
                  </a:cxn>
                  <a:cxn ang="0">
                    <a:pos x="21" y="156"/>
                  </a:cxn>
                  <a:cxn ang="0">
                    <a:pos x="34" y="145"/>
                  </a:cxn>
                  <a:cxn ang="0">
                    <a:pos x="43" y="132"/>
                  </a:cxn>
                  <a:cxn ang="0">
                    <a:pos x="44" y="120"/>
                  </a:cxn>
                  <a:cxn ang="0">
                    <a:pos x="41" y="114"/>
                  </a:cxn>
                  <a:cxn ang="0">
                    <a:pos x="38" y="101"/>
                  </a:cxn>
                  <a:cxn ang="0">
                    <a:pos x="37" y="93"/>
                  </a:cxn>
                  <a:cxn ang="0">
                    <a:pos x="43" y="87"/>
                  </a:cxn>
                  <a:cxn ang="0">
                    <a:pos x="53" y="78"/>
                  </a:cxn>
                  <a:cxn ang="0">
                    <a:pos x="69" y="65"/>
                  </a:cxn>
                  <a:cxn ang="0">
                    <a:pos x="82" y="48"/>
                  </a:cxn>
                  <a:cxn ang="0">
                    <a:pos x="85" y="42"/>
                  </a:cxn>
                  <a:cxn ang="0">
                    <a:pos x="82" y="31"/>
                  </a:cxn>
                  <a:cxn ang="0">
                    <a:pos x="82" y="12"/>
                  </a:cxn>
                  <a:cxn ang="0">
                    <a:pos x="82" y="0"/>
                  </a:cxn>
                  <a:cxn ang="0">
                    <a:pos x="70" y="8"/>
                  </a:cxn>
                  <a:cxn ang="0">
                    <a:pos x="63" y="8"/>
                  </a:cxn>
                  <a:cxn ang="0">
                    <a:pos x="55" y="11"/>
                  </a:cxn>
                  <a:cxn ang="0">
                    <a:pos x="47" y="11"/>
                  </a:cxn>
                  <a:cxn ang="0">
                    <a:pos x="37" y="9"/>
                  </a:cxn>
                  <a:cxn ang="0">
                    <a:pos x="35" y="14"/>
                  </a:cxn>
                  <a:cxn ang="0">
                    <a:pos x="35" y="26"/>
                  </a:cxn>
                  <a:cxn ang="0">
                    <a:pos x="43" y="36"/>
                  </a:cxn>
                  <a:cxn ang="0">
                    <a:pos x="46" y="48"/>
                  </a:cxn>
                  <a:cxn ang="0">
                    <a:pos x="44" y="56"/>
                  </a:cxn>
                  <a:cxn ang="0">
                    <a:pos x="41" y="61"/>
                  </a:cxn>
                  <a:cxn ang="0">
                    <a:pos x="40" y="65"/>
                  </a:cxn>
                  <a:cxn ang="0">
                    <a:pos x="35" y="56"/>
                  </a:cxn>
                  <a:cxn ang="0">
                    <a:pos x="35" y="47"/>
                  </a:cxn>
                  <a:cxn ang="0">
                    <a:pos x="29" y="39"/>
                  </a:cxn>
                  <a:cxn ang="0">
                    <a:pos x="24" y="34"/>
                  </a:cxn>
                  <a:cxn ang="0">
                    <a:pos x="2" y="43"/>
                  </a:cxn>
                  <a:cxn ang="0">
                    <a:pos x="3" y="50"/>
                  </a:cxn>
                  <a:cxn ang="0">
                    <a:pos x="12" y="56"/>
                  </a:cxn>
                  <a:cxn ang="0">
                    <a:pos x="21" y="61"/>
                  </a:cxn>
                  <a:cxn ang="0">
                    <a:pos x="23" y="67"/>
                  </a:cxn>
                  <a:cxn ang="0">
                    <a:pos x="21" y="82"/>
                  </a:cxn>
                  <a:cxn ang="0">
                    <a:pos x="21" y="87"/>
                  </a:cxn>
                  <a:cxn ang="0">
                    <a:pos x="23" y="96"/>
                  </a:cxn>
                  <a:cxn ang="0">
                    <a:pos x="17" y="109"/>
                  </a:cxn>
                  <a:cxn ang="0">
                    <a:pos x="9" y="118"/>
                  </a:cxn>
                  <a:cxn ang="0">
                    <a:pos x="15" y="156"/>
                  </a:cxn>
                  <a:cxn ang="0">
                    <a:pos x="17" y="163"/>
                  </a:cxn>
                </a:cxnLst>
                <a:rect l="0" t="0" r="r" b="b"/>
                <a:pathLst>
                  <a:path w="87" h="163">
                    <a:moveTo>
                      <a:pt x="17" y="163"/>
                    </a:moveTo>
                    <a:cubicBezTo>
                      <a:pt x="23" y="163"/>
                      <a:pt x="23" y="163"/>
                      <a:pt x="23" y="163"/>
                    </a:cubicBezTo>
                    <a:cubicBezTo>
                      <a:pt x="24" y="152"/>
                      <a:pt x="21" y="160"/>
                      <a:pt x="21" y="156"/>
                    </a:cubicBezTo>
                    <a:cubicBezTo>
                      <a:pt x="20" y="152"/>
                      <a:pt x="26" y="148"/>
                      <a:pt x="34" y="145"/>
                    </a:cubicBezTo>
                    <a:cubicBezTo>
                      <a:pt x="41" y="142"/>
                      <a:pt x="44" y="137"/>
                      <a:pt x="43" y="132"/>
                    </a:cubicBezTo>
                    <a:cubicBezTo>
                      <a:pt x="41" y="129"/>
                      <a:pt x="44" y="129"/>
                      <a:pt x="44" y="120"/>
                    </a:cubicBezTo>
                    <a:cubicBezTo>
                      <a:pt x="43" y="110"/>
                      <a:pt x="43" y="121"/>
                      <a:pt x="41" y="114"/>
                    </a:cubicBezTo>
                    <a:cubicBezTo>
                      <a:pt x="40" y="104"/>
                      <a:pt x="41" y="106"/>
                      <a:pt x="38" y="101"/>
                    </a:cubicBezTo>
                    <a:cubicBezTo>
                      <a:pt x="35" y="98"/>
                      <a:pt x="37" y="96"/>
                      <a:pt x="37" y="93"/>
                    </a:cubicBezTo>
                    <a:cubicBezTo>
                      <a:pt x="37" y="90"/>
                      <a:pt x="38" y="95"/>
                      <a:pt x="43" y="87"/>
                    </a:cubicBezTo>
                    <a:cubicBezTo>
                      <a:pt x="49" y="81"/>
                      <a:pt x="47" y="87"/>
                      <a:pt x="53" y="78"/>
                    </a:cubicBezTo>
                    <a:cubicBezTo>
                      <a:pt x="58" y="67"/>
                      <a:pt x="64" y="67"/>
                      <a:pt x="69" y="65"/>
                    </a:cubicBezTo>
                    <a:cubicBezTo>
                      <a:pt x="75" y="64"/>
                      <a:pt x="78" y="57"/>
                      <a:pt x="82" y="48"/>
                    </a:cubicBezTo>
                    <a:cubicBezTo>
                      <a:pt x="85" y="42"/>
                      <a:pt x="82" y="47"/>
                      <a:pt x="85" y="42"/>
                    </a:cubicBezTo>
                    <a:cubicBezTo>
                      <a:pt x="87" y="37"/>
                      <a:pt x="82" y="40"/>
                      <a:pt x="82" y="31"/>
                    </a:cubicBezTo>
                    <a:cubicBezTo>
                      <a:pt x="84" y="23"/>
                      <a:pt x="84" y="18"/>
                      <a:pt x="82" y="12"/>
                    </a:cubicBezTo>
                    <a:cubicBezTo>
                      <a:pt x="81" y="3"/>
                      <a:pt x="87" y="8"/>
                      <a:pt x="82" y="0"/>
                    </a:cubicBezTo>
                    <a:cubicBezTo>
                      <a:pt x="79" y="3"/>
                      <a:pt x="76" y="4"/>
                      <a:pt x="70" y="8"/>
                    </a:cubicBezTo>
                    <a:cubicBezTo>
                      <a:pt x="64" y="11"/>
                      <a:pt x="63" y="3"/>
                      <a:pt x="63" y="8"/>
                    </a:cubicBezTo>
                    <a:cubicBezTo>
                      <a:pt x="61" y="12"/>
                      <a:pt x="56" y="12"/>
                      <a:pt x="55" y="11"/>
                    </a:cubicBezTo>
                    <a:cubicBezTo>
                      <a:pt x="53" y="9"/>
                      <a:pt x="50" y="14"/>
                      <a:pt x="47" y="11"/>
                    </a:cubicBezTo>
                    <a:cubicBezTo>
                      <a:pt x="44" y="6"/>
                      <a:pt x="44" y="12"/>
                      <a:pt x="37" y="9"/>
                    </a:cubicBezTo>
                    <a:cubicBezTo>
                      <a:pt x="35" y="11"/>
                      <a:pt x="37" y="12"/>
                      <a:pt x="35" y="14"/>
                    </a:cubicBezTo>
                    <a:cubicBezTo>
                      <a:pt x="34" y="17"/>
                      <a:pt x="35" y="22"/>
                      <a:pt x="35" y="26"/>
                    </a:cubicBezTo>
                    <a:cubicBezTo>
                      <a:pt x="37" y="29"/>
                      <a:pt x="38" y="29"/>
                      <a:pt x="43" y="36"/>
                    </a:cubicBezTo>
                    <a:cubicBezTo>
                      <a:pt x="49" y="42"/>
                      <a:pt x="46" y="43"/>
                      <a:pt x="46" y="48"/>
                    </a:cubicBezTo>
                    <a:cubicBezTo>
                      <a:pt x="46" y="53"/>
                      <a:pt x="46" y="54"/>
                      <a:pt x="44" y="56"/>
                    </a:cubicBezTo>
                    <a:cubicBezTo>
                      <a:pt x="41" y="56"/>
                      <a:pt x="40" y="57"/>
                      <a:pt x="41" y="61"/>
                    </a:cubicBezTo>
                    <a:cubicBezTo>
                      <a:pt x="41" y="64"/>
                      <a:pt x="41" y="67"/>
                      <a:pt x="40" y="65"/>
                    </a:cubicBezTo>
                    <a:cubicBezTo>
                      <a:pt x="38" y="65"/>
                      <a:pt x="40" y="62"/>
                      <a:pt x="35" y="56"/>
                    </a:cubicBezTo>
                    <a:cubicBezTo>
                      <a:pt x="31" y="51"/>
                      <a:pt x="35" y="53"/>
                      <a:pt x="35" y="47"/>
                    </a:cubicBezTo>
                    <a:cubicBezTo>
                      <a:pt x="37" y="40"/>
                      <a:pt x="35" y="37"/>
                      <a:pt x="29" y="39"/>
                    </a:cubicBezTo>
                    <a:cubicBezTo>
                      <a:pt x="27" y="40"/>
                      <a:pt x="26" y="37"/>
                      <a:pt x="24" y="34"/>
                    </a:cubicBezTo>
                    <a:cubicBezTo>
                      <a:pt x="23" y="36"/>
                      <a:pt x="3" y="43"/>
                      <a:pt x="2" y="43"/>
                    </a:cubicBezTo>
                    <a:cubicBezTo>
                      <a:pt x="0" y="43"/>
                      <a:pt x="2" y="48"/>
                      <a:pt x="3" y="50"/>
                    </a:cubicBezTo>
                    <a:cubicBezTo>
                      <a:pt x="2" y="57"/>
                      <a:pt x="8" y="51"/>
                      <a:pt x="12" y="56"/>
                    </a:cubicBezTo>
                    <a:cubicBezTo>
                      <a:pt x="17" y="59"/>
                      <a:pt x="18" y="57"/>
                      <a:pt x="21" y="61"/>
                    </a:cubicBezTo>
                    <a:cubicBezTo>
                      <a:pt x="24" y="62"/>
                      <a:pt x="21" y="62"/>
                      <a:pt x="23" y="67"/>
                    </a:cubicBezTo>
                    <a:cubicBezTo>
                      <a:pt x="24" y="70"/>
                      <a:pt x="23" y="82"/>
                      <a:pt x="21" y="82"/>
                    </a:cubicBezTo>
                    <a:cubicBezTo>
                      <a:pt x="20" y="82"/>
                      <a:pt x="23" y="84"/>
                      <a:pt x="21" y="87"/>
                    </a:cubicBezTo>
                    <a:cubicBezTo>
                      <a:pt x="20" y="92"/>
                      <a:pt x="26" y="90"/>
                      <a:pt x="23" y="96"/>
                    </a:cubicBezTo>
                    <a:cubicBezTo>
                      <a:pt x="17" y="104"/>
                      <a:pt x="20" y="106"/>
                      <a:pt x="17" y="109"/>
                    </a:cubicBezTo>
                    <a:cubicBezTo>
                      <a:pt x="15" y="112"/>
                      <a:pt x="9" y="118"/>
                      <a:pt x="9" y="118"/>
                    </a:cubicBezTo>
                    <a:cubicBezTo>
                      <a:pt x="12" y="126"/>
                      <a:pt x="17" y="146"/>
                      <a:pt x="15" y="156"/>
                    </a:cubicBezTo>
                    <a:cubicBezTo>
                      <a:pt x="17" y="163"/>
                      <a:pt x="17" y="163"/>
                      <a:pt x="17" y="163"/>
                    </a:cubicBezTo>
                    <a:close/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08" name="Freeform 102"/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4566917" y="4134013"/>
                <a:ext cx="249138" cy="284222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15" y="42"/>
                  </a:cxn>
                  <a:cxn ang="0">
                    <a:pos x="23" y="68"/>
                  </a:cxn>
                  <a:cxn ang="0">
                    <a:pos x="29" y="101"/>
                  </a:cxn>
                  <a:cxn ang="0">
                    <a:pos x="40" y="121"/>
                  </a:cxn>
                  <a:cxn ang="0">
                    <a:pos x="46" y="116"/>
                  </a:cxn>
                  <a:cxn ang="0">
                    <a:pos x="51" y="124"/>
                  </a:cxn>
                  <a:cxn ang="0">
                    <a:pos x="60" y="124"/>
                  </a:cxn>
                  <a:cxn ang="0">
                    <a:pos x="69" y="119"/>
                  </a:cxn>
                  <a:cxn ang="0">
                    <a:pos x="69" y="82"/>
                  </a:cxn>
                  <a:cxn ang="0">
                    <a:pos x="69" y="54"/>
                  </a:cxn>
                  <a:cxn ang="0">
                    <a:pos x="77" y="54"/>
                  </a:cxn>
                  <a:cxn ang="0">
                    <a:pos x="77" y="17"/>
                  </a:cxn>
                  <a:cxn ang="0">
                    <a:pos x="87" y="14"/>
                  </a:cxn>
                  <a:cxn ang="0">
                    <a:pos x="96" y="15"/>
                  </a:cxn>
                  <a:cxn ang="0">
                    <a:pos x="102" y="14"/>
                  </a:cxn>
                  <a:cxn ang="0">
                    <a:pos x="110" y="11"/>
                  </a:cxn>
                  <a:cxn ang="0">
                    <a:pos x="95" y="9"/>
                  </a:cxn>
                  <a:cxn ang="0">
                    <a:pos x="80" y="14"/>
                  </a:cxn>
                  <a:cxn ang="0">
                    <a:pos x="77" y="12"/>
                  </a:cxn>
                  <a:cxn ang="0">
                    <a:pos x="72" y="12"/>
                  </a:cxn>
                  <a:cxn ang="0">
                    <a:pos x="58" y="9"/>
                  </a:cxn>
                  <a:cxn ang="0">
                    <a:pos x="51" y="8"/>
                  </a:cxn>
                  <a:cxn ang="0">
                    <a:pos x="22" y="8"/>
                  </a:cxn>
                  <a:cxn ang="0">
                    <a:pos x="12" y="3"/>
                  </a:cxn>
                  <a:cxn ang="0">
                    <a:pos x="2" y="6"/>
                  </a:cxn>
                </a:cxnLst>
                <a:rect l="0" t="0" r="r" b="b"/>
                <a:pathLst>
                  <a:path w="110" h="125">
                    <a:moveTo>
                      <a:pt x="2" y="6"/>
                    </a:moveTo>
                    <a:cubicBezTo>
                      <a:pt x="0" y="15"/>
                      <a:pt x="11" y="25"/>
                      <a:pt x="15" y="42"/>
                    </a:cubicBezTo>
                    <a:cubicBezTo>
                      <a:pt x="19" y="57"/>
                      <a:pt x="26" y="49"/>
                      <a:pt x="23" y="68"/>
                    </a:cubicBezTo>
                    <a:cubicBezTo>
                      <a:pt x="23" y="76"/>
                      <a:pt x="28" y="90"/>
                      <a:pt x="29" y="101"/>
                    </a:cubicBezTo>
                    <a:cubicBezTo>
                      <a:pt x="29" y="113"/>
                      <a:pt x="37" y="118"/>
                      <a:pt x="40" y="121"/>
                    </a:cubicBezTo>
                    <a:cubicBezTo>
                      <a:pt x="44" y="119"/>
                      <a:pt x="43" y="113"/>
                      <a:pt x="46" y="116"/>
                    </a:cubicBezTo>
                    <a:cubicBezTo>
                      <a:pt x="49" y="119"/>
                      <a:pt x="44" y="121"/>
                      <a:pt x="51" y="124"/>
                    </a:cubicBezTo>
                    <a:cubicBezTo>
                      <a:pt x="55" y="125"/>
                      <a:pt x="58" y="122"/>
                      <a:pt x="60" y="124"/>
                    </a:cubicBezTo>
                    <a:cubicBezTo>
                      <a:pt x="61" y="125"/>
                      <a:pt x="64" y="121"/>
                      <a:pt x="69" y="119"/>
                    </a:cubicBezTo>
                    <a:cubicBezTo>
                      <a:pt x="69" y="82"/>
                      <a:pt x="69" y="82"/>
                      <a:pt x="69" y="82"/>
                    </a:cubicBezTo>
                    <a:cubicBezTo>
                      <a:pt x="69" y="54"/>
                      <a:pt x="69" y="54"/>
                      <a:pt x="69" y="54"/>
                    </a:cubicBezTo>
                    <a:cubicBezTo>
                      <a:pt x="77" y="54"/>
                      <a:pt x="77" y="54"/>
                      <a:pt x="77" y="54"/>
                    </a:cubicBezTo>
                    <a:cubicBezTo>
                      <a:pt x="77" y="17"/>
                      <a:pt x="77" y="17"/>
                      <a:pt x="77" y="17"/>
                    </a:cubicBezTo>
                    <a:cubicBezTo>
                      <a:pt x="77" y="17"/>
                      <a:pt x="81" y="15"/>
                      <a:pt x="87" y="14"/>
                    </a:cubicBezTo>
                    <a:cubicBezTo>
                      <a:pt x="93" y="14"/>
                      <a:pt x="95" y="12"/>
                      <a:pt x="96" y="15"/>
                    </a:cubicBezTo>
                    <a:cubicBezTo>
                      <a:pt x="98" y="20"/>
                      <a:pt x="99" y="14"/>
                      <a:pt x="102" y="14"/>
                    </a:cubicBezTo>
                    <a:cubicBezTo>
                      <a:pt x="105" y="14"/>
                      <a:pt x="105" y="12"/>
                      <a:pt x="110" y="11"/>
                    </a:cubicBezTo>
                    <a:cubicBezTo>
                      <a:pt x="107" y="6"/>
                      <a:pt x="102" y="8"/>
                      <a:pt x="95" y="9"/>
                    </a:cubicBezTo>
                    <a:cubicBezTo>
                      <a:pt x="95" y="9"/>
                      <a:pt x="83" y="12"/>
                      <a:pt x="80" y="14"/>
                    </a:cubicBezTo>
                    <a:cubicBezTo>
                      <a:pt x="78" y="14"/>
                      <a:pt x="77" y="11"/>
                      <a:pt x="77" y="12"/>
                    </a:cubicBezTo>
                    <a:cubicBezTo>
                      <a:pt x="75" y="14"/>
                      <a:pt x="75" y="14"/>
                      <a:pt x="72" y="12"/>
                    </a:cubicBezTo>
                    <a:cubicBezTo>
                      <a:pt x="69" y="11"/>
                      <a:pt x="60" y="15"/>
                      <a:pt x="58" y="9"/>
                    </a:cubicBezTo>
                    <a:cubicBezTo>
                      <a:pt x="57" y="6"/>
                      <a:pt x="55" y="8"/>
                      <a:pt x="51" y="8"/>
                    </a:cubicBezTo>
                    <a:cubicBezTo>
                      <a:pt x="46" y="8"/>
                      <a:pt x="26" y="8"/>
                      <a:pt x="22" y="8"/>
                    </a:cubicBezTo>
                    <a:cubicBezTo>
                      <a:pt x="17" y="8"/>
                      <a:pt x="19" y="0"/>
                      <a:pt x="12" y="3"/>
                    </a:cubicBezTo>
                    <a:cubicBezTo>
                      <a:pt x="8" y="6"/>
                      <a:pt x="8" y="6"/>
                      <a:pt x="2" y="6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09" name="Freeform 103"/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4723651" y="4157406"/>
                <a:ext cx="164922" cy="215214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34" y="3"/>
                  </a:cxn>
                  <a:cxn ang="0">
                    <a:pos x="27" y="5"/>
                  </a:cxn>
                  <a:cxn ang="0">
                    <a:pos x="18" y="3"/>
                  </a:cxn>
                  <a:cxn ang="0">
                    <a:pos x="8" y="7"/>
                  </a:cxn>
                  <a:cxn ang="0">
                    <a:pos x="8" y="44"/>
                  </a:cxn>
                  <a:cxn ang="0">
                    <a:pos x="0" y="44"/>
                  </a:cxn>
                  <a:cxn ang="0">
                    <a:pos x="0" y="72"/>
                  </a:cxn>
                  <a:cxn ang="0">
                    <a:pos x="5" y="88"/>
                  </a:cxn>
                  <a:cxn ang="0">
                    <a:pos x="6" y="94"/>
                  </a:cxn>
                  <a:cxn ang="0">
                    <a:pos x="17" y="89"/>
                  </a:cxn>
                  <a:cxn ang="0">
                    <a:pos x="30" y="80"/>
                  </a:cxn>
                  <a:cxn ang="0">
                    <a:pos x="46" y="75"/>
                  </a:cxn>
                  <a:cxn ang="0">
                    <a:pos x="55" y="63"/>
                  </a:cxn>
                  <a:cxn ang="0">
                    <a:pos x="62" y="53"/>
                  </a:cxn>
                  <a:cxn ang="0">
                    <a:pos x="73" y="46"/>
                  </a:cxn>
                  <a:cxn ang="0">
                    <a:pos x="65" y="39"/>
                  </a:cxn>
                  <a:cxn ang="0">
                    <a:pos x="61" y="30"/>
                  </a:cxn>
                  <a:cxn ang="0">
                    <a:pos x="58" y="25"/>
                  </a:cxn>
                  <a:cxn ang="0">
                    <a:pos x="47" y="16"/>
                  </a:cxn>
                  <a:cxn ang="0">
                    <a:pos x="41" y="0"/>
                  </a:cxn>
                </a:cxnLst>
                <a:rect l="0" t="0" r="r" b="b"/>
                <a:pathLst>
                  <a:path w="73" h="95">
                    <a:moveTo>
                      <a:pt x="41" y="0"/>
                    </a:moveTo>
                    <a:cubicBezTo>
                      <a:pt x="37" y="2"/>
                      <a:pt x="37" y="3"/>
                      <a:pt x="34" y="3"/>
                    </a:cubicBezTo>
                    <a:cubicBezTo>
                      <a:pt x="30" y="3"/>
                      <a:pt x="29" y="10"/>
                      <a:pt x="27" y="5"/>
                    </a:cubicBezTo>
                    <a:cubicBezTo>
                      <a:pt x="26" y="2"/>
                      <a:pt x="24" y="3"/>
                      <a:pt x="18" y="3"/>
                    </a:cubicBezTo>
                    <a:cubicBezTo>
                      <a:pt x="12" y="5"/>
                      <a:pt x="8" y="7"/>
                      <a:pt x="8" y="7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72"/>
                      <a:pt x="0" y="72"/>
                      <a:pt x="0" y="72"/>
                    </a:cubicBezTo>
                    <a:cubicBezTo>
                      <a:pt x="3" y="75"/>
                      <a:pt x="6" y="84"/>
                      <a:pt x="5" y="88"/>
                    </a:cubicBezTo>
                    <a:cubicBezTo>
                      <a:pt x="3" y="89"/>
                      <a:pt x="3" y="94"/>
                      <a:pt x="6" y="94"/>
                    </a:cubicBezTo>
                    <a:cubicBezTo>
                      <a:pt x="9" y="92"/>
                      <a:pt x="11" y="95"/>
                      <a:pt x="17" y="89"/>
                    </a:cubicBezTo>
                    <a:cubicBezTo>
                      <a:pt x="21" y="83"/>
                      <a:pt x="20" y="72"/>
                      <a:pt x="30" y="80"/>
                    </a:cubicBezTo>
                    <a:cubicBezTo>
                      <a:pt x="41" y="86"/>
                      <a:pt x="43" y="80"/>
                      <a:pt x="46" y="75"/>
                    </a:cubicBezTo>
                    <a:cubicBezTo>
                      <a:pt x="47" y="69"/>
                      <a:pt x="53" y="70"/>
                      <a:pt x="55" y="63"/>
                    </a:cubicBezTo>
                    <a:cubicBezTo>
                      <a:pt x="56" y="56"/>
                      <a:pt x="61" y="58"/>
                      <a:pt x="62" y="53"/>
                    </a:cubicBezTo>
                    <a:cubicBezTo>
                      <a:pt x="64" y="49"/>
                      <a:pt x="68" y="50"/>
                      <a:pt x="73" y="46"/>
                    </a:cubicBezTo>
                    <a:cubicBezTo>
                      <a:pt x="72" y="41"/>
                      <a:pt x="70" y="41"/>
                      <a:pt x="65" y="39"/>
                    </a:cubicBezTo>
                    <a:cubicBezTo>
                      <a:pt x="62" y="38"/>
                      <a:pt x="59" y="35"/>
                      <a:pt x="61" y="30"/>
                    </a:cubicBezTo>
                    <a:cubicBezTo>
                      <a:pt x="61" y="25"/>
                      <a:pt x="58" y="30"/>
                      <a:pt x="58" y="25"/>
                    </a:cubicBezTo>
                    <a:cubicBezTo>
                      <a:pt x="58" y="22"/>
                      <a:pt x="49" y="22"/>
                      <a:pt x="47" y="16"/>
                    </a:cubicBezTo>
                    <a:cubicBezTo>
                      <a:pt x="46" y="11"/>
                      <a:pt x="43" y="8"/>
                      <a:pt x="41" y="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10" name="Freeform 104"/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4816054" y="4107111"/>
                <a:ext cx="145038" cy="156732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6" y="38"/>
                  </a:cxn>
                  <a:cxn ang="0">
                    <a:pos x="17" y="47"/>
                  </a:cxn>
                  <a:cxn ang="0">
                    <a:pos x="20" y="52"/>
                  </a:cxn>
                  <a:cxn ang="0">
                    <a:pos x="24" y="61"/>
                  </a:cxn>
                  <a:cxn ang="0">
                    <a:pos x="32" y="67"/>
                  </a:cxn>
                  <a:cxn ang="0">
                    <a:pos x="43" y="69"/>
                  </a:cxn>
                  <a:cxn ang="0">
                    <a:pos x="47" y="69"/>
                  </a:cxn>
                  <a:cxn ang="0">
                    <a:pos x="55" y="59"/>
                  </a:cxn>
                  <a:cxn ang="0">
                    <a:pos x="61" y="47"/>
                  </a:cxn>
                  <a:cxn ang="0">
                    <a:pos x="59" y="38"/>
                  </a:cxn>
                  <a:cxn ang="0">
                    <a:pos x="59" y="33"/>
                  </a:cxn>
                  <a:cxn ang="0">
                    <a:pos x="61" y="17"/>
                  </a:cxn>
                  <a:cxn ang="0">
                    <a:pos x="59" y="11"/>
                  </a:cxn>
                  <a:cxn ang="0">
                    <a:pos x="50" y="7"/>
                  </a:cxn>
                  <a:cxn ang="0">
                    <a:pos x="41" y="0"/>
                  </a:cxn>
                  <a:cxn ang="0">
                    <a:pos x="31" y="3"/>
                  </a:cxn>
                  <a:cxn ang="0">
                    <a:pos x="26" y="11"/>
                  </a:cxn>
                  <a:cxn ang="0">
                    <a:pos x="14" y="24"/>
                  </a:cxn>
                  <a:cxn ang="0">
                    <a:pos x="6" y="24"/>
                  </a:cxn>
                  <a:cxn ang="0">
                    <a:pos x="0" y="22"/>
                  </a:cxn>
                </a:cxnLst>
                <a:rect l="0" t="0" r="r" b="b"/>
                <a:pathLst>
                  <a:path w="64" h="69">
                    <a:moveTo>
                      <a:pt x="0" y="22"/>
                    </a:moveTo>
                    <a:cubicBezTo>
                      <a:pt x="2" y="30"/>
                      <a:pt x="5" y="33"/>
                      <a:pt x="6" y="38"/>
                    </a:cubicBezTo>
                    <a:cubicBezTo>
                      <a:pt x="8" y="44"/>
                      <a:pt x="17" y="44"/>
                      <a:pt x="17" y="47"/>
                    </a:cubicBezTo>
                    <a:cubicBezTo>
                      <a:pt x="17" y="52"/>
                      <a:pt x="20" y="47"/>
                      <a:pt x="20" y="52"/>
                    </a:cubicBezTo>
                    <a:cubicBezTo>
                      <a:pt x="18" y="56"/>
                      <a:pt x="21" y="59"/>
                      <a:pt x="24" y="61"/>
                    </a:cubicBezTo>
                    <a:cubicBezTo>
                      <a:pt x="29" y="63"/>
                      <a:pt x="31" y="63"/>
                      <a:pt x="32" y="67"/>
                    </a:cubicBezTo>
                    <a:cubicBezTo>
                      <a:pt x="37" y="66"/>
                      <a:pt x="40" y="69"/>
                      <a:pt x="43" y="69"/>
                    </a:cubicBezTo>
                    <a:cubicBezTo>
                      <a:pt x="44" y="67"/>
                      <a:pt x="46" y="69"/>
                      <a:pt x="47" y="69"/>
                    </a:cubicBezTo>
                    <a:cubicBezTo>
                      <a:pt x="47" y="69"/>
                      <a:pt x="53" y="63"/>
                      <a:pt x="55" y="59"/>
                    </a:cubicBezTo>
                    <a:cubicBezTo>
                      <a:pt x="58" y="56"/>
                      <a:pt x="55" y="55"/>
                      <a:pt x="61" y="47"/>
                    </a:cubicBezTo>
                    <a:cubicBezTo>
                      <a:pt x="64" y="41"/>
                      <a:pt x="58" y="42"/>
                      <a:pt x="59" y="38"/>
                    </a:cubicBezTo>
                    <a:cubicBezTo>
                      <a:pt x="61" y="35"/>
                      <a:pt x="58" y="33"/>
                      <a:pt x="59" y="33"/>
                    </a:cubicBezTo>
                    <a:cubicBezTo>
                      <a:pt x="61" y="33"/>
                      <a:pt x="62" y="21"/>
                      <a:pt x="61" y="17"/>
                    </a:cubicBezTo>
                    <a:cubicBezTo>
                      <a:pt x="59" y="13"/>
                      <a:pt x="62" y="13"/>
                      <a:pt x="59" y="11"/>
                    </a:cubicBezTo>
                    <a:cubicBezTo>
                      <a:pt x="56" y="8"/>
                      <a:pt x="55" y="10"/>
                      <a:pt x="50" y="7"/>
                    </a:cubicBezTo>
                    <a:cubicBezTo>
                      <a:pt x="46" y="2"/>
                      <a:pt x="40" y="8"/>
                      <a:pt x="41" y="0"/>
                    </a:cubicBezTo>
                    <a:cubicBezTo>
                      <a:pt x="38" y="2"/>
                      <a:pt x="35" y="0"/>
                      <a:pt x="31" y="3"/>
                    </a:cubicBezTo>
                    <a:cubicBezTo>
                      <a:pt x="26" y="7"/>
                      <a:pt x="31" y="10"/>
                      <a:pt x="26" y="11"/>
                    </a:cubicBezTo>
                    <a:cubicBezTo>
                      <a:pt x="20" y="14"/>
                      <a:pt x="17" y="19"/>
                      <a:pt x="14" y="24"/>
                    </a:cubicBezTo>
                    <a:cubicBezTo>
                      <a:pt x="11" y="28"/>
                      <a:pt x="9" y="22"/>
                      <a:pt x="6" y="24"/>
                    </a:cubicBezTo>
                    <a:cubicBezTo>
                      <a:pt x="5" y="25"/>
                      <a:pt x="5" y="22"/>
                      <a:pt x="0" y="2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11" name="Freeform 105"/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4658150" y="4256825"/>
                <a:ext cx="297093" cy="301767"/>
              </a:xfrm>
              <a:custGeom>
                <a:avLst/>
                <a:gdLst/>
                <a:ahLst/>
                <a:cxnLst>
                  <a:cxn ang="0">
                    <a:pos x="102" y="1"/>
                  </a:cxn>
                  <a:cxn ang="0">
                    <a:pos x="113" y="3"/>
                  </a:cxn>
                  <a:cxn ang="0">
                    <a:pos x="117" y="3"/>
                  </a:cxn>
                  <a:cxn ang="0">
                    <a:pos x="123" y="40"/>
                  </a:cxn>
                  <a:cxn ang="0">
                    <a:pos x="114" y="43"/>
                  </a:cxn>
                  <a:cxn ang="0">
                    <a:pos x="122" y="54"/>
                  </a:cxn>
                  <a:cxn ang="0">
                    <a:pos x="125" y="48"/>
                  </a:cxn>
                  <a:cxn ang="0">
                    <a:pos x="131" y="48"/>
                  </a:cxn>
                  <a:cxn ang="0">
                    <a:pos x="116" y="81"/>
                  </a:cxn>
                  <a:cxn ang="0">
                    <a:pos x="102" y="101"/>
                  </a:cxn>
                  <a:cxn ang="0">
                    <a:pos x="84" y="119"/>
                  </a:cxn>
                  <a:cxn ang="0">
                    <a:pos x="73" y="123"/>
                  </a:cxn>
                  <a:cxn ang="0">
                    <a:pos x="67" y="124"/>
                  </a:cxn>
                  <a:cxn ang="0">
                    <a:pos x="56" y="124"/>
                  </a:cxn>
                  <a:cxn ang="0">
                    <a:pos x="47" y="124"/>
                  </a:cxn>
                  <a:cxn ang="0">
                    <a:pos x="41" y="127"/>
                  </a:cxn>
                  <a:cxn ang="0">
                    <a:pos x="34" y="129"/>
                  </a:cxn>
                  <a:cxn ang="0">
                    <a:pos x="29" y="132"/>
                  </a:cxn>
                  <a:cxn ang="0">
                    <a:pos x="24" y="132"/>
                  </a:cxn>
                  <a:cxn ang="0">
                    <a:pos x="23" y="129"/>
                  </a:cxn>
                  <a:cxn ang="0">
                    <a:pos x="20" y="126"/>
                  </a:cxn>
                  <a:cxn ang="0">
                    <a:pos x="17" y="126"/>
                  </a:cxn>
                  <a:cxn ang="0">
                    <a:pos x="15" y="123"/>
                  </a:cxn>
                  <a:cxn ang="0">
                    <a:pos x="12" y="116"/>
                  </a:cxn>
                  <a:cxn ang="0">
                    <a:pos x="12" y="110"/>
                  </a:cxn>
                  <a:cxn ang="0">
                    <a:pos x="11" y="95"/>
                  </a:cxn>
                  <a:cxn ang="0">
                    <a:pos x="0" y="67"/>
                  </a:cxn>
                  <a:cxn ang="0">
                    <a:pos x="6" y="62"/>
                  </a:cxn>
                  <a:cxn ang="0">
                    <a:pos x="11" y="70"/>
                  </a:cxn>
                  <a:cxn ang="0">
                    <a:pos x="20" y="70"/>
                  </a:cxn>
                  <a:cxn ang="0">
                    <a:pos x="29" y="65"/>
                  </a:cxn>
                  <a:cxn ang="0">
                    <a:pos x="29" y="28"/>
                  </a:cxn>
                  <a:cxn ang="0">
                    <a:pos x="34" y="43"/>
                  </a:cxn>
                  <a:cxn ang="0">
                    <a:pos x="35" y="50"/>
                  </a:cxn>
                  <a:cxn ang="0">
                    <a:pos x="46" y="45"/>
                  </a:cxn>
                  <a:cxn ang="0">
                    <a:pos x="59" y="36"/>
                  </a:cxn>
                  <a:cxn ang="0">
                    <a:pos x="75" y="31"/>
                  </a:cxn>
                  <a:cxn ang="0">
                    <a:pos x="84" y="19"/>
                  </a:cxn>
                  <a:cxn ang="0">
                    <a:pos x="91" y="9"/>
                  </a:cxn>
                  <a:cxn ang="0">
                    <a:pos x="102" y="1"/>
                  </a:cxn>
                </a:cxnLst>
                <a:rect l="0" t="0" r="r" b="b"/>
                <a:pathLst>
                  <a:path w="131" h="133">
                    <a:moveTo>
                      <a:pt x="102" y="1"/>
                    </a:moveTo>
                    <a:cubicBezTo>
                      <a:pt x="107" y="0"/>
                      <a:pt x="110" y="3"/>
                      <a:pt x="113" y="3"/>
                    </a:cubicBezTo>
                    <a:cubicBezTo>
                      <a:pt x="114" y="1"/>
                      <a:pt x="116" y="3"/>
                      <a:pt x="117" y="3"/>
                    </a:cubicBezTo>
                    <a:cubicBezTo>
                      <a:pt x="120" y="11"/>
                      <a:pt x="125" y="31"/>
                      <a:pt x="123" y="40"/>
                    </a:cubicBezTo>
                    <a:cubicBezTo>
                      <a:pt x="117" y="36"/>
                      <a:pt x="116" y="39"/>
                      <a:pt x="114" y="43"/>
                    </a:cubicBezTo>
                    <a:cubicBezTo>
                      <a:pt x="113" y="50"/>
                      <a:pt x="119" y="54"/>
                      <a:pt x="122" y="54"/>
                    </a:cubicBezTo>
                    <a:cubicBezTo>
                      <a:pt x="125" y="54"/>
                      <a:pt x="122" y="48"/>
                      <a:pt x="125" y="48"/>
                    </a:cubicBezTo>
                    <a:cubicBezTo>
                      <a:pt x="131" y="48"/>
                      <a:pt x="131" y="48"/>
                      <a:pt x="131" y="48"/>
                    </a:cubicBezTo>
                    <a:cubicBezTo>
                      <a:pt x="128" y="74"/>
                      <a:pt x="123" y="62"/>
                      <a:pt x="116" y="81"/>
                    </a:cubicBezTo>
                    <a:cubicBezTo>
                      <a:pt x="108" y="98"/>
                      <a:pt x="105" y="95"/>
                      <a:pt x="102" y="101"/>
                    </a:cubicBezTo>
                    <a:cubicBezTo>
                      <a:pt x="94" y="112"/>
                      <a:pt x="87" y="116"/>
                      <a:pt x="84" y="119"/>
                    </a:cubicBezTo>
                    <a:cubicBezTo>
                      <a:pt x="79" y="123"/>
                      <a:pt x="73" y="119"/>
                      <a:pt x="73" y="123"/>
                    </a:cubicBezTo>
                    <a:cubicBezTo>
                      <a:pt x="75" y="126"/>
                      <a:pt x="69" y="121"/>
                      <a:pt x="67" y="124"/>
                    </a:cubicBezTo>
                    <a:cubicBezTo>
                      <a:pt x="64" y="129"/>
                      <a:pt x="58" y="123"/>
                      <a:pt x="56" y="124"/>
                    </a:cubicBezTo>
                    <a:cubicBezTo>
                      <a:pt x="53" y="126"/>
                      <a:pt x="50" y="123"/>
                      <a:pt x="47" y="124"/>
                    </a:cubicBezTo>
                    <a:cubicBezTo>
                      <a:pt x="44" y="124"/>
                      <a:pt x="46" y="126"/>
                      <a:pt x="41" y="127"/>
                    </a:cubicBezTo>
                    <a:cubicBezTo>
                      <a:pt x="37" y="129"/>
                      <a:pt x="38" y="127"/>
                      <a:pt x="34" y="129"/>
                    </a:cubicBezTo>
                    <a:cubicBezTo>
                      <a:pt x="29" y="129"/>
                      <a:pt x="31" y="133"/>
                      <a:pt x="29" y="132"/>
                    </a:cubicBezTo>
                    <a:cubicBezTo>
                      <a:pt x="28" y="132"/>
                      <a:pt x="26" y="133"/>
                      <a:pt x="24" y="132"/>
                    </a:cubicBezTo>
                    <a:cubicBezTo>
                      <a:pt x="24" y="130"/>
                      <a:pt x="23" y="132"/>
                      <a:pt x="23" y="129"/>
                    </a:cubicBezTo>
                    <a:cubicBezTo>
                      <a:pt x="23" y="126"/>
                      <a:pt x="20" y="130"/>
                      <a:pt x="20" y="126"/>
                    </a:cubicBezTo>
                    <a:cubicBezTo>
                      <a:pt x="20" y="124"/>
                      <a:pt x="17" y="124"/>
                      <a:pt x="17" y="126"/>
                    </a:cubicBezTo>
                    <a:cubicBezTo>
                      <a:pt x="15" y="129"/>
                      <a:pt x="14" y="124"/>
                      <a:pt x="15" y="123"/>
                    </a:cubicBezTo>
                    <a:cubicBezTo>
                      <a:pt x="17" y="121"/>
                      <a:pt x="15" y="119"/>
                      <a:pt x="12" y="116"/>
                    </a:cubicBezTo>
                    <a:cubicBezTo>
                      <a:pt x="9" y="112"/>
                      <a:pt x="11" y="109"/>
                      <a:pt x="12" y="110"/>
                    </a:cubicBezTo>
                    <a:cubicBezTo>
                      <a:pt x="14" y="112"/>
                      <a:pt x="18" y="105"/>
                      <a:pt x="11" y="95"/>
                    </a:cubicBezTo>
                    <a:cubicBezTo>
                      <a:pt x="3" y="81"/>
                      <a:pt x="6" y="74"/>
                      <a:pt x="0" y="67"/>
                    </a:cubicBezTo>
                    <a:cubicBezTo>
                      <a:pt x="5" y="65"/>
                      <a:pt x="3" y="59"/>
                      <a:pt x="6" y="62"/>
                    </a:cubicBezTo>
                    <a:cubicBezTo>
                      <a:pt x="9" y="65"/>
                      <a:pt x="5" y="67"/>
                      <a:pt x="11" y="70"/>
                    </a:cubicBezTo>
                    <a:cubicBezTo>
                      <a:pt x="15" y="71"/>
                      <a:pt x="18" y="68"/>
                      <a:pt x="20" y="70"/>
                    </a:cubicBezTo>
                    <a:cubicBezTo>
                      <a:pt x="21" y="71"/>
                      <a:pt x="24" y="67"/>
                      <a:pt x="29" y="65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32" y="31"/>
                      <a:pt x="35" y="40"/>
                      <a:pt x="34" y="43"/>
                    </a:cubicBezTo>
                    <a:cubicBezTo>
                      <a:pt x="32" y="45"/>
                      <a:pt x="32" y="50"/>
                      <a:pt x="35" y="50"/>
                    </a:cubicBezTo>
                    <a:cubicBezTo>
                      <a:pt x="38" y="48"/>
                      <a:pt x="40" y="51"/>
                      <a:pt x="46" y="45"/>
                    </a:cubicBezTo>
                    <a:cubicBezTo>
                      <a:pt x="50" y="39"/>
                      <a:pt x="49" y="28"/>
                      <a:pt x="59" y="36"/>
                    </a:cubicBezTo>
                    <a:cubicBezTo>
                      <a:pt x="70" y="42"/>
                      <a:pt x="72" y="36"/>
                      <a:pt x="75" y="31"/>
                    </a:cubicBezTo>
                    <a:cubicBezTo>
                      <a:pt x="76" y="25"/>
                      <a:pt x="82" y="26"/>
                      <a:pt x="84" y="19"/>
                    </a:cubicBezTo>
                    <a:cubicBezTo>
                      <a:pt x="85" y="12"/>
                      <a:pt x="90" y="14"/>
                      <a:pt x="91" y="9"/>
                    </a:cubicBezTo>
                    <a:cubicBezTo>
                      <a:pt x="93" y="5"/>
                      <a:pt x="98" y="6"/>
                      <a:pt x="102" y="1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12" name="Freeform 106"/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4844126" y="4399521"/>
                <a:ext cx="51465" cy="61990"/>
              </a:xfrm>
              <a:custGeom>
                <a:avLst/>
                <a:gdLst/>
                <a:ahLst/>
                <a:cxnLst>
                  <a:cxn ang="0">
                    <a:pos x="8" y="25"/>
                  </a:cxn>
                  <a:cxn ang="0">
                    <a:pos x="3" y="13"/>
                  </a:cxn>
                  <a:cxn ang="0">
                    <a:pos x="15" y="3"/>
                  </a:cxn>
                  <a:cxn ang="0">
                    <a:pos x="20" y="14"/>
                  </a:cxn>
                  <a:cxn ang="0">
                    <a:pos x="11" y="22"/>
                  </a:cxn>
                  <a:cxn ang="0">
                    <a:pos x="8" y="25"/>
                  </a:cxn>
                </a:cxnLst>
                <a:rect l="0" t="0" r="r" b="b"/>
                <a:pathLst>
                  <a:path w="23" h="27">
                    <a:moveTo>
                      <a:pt x="8" y="25"/>
                    </a:moveTo>
                    <a:cubicBezTo>
                      <a:pt x="5" y="21"/>
                      <a:pt x="0" y="18"/>
                      <a:pt x="3" y="13"/>
                    </a:cubicBezTo>
                    <a:cubicBezTo>
                      <a:pt x="6" y="8"/>
                      <a:pt x="14" y="0"/>
                      <a:pt x="15" y="3"/>
                    </a:cubicBezTo>
                    <a:cubicBezTo>
                      <a:pt x="18" y="7"/>
                      <a:pt x="23" y="8"/>
                      <a:pt x="20" y="14"/>
                    </a:cubicBezTo>
                    <a:cubicBezTo>
                      <a:pt x="18" y="19"/>
                      <a:pt x="12" y="19"/>
                      <a:pt x="11" y="22"/>
                    </a:cubicBezTo>
                    <a:cubicBezTo>
                      <a:pt x="9" y="25"/>
                      <a:pt x="9" y="27"/>
                      <a:pt x="8" y="25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13" name="Freeform 107"/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4914305" y="4336360"/>
                <a:ext cx="26902" cy="43277"/>
              </a:xfrm>
              <a:custGeom>
                <a:avLst/>
                <a:gdLst/>
                <a:ahLst/>
                <a:cxnLst>
                  <a:cxn ang="0">
                    <a:pos x="10" y="5"/>
                  </a:cxn>
                  <a:cxn ang="0">
                    <a:pos x="12" y="13"/>
                  </a:cxn>
                  <a:cxn ang="0">
                    <a:pos x="9" y="19"/>
                  </a:cxn>
                  <a:cxn ang="0">
                    <a:pos x="1" y="8"/>
                  </a:cxn>
                  <a:cxn ang="0">
                    <a:pos x="10" y="5"/>
                  </a:cxn>
                </a:cxnLst>
                <a:rect l="0" t="0" r="r" b="b"/>
                <a:pathLst>
                  <a:path w="12" h="19">
                    <a:moveTo>
                      <a:pt x="10" y="5"/>
                    </a:moveTo>
                    <a:cubicBezTo>
                      <a:pt x="12" y="13"/>
                      <a:pt x="12" y="13"/>
                      <a:pt x="12" y="13"/>
                    </a:cubicBezTo>
                    <a:cubicBezTo>
                      <a:pt x="9" y="13"/>
                      <a:pt x="12" y="19"/>
                      <a:pt x="9" y="19"/>
                    </a:cubicBezTo>
                    <a:cubicBezTo>
                      <a:pt x="6" y="19"/>
                      <a:pt x="0" y="15"/>
                      <a:pt x="1" y="8"/>
                    </a:cubicBezTo>
                    <a:cubicBezTo>
                      <a:pt x="3" y="4"/>
                      <a:pt x="4" y="0"/>
                      <a:pt x="10" y="5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14" name="Freeform 108"/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4948225" y="3971433"/>
                <a:ext cx="63161" cy="176615"/>
              </a:xfrm>
              <a:custGeom>
                <a:avLst/>
                <a:gdLst/>
                <a:ahLst/>
                <a:cxnLst>
                  <a:cxn ang="0">
                    <a:pos x="4" y="45"/>
                  </a:cxn>
                  <a:cxn ang="0">
                    <a:pos x="9" y="50"/>
                  </a:cxn>
                  <a:cxn ang="0">
                    <a:pos x="15" y="58"/>
                  </a:cxn>
                  <a:cxn ang="0">
                    <a:pos x="15" y="67"/>
                  </a:cxn>
                  <a:cxn ang="0">
                    <a:pos x="19" y="76"/>
                  </a:cxn>
                  <a:cxn ang="0">
                    <a:pos x="21" y="72"/>
                  </a:cxn>
                  <a:cxn ang="0">
                    <a:pos x="24" y="67"/>
                  </a:cxn>
                  <a:cxn ang="0">
                    <a:pos x="25" y="59"/>
                  </a:cxn>
                  <a:cxn ang="0">
                    <a:pos x="22" y="47"/>
                  </a:cxn>
                  <a:cxn ang="0">
                    <a:pos x="15" y="37"/>
                  </a:cxn>
                  <a:cxn ang="0">
                    <a:pos x="15" y="25"/>
                  </a:cxn>
                  <a:cxn ang="0">
                    <a:pos x="16" y="20"/>
                  </a:cxn>
                  <a:cxn ang="0">
                    <a:pos x="15" y="11"/>
                  </a:cxn>
                  <a:cxn ang="0">
                    <a:pos x="10" y="2"/>
                  </a:cxn>
                  <a:cxn ang="0">
                    <a:pos x="3" y="0"/>
                  </a:cxn>
                  <a:cxn ang="0">
                    <a:pos x="6" y="3"/>
                  </a:cxn>
                  <a:cxn ang="0">
                    <a:pos x="6" y="8"/>
                  </a:cxn>
                  <a:cxn ang="0">
                    <a:pos x="7" y="14"/>
                  </a:cxn>
                  <a:cxn ang="0">
                    <a:pos x="6" y="19"/>
                  </a:cxn>
                  <a:cxn ang="0">
                    <a:pos x="6" y="25"/>
                  </a:cxn>
                  <a:cxn ang="0">
                    <a:pos x="6" y="31"/>
                  </a:cxn>
                  <a:cxn ang="0">
                    <a:pos x="1" y="41"/>
                  </a:cxn>
                  <a:cxn ang="0">
                    <a:pos x="4" y="45"/>
                  </a:cxn>
                </a:cxnLst>
                <a:rect l="0" t="0" r="r" b="b"/>
                <a:pathLst>
                  <a:path w="28" h="78">
                    <a:moveTo>
                      <a:pt x="4" y="45"/>
                    </a:moveTo>
                    <a:cubicBezTo>
                      <a:pt x="6" y="48"/>
                      <a:pt x="7" y="51"/>
                      <a:pt x="9" y="50"/>
                    </a:cubicBezTo>
                    <a:cubicBezTo>
                      <a:pt x="15" y="48"/>
                      <a:pt x="16" y="51"/>
                      <a:pt x="15" y="58"/>
                    </a:cubicBezTo>
                    <a:cubicBezTo>
                      <a:pt x="15" y="64"/>
                      <a:pt x="10" y="62"/>
                      <a:pt x="15" y="67"/>
                    </a:cubicBezTo>
                    <a:cubicBezTo>
                      <a:pt x="19" y="73"/>
                      <a:pt x="18" y="76"/>
                      <a:pt x="19" y="76"/>
                    </a:cubicBezTo>
                    <a:cubicBezTo>
                      <a:pt x="21" y="78"/>
                      <a:pt x="21" y="75"/>
                      <a:pt x="21" y="72"/>
                    </a:cubicBezTo>
                    <a:cubicBezTo>
                      <a:pt x="19" y="69"/>
                      <a:pt x="21" y="67"/>
                      <a:pt x="24" y="67"/>
                    </a:cubicBezTo>
                    <a:cubicBezTo>
                      <a:pt x="25" y="65"/>
                      <a:pt x="25" y="64"/>
                      <a:pt x="25" y="59"/>
                    </a:cubicBezTo>
                    <a:cubicBezTo>
                      <a:pt x="25" y="55"/>
                      <a:pt x="28" y="53"/>
                      <a:pt x="22" y="47"/>
                    </a:cubicBezTo>
                    <a:cubicBezTo>
                      <a:pt x="18" y="41"/>
                      <a:pt x="16" y="41"/>
                      <a:pt x="15" y="37"/>
                    </a:cubicBezTo>
                    <a:cubicBezTo>
                      <a:pt x="15" y="33"/>
                      <a:pt x="13" y="28"/>
                      <a:pt x="15" y="25"/>
                    </a:cubicBezTo>
                    <a:cubicBezTo>
                      <a:pt x="16" y="24"/>
                      <a:pt x="15" y="22"/>
                      <a:pt x="16" y="20"/>
                    </a:cubicBezTo>
                    <a:cubicBezTo>
                      <a:pt x="13" y="16"/>
                      <a:pt x="16" y="16"/>
                      <a:pt x="15" y="11"/>
                    </a:cubicBezTo>
                    <a:cubicBezTo>
                      <a:pt x="13" y="6"/>
                      <a:pt x="12" y="3"/>
                      <a:pt x="10" y="2"/>
                    </a:cubicBezTo>
                    <a:cubicBezTo>
                      <a:pt x="7" y="2"/>
                      <a:pt x="4" y="2"/>
                      <a:pt x="3" y="0"/>
                    </a:cubicBezTo>
                    <a:cubicBezTo>
                      <a:pt x="3" y="3"/>
                      <a:pt x="3" y="0"/>
                      <a:pt x="6" y="3"/>
                    </a:cubicBezTo>
                    <a:cubicBezTo>
                      <a:pt x="7" y="5"/>
                      <a:pt x="4" y="5"/>
                      <a:pt x="6" y="8"/>
                    </a:cubicBezTo>
                    <a:cubicBezTo>
                      <a:pt x="9" y="10"/>
                      <a:pt x="9" y="11"/>
                      <a:pt x="7" y="14"/>
                    </a:cubicBezTo>
                    <a:cubicBezTo>
                      <a:pt x="4" y="16"/>
                      <a:pt x="7" y="17"/>
                      <a:pt x="6" y="19"/>
                    </a:cubicBezTo>
                    <a:cubicBezTo>
                      <a:pt x="4" y="20"/>
                      <a:pt x="6" y="22"/>
                      <a:pt x="6" y="25"/>
                    </a:cubicBezTo>
                    <a:cubicBezTo>
                      <a:pt x="4" y="30"/>
                      <a:pt x="9" y="31"/>
                      <a:pt x="6" y="31"/>
                    </a:cubicBezTo>
                    <a:cubicBezTo>
                      <a:pt x="1" y="31"/>
                      <a:pt x="4" y="37"/>
                      <a:pt x="1" y="41"/>
                    </a:cubicBezTo>
                    <a:cubicBezTo>
                      <a:pt x="0" y="42"/>
                      <a:pt x="3" y="44"/>
                      <a:pt x="4" y="45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15" name="Freeform 109"/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4598497" y="3233392"/>
                <a:ext cx="200012" cy="363757"/>
              </a:xfrm>
              <a:custGeom>
                <a:avLst/>
                <a:gdLst/>
                <a:ahLst/>
                <a:cxnLst>
                  <a:cxn ang="0">
                    <a:pos x="18" y="159"/>
                  </a:cxn>
                  <a:cxn ang="0">
                    <a:pos x="26" y="157"/>
                  </a:cxn>
                  <a:cxn ang="0">
                    <a:pos x="31" y="157"/>
                  </a:cxn>
                  <a:cxn ang="0">
                    <a:pos x="46" y="151"/>
                  </a:cxn>
                  <a:cxn ang="0">
                    <a:pos x="46" y="145"/>
                  </a:cxn>
                  <a:cxn ang="0">
                    <a:pos x="62" y="138"/>
                  </a:cxn>
                  <a:cxn ang="0">
                    <a:pos x="67" y="129"/>
                  </a:cxn>
                  <a:cxn ang="0">
                    <a:pos x="77" y="126"/>
                  </a:cxn>
                  <a:cxn ang="0">
                    <a:pos x="74" y="118"/>
                  </a:cxn>
                  <a:cxn ang="0">
                    <a:pos x="73" y="110"/>
                  </a:cxn>
                  <a:cxn ang="0">
                    <a:pos x="68" y="109"/>
                  </a:cxn>
                  <a:cxn ang="0">
                    <a:pos x="71" y="100"/>
                  </a:cxn>
                  <a:cxn ang="0">
                    <a:pos x="73" y="92"/>
                  </a:cxn>
                  <a:cxn ang="0">
                    <a:pos x="76" y="87"/>
                  </a:cxn>
                  <a:cxn ang="0">
                    <a:pos x="77" y="82"/>
                  </a:cxn>
                  <a:cxn ang="0">
                    <a:pos x="84" y="78"/>
                  </a:cxn>
                  <a:cxn ang="0">
                    <a:pos x="85" y="76"/>
                  </a:cxn>
                  <a:cxn ang="0">
                    <a:pos x="85" y="40"/>
                  </a:cxn>
                  <a:cxn ang="0">
                    <a:pos x="23" y="0"/>
                  </a:cxn>
                  <a:cxn ang="0">
                    <a:pos x="14" y="5"/>
                  </a:cxn>
                  <a:cxn ang="0">
                    <a:pos x="18" y="27"/>
                  </a:cxn>
                  <a:cxn ang="0">
                    <a:pos x="20" y="44"/>
                  </a:cxn>
                  <a:cxn ang="0">
                    <a:pos x="17" y="68"/>
                  </a:cxn>
                  <a:cxn ang="0">
                    <a:pos x="3" y="98"/>
                  </a:cxn>
                  <a:cxn ang="0">
                    <a:pos x="8" y="104"/>
                  </a:cxn>
                  <a:cxn ang="0">
                    <a:pos x="12" y="107"/>
                  </a:cxn>
                  <a:cxn ang="0">
                    <a:pos x="14" y="114"/>
                  </a:cxn>
                  <a:cxn ang="0">
                    <a:pos x="20" y="134"/>
                  </a:cxn>
                  <a:cxn ang="0">
                    <a:pos x="11" y="135"/>
                  </a:cxn>
                  <a:cxn ang="0">
                    <a:pos x="8" y="140"/>
                  </a:cxn>
                  <a:cxn ang="0">
                    <a:pos x="17" y="152"/>
                  </a:cxn>
                  <a:cxn ang="0">
                    <a:pos x="18" y="159"/>
                  </a:cxn>
                </a:cxnLst>
                <a:rect l="0" t="0" r="r" b="b"/>
                <a:pathLst>
                  <a:path w="88" h="160">
                    <a:moveTo>
                      <a:pt x="18" y="159"/>
                    </a:moveTo>
                    <a:cubicBezTo>
                      <a:pt x="21" y="160"/>
                      <a:pt x="24" y="159"/>
                      <a:pt x="26" y="157"/>
                    </a:cubicBezTo>
                    <a:cubicBezTo>
                      <a:pt x="27" y="154"/>
                      <a:pt x="27" y="160"/>
                      <a:pt x="31" y="157"/>
                    </a:cubicBezTo>
                    <a:cubicBezTo>
                      <a:pt x="37" y="152"/>
                      <a:pt x="41" y="157"/>
                      <a:pt x="46" y="151"/>
                    </a:cubicBezTo>
                    <a:cubicBezTo>
                      <a:pt x="49" y="146"/>
                      <a:pt x="44" y="146"/>
                      <a:pt x="46" y="145"/>
                    </a:cubicBezTo>
                    <a:cubicBezTo>
                      <a:pt x="47" y="143"/>
                      <a:pt x="56" y="146"/>
                      <a:pt x="62" y="138"/>
                    </a:cubicBezTo>
                    <a:cubicBezTo>
                      <a:pt x="67" y="131"/>
                      <a:pt x="68" y="134"/>
                      <a:pt x="67" y="129"/>
                    </a:cubicBezTo>
                    <a:cubicBezTo>
                      <a:pt x="67" y="128"/>
                      <a:pt x="74" y="124"/>
                      <a:pt x="77" y="126"/>
                    </a:cubicBezTo>
                    <a:cubicBezTo>
                      <a:pt x="79" y="120"/>
                      <a:pt x="74" y="123"/>
                      <a:pt x="74" y="118"/>
                    </a:cubicBezTo>
                    <a:cubicBezTo>
                      <a:pt x="74" y="114"/>
                      <a:pt x="73" y="115"/>
                      <a:pt x="73" y="110"/>
                    </a:cubicBezTo>
                    <a:cubicBezTo>
                      <a:pt x="73" y="106"/>
                      <a:pt x="70" y="110"/>
                      <a:pt x="68" y="109"/>
                    </a:cubicBezTo>
                    <a:cubicBezTo>
                      <a:pt x="67" y="104"/>
                      <a:pt x="74" y="104"/>
                      <a:pt x="71" y="100"/>
                    </a:cubicBezTo>
                    <a:cubicBezTo>
                      <a:pt x="68" y="95"/>
                      <a:pt x="76" y="96"/>
                      <a:pt x="73" y="92"/>
                    </a:cubicBezTo>
                    <a:cubicBezTo>
                      <a:pt x="71" y="87"/>
                      <a:pt x="76" y="92"/>
                      <a:pt x="76" y="87"/>
                    </a:cubicBezTo>
                    <a:cubicBezTo>
                      <a:pt x="74" y="84"/>
                      <a:pt x="77" y="87"/>
                      <a:pt x="77" y="82"/>
                    </a:cubicBezTo>
                    <a:cubicBezTo>
                      <a:pt x="77" y="78"/>
                      <a:pt x="81" y="78"/>
                      <a:pt x="84" y="78"/>
                    </a:cubicBezTo>
                    <a:cubicBezTo>
                      <a:pt x="88" y="79"/>
                      <a:pt x="85" y="76"/>
                      <a:pt x="85" y="76"/>
                    </a:cubicBezTo>
                    <a:cubicBezTo>
                      <a:pt x="85" y="40"/>
                      <a:pt x="85" y="40"/>
                      <a:pt x="85" y="40"/>
                    </a:cubicBezTo>
                    <a:cubicBezTo>
                      <a:pt x="85" y="40"/>
                      <a:pt x="44" y="13"/>
                      <a:pt x="23" y="0"/>
                    </a:cubicBezTo>
                    <a:cubicBezTo>
                      <a:pt x="21" y="0"/>
                      <a:pt x="17" y="3"/>
                      <a:pt x="14" y="5"/>
                    </a:cubicBezTo>
                    <a:cubicBezTo>
                      <a:pt x="18" y="14"/>
                      <a:pt x="14" y="17"/>
                      <a:pt x="18" y="27"/>
                    </a:cubicBezTo>
                    <a:cubicBezTo>
                      <a:pt x="24" y="37"/>
                      <a:pt x="20" y="33"/>
                      <a:pt x="20" y="44"/>
                    </a:cubicBezTo>
                    <a:cubicBezTo>
                      <a:pt x="20" y="53"/>
                      <a:pt x="18" y="67"/>
                      <a:pt x="17" y="68"/>
                    </a:cubicBezTo>
                    <a:cubicBezTo>
                      <a:pt x="15" y="70"/>
                      <a:pt x="0" y="89"/>
                      <a:pt x="3" y="98"/>
                    </a:cubicBezTo>
                    <a:cubicBezTo>
                      <a:pt x="8" y="104"/>
                      <a:pt x="8" y="104"/>
                      <a:pt x="8" y="104"/>
                    </a:cubicBezTo>
                    <a:cubicBezTo>
                      <a:pt x="17" y="104"/>
                      <a:pt x="8" y="106"/>
                      <a:pt x="12" y="107"/>
                    </a:cubicBezTo>
                    <a:cubicBezTo>
                      <a:pt x="15" y="109"/>
                      <a:pt x="12" y="114"/>
                      <a:pt x="14" y="114"/>
                    </a:cubicBezTo>
                    <a:cubicBezTo>
                      <a:pt x="17" y="115"/>
                      <a:pt x="12" y="129"/>
                      <a:pt x="20" y="134"/>
                    </a:cubicBezTo>
                    <a:cubicBezTo>
                      <a:pt x="15" y="137"/>
                      <a:pt x="12" y="135"/>
                      <a:pt x="11" y="135"/>
                    </a:cubicBezTo>
                    <a:cubicBezTo>
                      <a:pt x="8" y="134"/>
                      <a:pt x="6" y="138"/>
                      <a:pt x="8" y="140"/>
                    </a:cubicBezTo>
                    <a:cubicBezTo>
                      <a:pt x="14" y="149"/>
                      <a:pt x="17" y="148"/>
                      <a:pt x="17" y="152"/>
                    </a:cubicBezTo>
                    <a:cubicBezTo>
                      <a:pt x="18" y="159"/>
                      <a:pt x="20" y="156"/>
                      <a:pt x="18" y="159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16" name="Freeform 110"/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4362226" y="3233392"/>
                <a:ext cx="293585" cy="267847"/>
              </a:xfrm>
              <a:custGeom>
                <a:avLst/>
                <a:gdLst/>
                <a:ahLst/>
                <a:cxnLst>
                  <a:cxn ang="0">
                    <a:pos x="32" y="44"/>
                  </a:cxn>
                  <a:cxn ang="0">
                    <a:pos x="32" y="72"/>
                  </a:cxn>
                  <a:cxn ang="0">
                    <a:pos x="29" y="79"/>
                  </a:cxn>
                  <a:cxn ang="0">
                    <a:pos x="26" y="81"/>
                  </a:cxn>
                  <a:cxn ang="0">
                    <a:pos x="14" y="82"/>
                  </a:cxn>
                  <a:cxn ang="0">
                    <a:pos x="2" y="86"/>
                  </a:cxn>
                  <a:cxn ang="0">
                    <a:pos x="3" y="95"/>
                  </a:cxn>
                  <a:cxn ang="0">
                    <a:pos x="6" y="100"/>
                  </a:cxn>
                  <a:cxn ang="0">
                    <a:pos x="8" y="101"/>
                  </a:cxn>
                  <a:cxn ang="0">
                    <a:pos x="8" y="104"/>
                  </a:cxn>
                  <a:cxn ang="0">
                    <a:pos x="14" y="109"/>
                  </a:cxn>
                  <a:cxn ang="0">
                    <a:pos x="17" y="112"/>
                  </a:cxn>
                  <a:cxn ang="0">
                    <a:pos x="19" y="117"/>
                  </a:cxn>
                  <a:cxn ang="0">
                    <a:pos x="20" y="112"/>
                  </a:cxn>
                  <a:cxn ang="0">
                    <a:pos x="23" y="112"/>
                  </a:cxn>
                  <a:cxn ang="0">
                    <a:pos x="28" y="118"/>
                  </a:cxn>
                  <a:cxn ang="0">
                    <a:pos x="31" y="109"/>
                  </a:cxn>
                  <a:cxn ang="0">
                    <a:pos x="32" y="100"/>
                  </a:cxn>
                  <a:cxn ang="0">
                    <a:pos x="40" y="98"/>
                  </a:cxn>
                  <a:cxn ang="0">
                    <a:pos x="45" y="96"/>
                  </a:cxn>
                  <a:cxn ang="0">
                    <a:pos x="52" y="103"/>
                  </a:cxn>
                  <a:cxn ang="0">
                    <a:pos x="63" y="101"/>
                  </a:cxn>
                  <a:cxn ang="0">
                    <a:pos x="72" y="107"/>
                  </a:cxn>
                  <a:cxn ang="0">
                    <a:pos x="84" y="101"/>
                  </a:cxn>
                  <a:cxn ang="0">
                    <a:pos x="100" y="103"/>
                  </a:cxn>
                  <a:cxn ang="0">
                    <a:pos x="107" y="98"/>
                  </a:cxn>
                  <a:cxn ang="0">
                    <a:pos x="121" y="68"/>
                  </a:cxn>
                  <a:cxn ang="0">
                    <a:pos x="124" y="44"/>
                  </a:cxn>
                  <a:cxn ang="0">
                    <a:pos x="123" y="27"/>
                  </a:cxn>
                  <a:cxn ang="0">
                    <a:pos x="118" y="5"/>
                  </a:cxn>
                  <a:cxn ang="0">
                    <a:pos x="110" y="6"/>
                  </a:cxn>
                  <a:cxn ang="0">
                    <a:pos x="95" y="0"/>
                  </a:cxn>
                  <a:cxn ang="0">
                    <a:pos x="60" y="27"/>
                  </a:cxn>
                  <a:cxn ang="0">
                    <a:pos x="32" y="44"/>
                  </a:cxn>
                </a:cxnLst>
                <a:rect l="0" t="0" r="r" b="b"/>
                <a:pathLst>
                  <a:path w="129" h="118">
                    <a:moveTo>
                      <a:pt x="32" y="44"/>
                    </a:moveTo>
                    <a:cubicBezTo>
                      <a:pt x="32" y="44"/>
                      <a:pt x="34" y="70"/>
                      <a:pt x="32" y="72"/>
                    </a:cubicBezTo>
                    <a:cubicBezTo>
                      <a:pt x="31" y="75"/>
                      <a:pt x="32" y="79"/>
                      <a:pt x="29" y="79"/>
                    </a:cubicBezTo>
                    <a:cubicBezTo>
                      <a:pt x="26" y="79"/>
                      <a:pt x="28" y="82"/>
                      <a:pt x="26" y="81"/>
                    </a:cubicBezTo>
                    <a:cubicBezTo>
                      <a:pt x="25" y="81"/>
                      <a:pt x="23" y="82"/>
                      <a:pt x="14" y="82"/>
                    </a:cubicBezTo>
                    <a:cubicBezTo>
                      <a:pt x="6" y="82"/>
                      <a:pt x="11" y="87"/>
                      <a:pt x="2" y="86"/>
                    </a:cubicBezTo>
                    <a:cubicBezTo>
                      <a:pt x="0" y="92"/>
                      <a:pt x="2" y="89"/>
                      <a:pt x="3" y="95"/>
                    </a:cubicBezTo>
                    <a:cubicBezTo>
                      <a:pt x="3" y="100"/>
                      <a:pt x="5" y="96"/>
                      <a:pt x="6" y="100"/>
                    </a:cubicBezTo>
                    <a:cubicBezTo>
                      <a:pt x="9" y="101"/>
                      <a:pt x="9" y="103"/>
                      <a:pt x="8" y="101"/>
                    </a:cubicBezTo>
                    <a:cubicBezTo>
                      <a:pt x="6" y="101"/>
                      <a:pt x="6" y="104"/>
                      <a:pt x="8" y="104"/>
                    </a:cubicBezTo>
                    <a:cubicBezTo>
                      <a:pt x="9" y="106"/>
                      <a:pt x="12" y="110"/>
                      <a:pt x="14" y="109"/>
                    </a:cubicBezTo>
                    <a:cubicBezTo>
                      <a:pt x="16" y="106"/>
                      <a:pt x="19" y="110"/>
                      <a:pt x="17" y="112"/>
                    </a:cubicBezTo>
                    <a:cubicBezTo>
                      <a:pt x="16" y="112"/>
                      <a:pt x="17" y="114"/>
                      <a:pt x="19" y="117"/>
                    </a:cubicBezTo>
                    <a:cubicBezTo>
                      <a:pt x="20" y="114"/>
                      <a:pt x="17" y="112"/>
                      <a:pt x="20" y="112"/>
                    </a:cubicBezTo>
                    <a:cubicBezTo>
                      <a:pt x="22" y="112"/>
                      <a:pt x="20" y="109"/>
                      <a:pt x="23" y="112"/>
                    </a:cubicBezTo>
                    <a:cubicBezTo>
                      <a:pt x="26" y="115"/>
                      <a:pt x="26" y="115"/>
                      <a:pt x="28" y="118"/>
                    </a:cubicBezTo>
                    <a:cubicBezTo>
                      <a:pt x="29" y="115"/>
                      <a:pt x="26" y="110"/>
                      <a:pt x="31" y="109"/>
                    </a:cubicBezTo>
                    <a:cubicBezTo>
                      <a:pt x="34" y="106"/>
                      <a:pt x="31" y="103"/>
                      <a:pt x="32" y="100"/>
                    </a:cubicBezTo>
                    <a:cubicBezTo>
                      <a:pt x="35" y="98"/>
                      <a:pt x="35" y="98"/>
                      <a:pt x="40" y="98"/>
                    </a:cubicBezTo>
                    <a:cubicBezTo>
                      <a:pt x="43" y="98"/>
                      <a:pt x="42" y="95"/>
                      <a:pt x="45" y="96"/>
                    </a:cubicBezTo>
                    <a:cubicBezTo>
                      <a:pt x="48" y="98"/>
                      <a:pt x="51" y="96"/>
                      <a:pt x="52" y="103"/>
                    </a:cubicBezTo>
                    <a:cubicBezTo>
                      <a:pt x="55" y="109"/>
                      <a:pt x="60" y="101"/>
                      <a:pt x="63" y="101"/>
                    </a:cubicBezTo>
                    <a:cubicBezTo>
                      <a:pt x="64" y="101"/>
                      <a:pt x="68" y="106"/>
                      <a:pt x="72" y="107"/>
                    </a:cubicBezTo>
                    <a:cubicBezTo>
                      <a:pt x="78" y="107"/>
                      <a:pt x="77" y="103"/>
                      <a:pt x="84" y="101"/>
                    </a:cubicBezTo>
                    <a:cubicBezTo>
                      <a:pt x="94" y="100"/>
                      <a:pt x="98" y="107"/>
                      <a:pt x="100" y="103"/>
                    </a:cubicBezTo>
                    <a:cubicBezTo>
                      <a:pt x="101" y="98"/>
                      <a:pt x="103" y="101"/>
                      <a:pt x="107" y="98"/>
                    </a:cubicBezTo>
                    <a:cubicBezTo>
                      <a:pt x="104" y="89"/>
                      <a:pt x="119" y="70"/>
                      <a:pt x="121" y="68"/>
                    </a:cubicBezTo>
                    <a:cubicBezTo>
                      <a:pt x="123" y="67"/>
                      <a:pt x="124" y="53"/>
                      <a:pt x="124" y="44"/>
                    </a:cubicBezTo>
                    <a:cubicBezTo>
                      <a:pt x="124" y="33"/>
                      <a:pt x="129" y="37"/>
                      <a:pt x="123" y="27"/>
                    </a:cubicBezTo>
                    <a:cubicBezTo>
                      <a:pt x="118" y="17"/>
                      <a:pt x="123" y="14"/>
                      <a:pt x="118" y="5"/>
                    </a:cubicBezTo>
                    <a:cubicBezTo>
                      <a:pt x="112" y="9"/>
                      <a:pt x="113" y="11"/>
                      <a:pt x="110" y="6"/>
                    </a:cubicBezTo>
                    <a:cubicBezTo>
                      <a:pt x="107" y="2"/>
                      <a:pt x="98" y="3"/>
                      <a:pt x="95" y="0"/>
                    </a:cubicBezTo>
                    <a:cubicBezTo>
                      <a:pt x="90" y="3"/>
                      <a:pt x="69" y="19"/>
                      <a:pt x="60" y="27"/>
                    </a:cubicBezTo>
                    <a:cubicBezTo>
                      <a:pt x="51" y="33"/>
                      <a:pt x="54" y="44"/>
                      <a:pt x="32" y="44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17" name="Freeform 111"/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4137652" y="3197133"/>
                <a:ext cx="301772" cy="347382"/>
              </a:xfrm>
              <a:custGeom>
                <a:avLst/>
                <a:gdLst/>
                <a:ahLst/>
                <a:cxnLst>
                  <a:cxn ang="0">
                    <a:pos x="101" y="101"/>
                  </a:cxn>
                  <a:cxn ang="0">
                    <a:pos x="113" y="98"/>
                  </a:cxn>
                  <a:cxn ang="0">
                    <a:pos x="126" y="97"/>
                  </a:cxn>
                  <a:cxn ang="0">
                    <a:pos x="129" y="95"/>
                  </a:cxn>
                  <a:cxn ang="0">
                    <a:pos x="132" y="87"/>
                  </a:cxn>
                  <a:cxn ang="0">
                    <a:pos x="132" y="59"/>
                  </a:cxn>
                  <a:cxn ang="0">
                    <a:pos x="124" y="59"/>
                  </a:cxn>
                  <a:cxn ang="0">
                    <a:pos x="121" y="51"/>
                  </a:cxn>
                  <a:cxn ang="0">
                    <a:pos x="115" y="48"/>
                  </a:cxn>
                  <a:cxn ang="0">
                    <a:pos x="110" y="44"/>
                  </a:cxn>
                  <a:cxn ang="0">
                    <a:pos x="107" y="39"/>
                  </a:cxn>
                  <a:cxn ang="0">
                    <a:pos x="61" y="0"/>
                  </a:cxn>
                  <a:cxn ang="0">
                    <a:pos x="46" y="0"/>
                  </a:cxn>
                  <a:cxn ang="0">
                    <a:pos x="54" y="86"/>
                  </a:cxn>
                  <a:cxn ang="0">
                    <a:pos x="55" y="97"/>
                  </a:cxn>
                  <a:cxn ang="0">
                    <a:pos x="26" y="97"/>
                  </a:cxn>
                  <a:cxn ang="0">
                    <a:pos x="23" y="97"/>
                  </a:cxn>
                  <a:cxn ang="0">
                    <a:pos x="16" y="97"/>
                  </a:cxn>
                  <a:cxn ang="0">
                    <a:pos x="11" y="100"/>
                  </a:cxn>
                  <a:cxn ang="0">
                    <a:pos x="5" y="97"/>
                  </a:cxn>
                  <a:cxn ang="0">
                    <a:pos x="2" y="104"/>
                  </a:cxn>
                  <a:cxn ang="0">
                    <a:pos x="3" y="111"/>
                  </a:cxn>
                  <a:cxn ang="0">
                    <a:pos x="3" y="115"/>
                  </a:cxn>
                  <a:cxn ang="0">
                    <a:pos x="8" y="120"/>
                  </a:cxn>
                  <a:cxn ang="0">
                    <a:pos x="8" y="126"/>
                  </a:cxn>
                  <a:cxn ang="0">
                    <a:pos x="11" y="129"/>
                  </a:cxn>
                  <a:cxn ang="0">
                    <a:pos x="13" y="131"/>
                  </a:cxn>
                  <a:cxn ang="0">
                    <a:pos x="20" y="129"/>
                  </a:cxn>
                  <a:cxn ang="0">
                    <a:pos x="23" y="128"/>
                  </a:cxn>
                  <a:cxn ang="0">
                    <a:pos x="26" y="126"/>
                  </a:cxn>
                  <a:cxn ang="0">
                    <a:pos x="28" y="131"/>
                  </a:cxn>
                  <a:cxn ang="0">
                    <a:pos x="29" y="134"/>
                  </a:cxn>
                  <a:cxn ang="0">
                    <a:pos x="31" y="137"/>
                  </a:cxn>
                  <a:cxn ang="0">
                    <a:pos x="31" y="140"/>
                  </a:cxn>
                  <a:cxn ang="0">
                    <a:pos x="32" y="145"/>
                  </a:cxn>
                  <a:cxn ang="0">
                    <a:pos x="35" y="150"/>
                  </a:cxn>
                  <a:cxn ang="0">
                    <a:pos x="45" y="148"/>
                  </a:cxn>
                  <a:cxn ang="0">
                    <a:pos x="49" y="146"/>
                  </a:cxn>
                  <a:cxn ang="0">
                    <a:pos x="55" y="146"/>
                  </a:cxn>
                  <a:cxn ang="0">
                    <a:pos x="55" y="140"/>
                  </a:cxn>
                  <a:cxn ang="0">
                    <a:pos x="57" y="132"/>
                  </a:cxn>
                  <a:cxn ang="0">
                    <a:pos x="63" y="129"/>
                  </a:cxn>
                  <a:cxn ang="0">
                    <a:pos x="63" y="125"/>
                  </a:cxn>
                  <a:cxn ang="0">
                    <a:pos x="66" y="122"/>
                  </a:cxn>
                  <a:cxn ang="0">
                    <a:pos x="66" y="117"/>
                  </a:cxn>
                  <a:cxn ang="0">
                    <a:pos x="69" y="118"/>
                  </a:cxn>
                  <a:cxn ang="0">
                    <a:pos x="72" y="115"/>
                  </a:cxn>
                  <a:cxn ang="0">
                    <a:pos x="77" y="114"/>
                  </a:cxn>
                  <a:cxn ang="0">
                    <a:pos x="81" y="109"/>
                  </a:cxn>
                  <a:cxn ang="0">
                    <a:pos x="86" y="104"/>
                  </a:cxn>
                  <a:cxn ang="0">
                    <a:pos x="95" y="100"/>
                  </a:cxn>
                  <a:cxn ang="0">
                    <a:pos x="98" y="101"/>
                  </a:cxn>
                  <a:cxn ang="0">
                    <a:pos x="101" y="101"/>
                  </a:cxn>
                </a:cxnLst>
                <a:rect l="0" t="0" r="r" b="b"/>
                <a:pathLst>
                  <a:path w="133" h="153">
                    <a:moveTo>
                      <a:pt x="101" y="101"/>
                    </a:moveTo>
                    <a:cubicBezTo>
                      <a:pt x="110" y="103"/>
                      <a:pt x="106" y="98"/>
                      <a:pt x="113" y="98"/>
                    </a:cubicBezTo>
                    <a:cubicBezTo>
                      <a:pt x="123" y="98"/>
                      <a:pt x="124" y="97"/>
                      <a:pt x="126" y="97"/>
                    </a:cubicBezTo>
                    <a:cubicBezTo>
                      <a:pt x="127" y="98"/>
                      <a:pt x="126" y="95"/>
                      <a:pt x="129" y="95"/>
                    </a:cubicBezTo>
                    <a:cubicBezTo>
                      <a:pt x="132" y="95"/>
                      <a:pt x="130" y="90"/>
                      <a:pt x="132" y="87"/>
                    </a:cubicBezTo>
                    <a:cubicBezTo>
                      <a:pt x="133" y="86"/>
                      <a:pt x="132" y="59"/>
                      <a:pt x="132" y="59"/>
                    </a:cubicBezTo>
                    <a:cubicBezTo>
                      <a:pt x="124" y="62"/>
                      <a:pt x="123" y="61"/>
                      <a:pt x="124" y="59"/>
                    </a:cubicBezTo>
                    <a:cubicBezTo>
                      <a:pt x="126" y="56"/>
                      <a:pt x="126" y="51"/>
                      <a:pt x="121" y="51"/>
                    </a:cubicBezTo>
                    <a:cubicBezTo>
                      <a:pt x="116" y="51"/>
                      <a:pt x="120" y="48"/>
                      <a:pt x="115" y="48"/>
                    </a:cubicBezTo>
                    <a:cubicBezTo>
                      <a:pt x="112" y="50"/>
                      <a:pt x="113" y="45"/>
                      <a:pt x="110" y="44"/>
                    </a:cubicBezTo>
                    <a:cubicBezTo>
                      <a:pt x="107" y="42"/>
                      <a:pt x="110" y="42"/>
                      <a:pt x="107" y="39"/>
                    </a:cubicBezTo>
                    <a:cubicBezTo>
                      <a:pt x="106" y="37"/>
                      <a:pt x="61" y="0"/>
                      <a:pt x="61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54" y="81"/>
                      <a:pt x="54" y="86"/>
                    </a:cubicBezTo>
                    <a:cubicBezTo>
                      <a:pt x="55" y="90"/>
                      <a:pt x="58" y="83"/>
                      <a:pt x="55" y="97"/>
                    </a:cubicBezTo>
                    <a:cubicBezTo>
                      <a:pt x="55" y="97"/>
                      <a:pt x="31" y="97"/>
                      <a:pt x="26" y="97"/>
                    </a:cubicBezTo>
                    <a:cubicBezTo>
                      <a:pt x="23" y="97"/>
                      <a:pt x="25" y="93"/>
                      <a:pt x="23" y="97"/>
                    </a:cubicBezTo>
                    <a:cubicBezTo>
                      <a:pt x="23" y="98"/>
                      <a:pt x="19" y="98"/>
                      <a:pt x="16" y="97"/>
                    </a:cubicBezTo>
                    <a:cubicBezTo>
                      <a:pt x="11" y="95"/>
                      <a:pt x="13" y="103"/>
                      <a:pt x="11" y="100"/>
                    </a:cubicBezTo>
                    <a:cubicBezTo>
                      <a:pt x="10" y="97"/>
                      <a:pt x="8" y="92"/>
                      <a:pt x="5" y="97"/>
                    </a:cubicBezTo>
                    <a:cubicBezTo>
                      <a:pt x="2" y="101"/>
                      <a:pt x="8" y="101"/>
                      <a:pt x="2" y="104"/>
                    </a:cubicBezTo>
                    <a:cubicBezTo>
                      <a:pt x="0" y="109"/>
                      <a:pt x="3" y="106"/>
                      <a:pt x="3" y="111"/>
                    </a:cubicBezTo>
                    <a:cubicBezTo>
                      <a:pt x="3" y="115"/>
                      <a:pt x="2" y="112"/>
                      <a:pt x="3" y="115"/>
                    </a:cubicBezTo>
                    <a:cubicBezTo>
                      <a:pt x="5" y="120"/>
                      <a:pt x="5" y="115"/>
                      <a:pt x="8" y="120"/>
                    </a:cubicBezTo>
                    <a:cubicBezTo>
                      <a:pt x="10" y="123"/>
                      <a:pt x="8" y="123"/>
                      <a:pt x="8" y="126"/>
                    </a:cubicBezTo>
                    <a:cubicBezTo>
                      <a:pt x="6" y="131"/>
                      <a:pt x="10" y="132"/>
                      <a:pt x="11" y="129"/>
                    </a:cubicBezTo>
                    <a:cubicBezTo>
                      <a:pt x="11" y="128"/>
                      <a:pt x="13" y="129"/>
                      <a:pt x="13" y="131"/>
                    </a:cubicBezTo>
                    <a:cubicBezTo>
                      <a:pt x="16" y="134"/>
                      <a:pt x="14" y="126"/>
                      <a:pt x="20" y="129"/>
                    </a:cubicBezTo>
                    <a:cubicBezTo>
                      <a:pt x="23" y="132"/>
                      <a:pt x="22" y="129"/>
                      <a:pt x="23" y="128"/>
                    </a:cubicBezTo>
                    <a:cubicBezTo>
                      <a:pt x="26" y="128"/>
                      <a:pt x="22" y="125"/>
                      <a:pt x="26" y="126"/>
                    </a:cubicBezTo>
                    <a:cubicBezTo>
                      <a:pt x="29" y="128"/>
                      <a:pt x="28" y="129"/>
                      <a:pt x="28" y="131"/>
                    </a:cubicBezTo>
                    <a:cubicBezTo>
                      <a:pt x="29" y="131"/>
                      <a:pt x="28" y="134"/>
                      <a:pt x="29" y="134"/>
                    </a:cubicBezTo>
                    <a:cubicBezTo>
                      <a:pt x="31" y="134"/>
                      <a:pt x="34" y="137"/>
                      <a:pt x="31" y="137"/>
                    </a:cubicBezTo>
                    <a:cubicBezTo>
                      <a:pt x="29" y="139"/>
                      <a:pt x="29" y="143"/>
                      <a:pt x="31" y="140"/>
                    </a:cubicBezTo>
                    <a:cubicBezTo>
                      <a:pt x="32" y="139"/>
                      <a:pt x="34" y="140"/>
                      <a:pt x="32" y="145"/>
                    </a:cubicBezTo>
                    <a:cubicBezTo>
                      <a:pt x="32" y="148"/>
                      <a:pt x="34" y="145"/>
                      <a:pt x="35" y="150"/>
                    </a:cubicBezTo>
                    <a:cubicBezTo>
                      <a:pt x="42" y="142"/>
                      <a:pt x="40" y="153"/>
                      <a:pt x="45" y="148"/>
                    </a:cubicBezTo>
                    <a:cubicBezTo>
                      <a:pt x="48" y="143"/>
                      <a:pt x="49" y="140"/>
                      <a:pt x="49" y="146"/>
                    </a:cubicBezTo>
                    <a:cubicBezTo>
                      <a:pt x="49" y="151"/>
                      <a:pt x="52" y="146"/>
                      <a:pt x="55" y="146"/>
                    </a:cubicBezTo>
                    <a:cubicBezTo>
                      <a:pt x="57" y="142"/>
                      <a:pt x="54" y="140"/>
                      <a:pt x="55" y="140"/>
                    </a:cubicBezTo>
                    <a:cubicBezTo>
                      <a:pt x="57" y="139"/>
                      <a:pt x="57" y="134"/>
                      <a:pt x="57" y="132"/>
                    </a:cubicBezTo>
                    <a:cubicBezTo>
                      <a:pt x="55" y="131"/>
                      <a:pt x="61" y="132"/>
                      <a:pt x="63" y="129"/>
                    </a:cubicBezTo>
                    <a:cubicBezTo>
                      <a:pt x="65" y="126"/>
                      <a:pt x="65" y="126"/>
                      <a:pt x="63" y="125"/>
                    </a:cubicBezTo>
                    <a:cubicBezTo>
                      <a:pt x="63" y="123"/>
                      <a:pt x="68" y="125"/>
                      <a:pt x="66" y="122"/>
                    </a:cubicBezTo>
                    <a:cubicBezTo>
                      <a:pt x="65" y="120"/>
                      <a:pt x="65" y="118"/>
                      <a:pt x="66" y="117"/>
                    </a:cubicBezTo>
                    <a:cubicBezTo>
                      <a:pt x="68" y="115"/>
                      <a:pt x="66" y="118"/>
                      <a:pt x="69" y="118"/>
                    </a:cubicBezTo>
                    <a:cubicBezTo>
                      <a:pt x="72" y="120"/>
                      <a:pt x="72" y="117"/>
                      <a:pt x="72" y="115"/>
                    </a:cubicBezTo>
                    <a:cubicBezTo>
                      <a:pt x="72" y="112"/>
                      <a:pt x="77" y="117"/>
                      <a:pt x="77" y="114"/>
                    </a:cubicBezTo>
                    <a:cubicBezTo>
                      <a:pt x="77" y="109"/>
                      <a:pt x="78" y="108"/>
                      <a:pt x="81" y="109"/>
                    </a:cubicBezTo>
                    <a:cubicBezTo>
                      <a:pt x="84" y="111"/>
                      <a:pt x="81" y="106"/>
                      <a:pt x="86" y="104"/>
                    </a:cubicBezTo>
                    <a:cubicBezTo>
                      <a:pt x="95" y="101"/>
                      <a:pt x="92" y="98"/>
                      <a:pt x="95" y="100"/>
                    </a:cubicBezTo>
                    <a:cubicBezTo>
                      <a:pt x="97" y="101"/>
                      <a:pt x="97" y="100"/>
                      <a:pt x="98" y="101"/>
                    </a:cubicBezTo>
                    <a:cubicBezTo>
                      <a:pt x="100" y="101"/>
                      <a:pt x="100" y="101"/>
                      <a:pt x="101" y="101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18" name="Freeform 112"/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4052266" y="3145669"/>
                <a:ext cx="224574" cy="290070"/>
              </a:xfrm>
              <a:custGeom>
                <a:avLst/>
                <a:gdLst/>
                <a:ahLst/>
                <a:cxnLst>
                  <a:cxn ang="0">
                    <a:pos x="7" y="112"/>
                  </a:cxn>
                  <a:cxn ang="0">
                    <a:pos x="22" y="109"/>
                  </a:cxn>
                  <a:cxn ang="0">
                    <a:pos x="29" y="114"/>
                  </a:cxn>
                  <a:cxn ang="0">
                    <a:pos x="40" y="128"/>
                  </a:cxn>
                  <a:cxn ang="0">
                    <a:pos x="43" y="120"/>
                  </a:cxn>
                  <a:cxn ang="0">
                    <a:pos x="49" y="123"/>
                  </a:cxn>
                  <a:cxn ang="0">
                    <a:pos x="54" y="120"/>
                  </a:cxn>
                  <a:cxn ang="0">
                    <a:pos x="61" y="120"/>
                  </a:cxn>
                  <a:cxn ang="0">
                    <a:pos x="64" y="120"/>
                  </a:cxn>
                  <a:cxn ang="0">
                    <a:pos x="93" y="120"/>
                  </a:cxn>
                  <a:cxn ang="0">
                    <a:pos x="92" y="109"/>
                  </a:cxn>
                  <a:cxn ang="0">
                    <a:pos x="84" y="23"/>
                  </a:cxn>
                  <a:cxn ang="0">
                    <a:pos x="99" y="23"/>
                  </a:cxn>
                  <a:cxn ang="0">
                    <a:pos x="67" y="0"/>
                  </a:cxn>
                  <a:cxn ang="0">
                    <a:pos x="67" y="14"/>
                  </a:cxn>
                  <a:cxn ang="0">
                    <a:pos x="42" y="14"/>
                  </a:cxn>
                  <a:cxn ang="0">
                    <a:pos x="42" y="39"/>
                  </a:cxn>
                  <a:cxn ang="0">
                    <a:pos x="34" y="61"/>
                  </a:cxn>
                  <a:cxn ang="0">
                    <a:pos x="3" y="61"/>
                  </a:cxn>
                  <a:cxn ang="0">
                    <a:pos x="2" y="67"/>
                  </a:cxn>
                  <a:cxn ang="0">
                    <a:pos x="3" y="64"/>
                  </a:cxn>
                  <a:cxn ang="0">
                    <a:pos x="5" y="69"/>
                  </a:cxn>
                  <a:cxn ang="0">
                    <a:pos x="8" y="75"/>
                  </a:cxn>
                  <a:cxn ang="0">
                    <a:pos x="7" y="81"/>
                  </a:cxn>
                  <a:cxn ang="0">
                    <a:pos x="8" y="101"/>
                  </a:cxn>
                  <a:cxn ang="0">
                    <a:pos x="7" y="112"/>
                  </a:cxn>
                </a:cxnLst>
                <a:rect l="0" t="0" r="r" b="b"/>
                <a:pathLst>
                  <a:path w="99" h="128">
                    <a:moveTo>
                      <a:pt x="7" y="112"/>
                    </a:moveTo>
                    <a:cubicBezTo>
                      <a:pt x="7" y="107"/>
                      <a:pt x="17" y="109"/>
                      <a:pt x="22" y="109"/>
                    </a:cubicBezTo>
                    <a:cubicBezTo>
                      <a:pt x="25" y="107"/>
                      <a:pt x="28" y="112"/>
                      <a:pt x="29" y="114"/>
                    </a:cubicBezTo>
                    <a:cubicBezTo>
                      <a:pt x="32" y="115"/>
                      <a:pt x="37" y="125"/>
                      <a:pt x="40" y="128"/>
                    </a:cubicBezTo>
                    <a:cubicBezTo>
                      <a:pt x="46" y="125"/>
                      <a:pt x="40" y="125"/>
                      <a:pt x="43" y="120"/>
                    </a:cubicBezTo>
                    <a:cubicBezTo>
                      <a:pt x="46" y="115"/>
                      <a:pt x="48" y="120"/>
                      <a:pt x="49" y="123"/>
                    </a:cubicBezTo>
                    <a:cubicBezTo>
                      <a:pt x="51" y="126"/>
                      <a:pt x="49" y="118"/>
                      <a:pt x="54" y="120"/>
                    </a:cubicBezTo>
                    <a:cubicBezTo>
                      <a:pt x="57" y="121"/>
                      <a:pt x="61" y="121"/>
                      <a:pt x="61" y="120"/>
                    </a:cubicBezTo>
                    <a:cubicBezTo>
                      <a:pt x="63" y="117"/>
                      <a:pt x="61" y="120"/>
                      <a:pt x="64" y="120"/>
                    </a:cubicBezTo>
                    <a:cubicBezTo>
                      <a:pt x="69" y="120"/>
                      <a:pt x="93" y="120"/>
                      <a:pt x="93" y="120"/>
                    </a:cubicBezTo>
                    <a:cubicBezTo>
                      <a:pt x="96" y="106"/>
                      <a:pt x="93" y="114"/>
                      <a:pt x="92" y="109"/>
                    </a:cubicBezTo>
                    <a:cubicBezTo>
                      <a:pt x="92" y="104"/>
                      <a:pt x="84" y="23"/>
                      <a:pt x="84" y="23"/>
                    </a:cubicBezTo>
                    <a:cubicBezTo>
                      <a:pt x="99" y="23"/>
                      <a:pt x="99" y="23"/>
                      <a:pt x="99" y="23"/>
                    </a:cubicBezTo>
                    <a:cubicBezTo>
                      <a:pt x="67" y="0"/>
                      <a:pt x="67" y="0"/>
                      <a:pt x="67" y="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42" y="14"/>
                      <a:pt x="42" y="14"/>
                      <a:pt x="42" y="14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32" y="44"/>
                      <a:pt x="31" y="42"/>
                      <a:pt x="34" y="61"/>
                    </a:cubicBezTo>
                    <a:cubicBezTo>
                      <a:pt x="34" y="61"/>
                      <a:pt x="5" y="61"/>
                      <a:pt x="3" y="61"/>
                    </a:cubicBezTo>
                    <a:cubicBezTo>
                      <a:pt x="2" y="61"/>
                      <a:pt x="0" y="64"/>
                      <a:pt x="2" y="67"/>
                    </a:cubicBezTo>
                    <a:cubicBezTo>
                      <a:pt x="3" y="67"/>
                      <a:pt x="2" y="62"/>
                      <a:pt x="3" y="64"/>
                    </a:cubicBezTo>
                    <a:cubicBezTo>
                      <a:pt x="5" y="64"/>
                      <a:pt x="3" y="69"/>
                      <a:pt x="5" y="69"/>
                    </a:cubicBezTo>
                    <a:cubicBezTo>
                      <a:pt x="7" y="67"/>
                      <a:pt x="8" y="72"/>
                      <a:pt x="8" y="75"/>
                    </a:cubicBezTo>
                    <a:cubicBezTo>
                      <a:pt x="8" y="79"/>
                      <a:pt x="3" y="79"/>
                      <a:pt x="7" y="81"/>
                    </a:cubicBezTo>
                    <a:cubicBezTo>
                      <a:pt x="8" y="82"/>
                      <a:pt x="11" y="93"/>
                      <a:pt x="8" y="101"/>
                    </a:cubicBezTo>
                    <a:cubicBezTo>
                      <a:pt x="7" y="107"/>
                      <a:pt x="5" y="109"/>
                      <a:pt x="7" y="11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19" name="Freeform 113"/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4412522" y="3449775"/>
                <a:ext cx="217557" cy="217553"/>
              </a:xfrm>
              <a:custGeom>
                <a:avLst/>
                <a:gdLst/>
                <a:ahLst/>
                <a:cxnLst>
                  <a:cxn ang="0">
                    <a:pos x="90" y="9"/>
                  </a:cxn>
                  <a:cxn ang="0">
                    <a:pos x="93" y="22"/>
                  </a:cxn>
                  <a:cxn ang="0">
                    <a:pos x="84" y="39"/>
                  </a:cxn>
                  <a:cxn ang="0">
                    <a:pos x="77" y="54"/>
                  </a:cxn>
                  <a:cxn ang="0">
                    <a:pos x="70" y="70"/>
                  </a:cxn>
                  <a:cxn ang="0">
                    <a:pos x="64" y="71"/>
                  </a:cxn>
                  <a:cxn ang="0">
                    <a:pos x="56" y="73"/>
                  </a:cxn>
                  <a:cxn ang="0">
                    <a:pos x="50" y="79"/>
                  </a:cxn>
                  <a:cxn ang="0">
                    <a:pos x="45" y="92"/>
                  </a:cxn>
                  <a:cxn ang="0">
                    <a:pos x="42" y="88"/>
                  </a:cxn>
                  <a:cxn ang="0">
                    <a:pos x="35" y="93"/>
                  </a:cxn>
                  <a:cxn ang="0">
                    <a:pos x="32" y="95"/>
                  </a:cxn>
                  <a:cxn ang="0">
                    <a:pos x="26" y="96"/>
                  </a:cxn>
                  <a:cxn ang="0">
                    <a:pos x="18" y="81"/>
                  </a:cxn>
                  <a:cxn ang="0">
                    <a:pos x="9" y="75"/>
                  </a:cxn>
                  <a:cxn ang="0">
                    <a:pos x="4" y="75"/>
                  </a:cxn>
                  <a:cxn ang="0">
                    <a:pos x="0" y="76"/>
                  </a:cxn>
                  <a:cxn ang="0">
                    <a:pos x="0" y="54"/>
                  </a:cxn>
                  <a:cxn ang="0">
                    <a:pos x="3" y="47"/>
                  </a:cxn>
                  <a:cxn ang="0">
                    <a:pos x="7" y="36"/>
                  </a:cxn>
                  <a:cxn ang="0">
                    <a:pos x="6" y="23"/>
                  </a:cxn>
                  <a:cxn ang="0">
                    <a:pos x="9" y="14"/>
                  </a:cxn>
                  <a:cxn ang="0">
                    <a:pos x="10" y="5"/>
                  </a:cxn>
                  <a:cxn ang="0">
                    <a:pos x="18" y="3"/>
                  </a:cxn>
                  <a:cxn ang="0">
                    <a:pos x="23" y="2"/>
                  </a:cxn>
                  <a:cxn ang="0">
                    <a:pos x="30" y="8"/>
                  </a:cxn>
                  <a:cxn ang="0">
                    <a:pos x="41" y="6"/>
                  </a:cxn>
                  <a:cxn ang="0">
                    <a:pos x="50" y="13"/>
                  </a:cxn>
                  <a:cxn ang="0">
                    <a:pos x="62" y="6"/>
                  </a:cxn>
                  <a:cxn ang="0">
                    <a:pos x="77" y="8"/>
                  </a:cxn>
                  <a:cxn ang="0">
                    <a:pos x="85" y="3"/>
                  </a:cxn>
                  <a:cxn ang="0">
                    <a:pos x="90" y="9"/>
                  </a:cxn>
                </a:cxnLst>
                <a:rect l="0" t="0" r="r" b="b"/>
                <a:pathLst>
                  <a:path w="96" h="96">
                    <a:moveTo>
                      <a:pt x="90" y="9"/>
                    </a:moveTo>
                    <a:cubicBezTo>
                      <a:pt x="88" y="22"/>
                      <a:pt x="96" y="14"/>
                      <a:pt x="93" y="22"/>
                    </a:cubicBezTo>
                    <a:cubicBezTo>
                      <a:pt x="91" y="31"/>
                      <a:pt x="88" y="23"/>
                      <a:pt x="84" y="39"/>
                    </a:cubicBezTo>
                    <a:cubicBezTo>
                      <a:pt x="80" y="53"/>
                      <a:pt x="80" y="53"/>
                      <a:pt x="77" y="54"/>
                    </a:cubicBezTo>
                    <a:cubicBezTo>
                      <a:pt x="74" y="56"/>
                      <a:pt x="73" y="65"/>
                      <a:pt x="70" y="70"/>
                    </a:cubicBezTo>
                    <a:cubicBezTo>
                      <a:pt x="67" y="76"/>
                      <a:pt x="68" y="76"/>
                      <a:pt x="64" y="71"/>
                    </a:cubicBezTo>
                    <a:cubicBezTo>
                      <a:pt x="61" y="67"/>
                      <a:pt x="56" y="68"/>
                      <a:pt x="56" y="73"/>
                    </a:cubicBezTo>
                    <a:cubicBezTo>
                      <a:pt x="55" y="76"/>
                      <a:pt x="52" y="73"/>
                      <a:pt x="50" y="79"/>
                    </a:cubicBezTo>
                    <a:cubicBezTo>
                      <a:pt x="47" y="84"/>
                      <a:pt x="49" y="85"/>
                      <a:pt x="45" y="92"/>
                    </a:cubicBezTo>
                    <a:cubicBezTo>
                      <a:pt x="42" y="88"/>
                      <a:pt x="42" y="88"/>
                      <a:pt x="42" y="88"/>
                    </a:cubicBezTo>
                    <a:cubicBezTo>
                      <a:pt x="47" y="95"/>
                      <a:pt x="36" y="95"/>
                      <a:pt x="35" y="93"/>
                    </a:cubicBezTo>
                    <a:cubicBezTo>
                      <a:pt x="33" y="92"/>
                      <a:pt x="36" y="95"/>
                      <a:pt x="32" y="95"/>
                    </a:cubicBezTo>
                    <a:cubicBezTo>
                      <a:pt x="30" y="96"/>
                      <a:pt x="30" y="96"/>
                      <a:pt x="26" y="96"/>
                    </a:cubicBezTo>
                    <a:cubicBezTo>
                      <a:pt x="21" y="96"/>
                      <a:pt x="20" y="84"/>
                      <a:pt x="18" y="81"/>
                    </a:cubicBezTo>
                    <a:cubicBezTo>
                      <a:pt x="13" y="76"/>
                      <a:pt x="12" y="75"/>
                      <a:pt x="9" y="75"/>
                    </a:cubicBezTo>
                    <a:cubicBezTo>
                      <a:pt x="4" y="76"/>
                      <a:pt x="6" y="73"/>
                      <a:pt x="4" y="75"/>
                    </a:cubicBezTo>
                    <a:cubicBezTo>
                      <a:pt x="4" y="76"/>
                      <a:pt x="3" y="76"/>
                      <a:pt x="0" y="76"/>
                    </a:cubicBezTo>
                    <a:cubicBezTo>
                      <a:pt x="1" y="67"/>
                      <a:pt x="0" y="62"/>
                      <a:pt x="0" y="54"/>
                    </a:cubicBezTo>
                    <a:cubicBezTo>
                      <a:pt x="0" y="47"/>
                      <a:pt x="1" y="51"/>
                      <a:pt x="3" y="47"/>
                    </a:cubicBezTo>
                    <a:cubicBezTo>
                      <a:pt x="3" y="42"/>
                      <a:pt x="4" y="44"/>
                      <a:pt x="7" y="36"/>
                    </a:cubicBezTo>
                    <a:cubicBezTo>
                      <a:pt x="10" y="28"/>
                      <a:pt x="4" y="28"/>
                      <a:pt x="6" y="23"/>
                    </a:cubicBezTo>
                    <a:cubicBezTo>
                      <a:pt x="7" y="20"/>
                      <a:pt x="4" y="16"/>
                      <a:pt x="9" y="14"/>
                    </a:cubicBezTo>
                    <a:cubicBezTo>
                      <a:pt x="12" y="11"/>
                      <a:pt x="9" y="8"/>
                      <a:pt x="10" y="5"/>
                    </a:cubicBezTo>
                    <a:cubicBezTo>
                      <a:pt x="13" y="3"/>
                      <a:pt x="13" y="3"/>
                      <a:pt x="18" y="3"/>
                    </a:cubicBezTo>
                    <a:cubicBezTo>
                      <a:pt x="21" y="3"/>
                      <a:pt x="20" y="0"/>
                      <a:pt x="23" y="2"/>
                    </a:cubicBezTo>
                    <a:cubicBezTo>
                      <a:pt x="26" y="3"/>
                      <a:pt x="29" y="2"/>
                      <a:pt x="30" y="8"/>
                    </a:cubicBezTo>
                    <a:cubicBezTo>
                      <a:pt x="33" y="14"/>
                      <a:pt x="38" y="6"/>
                      <a:pt x="41" y="6"/>
                    </a:cubicBezTo>
                    <a:cubicBezTo>
                      <a:pt x="42" y="6"/>
                      <a:pt x="45" y="11"/>
                      <a:pt x="50" y="13"/>
                    </a:cubicBezTo>
                    <a:cubicBezTo>
                      <a:pt x="56" y="13"/>
                      <a:pt x="55" y="8"/>
                      <a:pt x="62" y="6"/>
                    </a:cubicBezTo>
                    <a:cubicBezTo>
                      <a:pt x="71" y="5"/>
                      <a:pt x="76" y="13"/>
                      <a:pt x="77" y="8"/>
                    </a:cubicBezTo>
                    <a:cubicBezTo>
                      <a:pt x="79" y="3"/>
                      <a:pt x="80" y="6"/>
                      <a:pt x="85" y="3"/>
                    </a:cubicBezTo>
                    <a:cubicBezTo>
                      <a:pt x="90" y="9"/>
                      <a:pt x="90" y="9"/>
                      <a:pt x="90" y="9"/>
                    </a:cubicBezTo>
                    <a:close/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20" name="Freeform 114"/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4619551" y="3517614"/>
                <a:ext cx="237441" cy="195329"/>
              </a:xfrm>
              <a:custGeom>
                <a:avLst/>
                <a:gdLst/>
                <a:ahLst/>
                <a:cxnLst>
                  <a:cxn ang="0">
                    <a:pos x="105" y="58"/>
                  </a:cxn>
                  <a:cxn ang="0">
                    <a:pos x="99" y="58"/>
                  </a:cxn>
                  <a:cxn ang="0">
                    <a:pos x="87" y="57"/>
                  </a:cxn>
                  <a:cxn ang="0">
                    <a:pos x="76" y="60"/>
                  </a:cxn>
                  <a:cxn ang="0">
                    <a:pos x="67" y="63"/>
                  </a:cxn>
                  <a:cxn ang="0">
                    <a:pos x="50" y="65"/>
                  </a:cxn>
                  <a:cxn ang="0">
                    <a:pos x="44" y="58"/>
                  </a:cxn>
                  <a:cxn ang="0">
                    <a:pos x="35" y="65"/>
                  </a:cxn>
                  <a:cxn ang="0">
                    <a:pos x="35" y="74"/>
                  </a:cxn>
                  <a:cxn ang="0">
                    <a:pos x="28" y="72"/>
                  </a:cxn>
                  <a:cxn ang="0">
                    <a:pos x="20" y="72"/>
                  </a:cxn>
                  <a:cxn ang="0">
                    <a:pos x="15" y="86"/>
                  </a:cxn>
                  <a:cxn ang="0">
                    <a:pos x="8" y="71"/>
                  </a:cxn>
                  <a:cxn ang="0">
                    <a:pos x="5" y="65"/>
                  </a:cxn>
                  <a:cxn ang="0">
                    <a:pos x="2" y="52"/>
                  </a:cxn>
                  <a:cxn ang="0">
                    <a:pos x="2" y="48"/>
                  </a:cxn>
                  <a:cxn ang="0">
                    <a:pos x="9" y="34"/>
                  </a:cxn>
                  <a:cxn ang="0">
                    <a:pos x="17" y="32"/>
                  </a:cxn>
                  <a:cxn ang="0">
                    <a:pos x="21" y="32"/>
                  </a:cxn>
                  <a:cxn ang="0">
                    <a:pos x="37" y="26"/>
                  </a:cxn>
                  <a:cxn ang="0">
                    <a:pos x="37" y="20"/>
                  </a:cxn>
                  <a:cxn ang="0">
                    <a:pos x="53" y="14"/>
                  </a:cxn>
                  <a:cxn ang="0">
                    <a:pos x="58" y="4"/>
                  </a:cxn>
                  <a:cxn ang="0">
                    <a:pos x="69" y="1"/>
                  </a:cxn>
                  <a:cxn ang="0">
                    <a:pos x="73" y="17"/>
                  </a:cxn>
                  <a:cxn ang="0">
                    <a:pos x="78" y="24"/>
                  </a:cxn>
                  <a:cxn ang="0">
                    <a:pos x="85" y="29"/>
                  </a:cxn>
                  <a:cxn ang="0">
                    <a:pos x="90" y="37"/>
                  </a:cxn>
                  <a:cxn ang="0">
                    <a:pos x="96" y="44"/>
                  </a:cxn>
                  <a:cxn ang="0">
                    <a:pos x="101" y="51"/>
                  </a:cxn>
                  <a:cxn ang="0">
                    <a:pos x="105" y="58"/>
                  </a:cxn>
                </a:cxnLst>
                <a:rect l="0" t="0" r="r" b="b"/>
                <a:pathLst>
                  <a:path w="105" h="86">
                    <a:moveTo>
                      <a:pt x="105" y="58"/>
                    </a:moveTo>
                    <a:cubicBezTo>
                      <a:pt x="102" y="58"/>
                      <a:pt x="102" y="55"/>
                      <a:pt x="99" y="58"/>
                    </a:cubicBezTo>
                    <a:cubicBezTo>
                      <a:pt x="97" y="62"/>
                      <a:pt x="90" y="52"/>
                      <a:pt x="87" y="57"/>
                    </a:cubicBezTo>
                    <a:cubicBezTo>
                      <a:pt x="84" y="62"/>
                      <a:pt x="84" y="55"/>
                      <a:pt x="76" y="60"/>
                    </a:cubicBezTo>
                    <a:cubicBezTo>
                      <a:pt x="67" y="66"/>
                      <a:pt x="70" y="55"/>
                      <a:pt x="67" y="63"/>
                    </a:cubicBezTo>
                    <a:cubicBezTo>
                      <a:pt x="64" y="71"/>
                      <a:pt x="59" y="65"/>
                      <a:pt x="50" y="65"/>
                    </a:cubicBezTo>
                    <a:cubicBezTo>
                      <a:pt x="47" y="65"/>
                      <a:pt x="50" y="62"/>
                      <a:pt x="44" y="58"/>
                    </a:cubicBezTo>
                    <a:cubicBezTo>
                      <a:pt x="37" y="55"/>
                      <a:pt x="37" y="63"/>
                      <a:pt x="35" y="65"/>
                    </a:cubicBezTo>
                    <a:cubicBezTo>
                      <a:pt x="32" y="66"/>
                      <a:pt x="34" y="69"/>
                      <a:pt x="35" y="74"/>
                    </a:cubicBezTo>
                    <a:cubicBezTo>
                      <a:pt x="32" y="71"/>
                      <a:pt x="31" y="75"/>
                      <a:pt x="28" y="72"/>
                    </a:cubicBezTo>
                    <a:cubicBezTo>
                      <a:pt x="25" y="71"/>
                      <a:pt x="25" y="74"/>
                      <a:pt x="20" y="72"/>
                    </a:cubicBezTo>
                    <a:cubicBezTo>
                      <a:pt x="15" y="72"/>
                      <a:pt x="18" y="80"/>
                      <a:pt x="15" y="86"/>
                    </a:cubicBezTo>
                    <a:cubicBezTo>
                      <a:pt x="14" y="75"/>
                      <a:pt x="11" y="74"/>
                      <a:pt x="8" y="71"/>
                    </a:cubicBezTo>
                    <a:cubicBezTo>
                      <a:pt x="5" y="68"/>
                      <a:pt x="8" y="65"/>
                      <a:pt x="5" y="65"/>
                    </a:cubicBezTo>
                    <a:cubicBezTo>
                      <a:pt x="3" y="63"/>
                      <a:pt x="2" y="58"/>
                      <a:pt x="2" y="52"/>
                    </a:cubicBezTo>
                    <a:cubicBezTo>
                      <a:pt x="3" y="48"/>
                      <a:pt x="0" y="49"/>
                      <a:pt x="2" y="48"/>
                    </a:cubicBezTo>
                    <a:cubicBezTo>
                      <a:pt x="5" y="46"/>
                      <a:pt x="6" y="40"/>
                      <a:pt x="9" y="34"/>
                    </a:cubicBezTo>
                    <a:cubicBezTo>
                      <a:pt x="12" y="35"/>
                      <a:pt x="15" y="34"/>
                      <a:pt x="17" y="32"/>
                    </a:cubicBezTo>
                    <a:cubicBezTo>
                      <a:pt x="18" y="29"/>
                      <a:pt x="18" y="35"/>
                      <a:pt x="21" y="32"/>
                    </a:cubicBezTo>
                    <a:cubicBezTo>
                      <a:pt x="28" y="27"/>
                      <a:pt x="32" y="32"/>
                      <a:pt x="37" y="26"/>
                    </a:cubicBezTo>
                    <a:cubicBezTo>
                      <a:pt x="40" y="21"/>
                      <a:pt x="35" y="21"/>
                      <a:pt x="37" y="20"/>
                    </a:cubicBezTo>
                    <a:cubicBezTo>
                      <a:pt x="38" y="18"/>
                      <a:pt x="47" y="21"/>
                      <a:pt x="53" y="14"/>
                    </a:cubicBezTo>
                    <a:cubicBezTo>
                      <a:pt x="58" y="6"/>
                      <a:pt x="59" y="9"/>
                      <a:pt x="58" y="4"/>
                    </a:cubicBezTo>
                    <a:cubicBezTo>
                      <a:pt x="58" y="3"/>
                      <a:pt x="66" y="0"/>
                      <a:pt x="69" y="1"/>
                    </a:cubicBezTo>
                    <a:cubicBezTo>
                      <a:pt x="72" y="6"/>
                      <a:pt x="76" y="10"/>
                      <a:pt x="73" y="17"/>
                    </a:cubicBezTo>
                    <a:cubicBezTo>
                      <a:pt x="72" y="27"/>
                      <a:pt x="81" y="21"/>
                      <a:pt x="78" y="24"/>
                    </a:cubicBezTo>
                    <a:cubicBezTo>
                      <a:pt x="76" y="29"/>
                      <a:pt x="82" y="26"/>
                      <a:pt x="85" y="29"/>
                    </a:cubicBezTo>
                    <a:cubicBezTo>
                      <a:pt x="88" y="34"/>
                      <a:pt x="84" y="32"/>
                      <a:pt x="90" y="37"/>
                    </a:cubicBezTo>
                    <a:cubicBezTo>
                      <a:pt x="94" y="41"/>
                      <a:pt x="96" y="41"/>
                      <a:pt x="96" y="44"/>
                    </a:cubicBezTo>
                    <a:cubicBezTo>
                      <a:pt x="94" y="48"/>
                      <a:pt x="96" y="48"/>
                      <a:pt x="101" y="51"/>
                    </a:cubicBezTo>
                    <a:cubicBezTo>
                      <a:pt x="104" y="51"/>
                      <a:pt x="102" y="55"/>
                      <a:pt x="105" y="58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21" name="Freeform 115"/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auto">
              <a:xfrm>
                <a:off x="4514282" y="3469659"/>
                <a:ext cx="141528" cy="256150"/>
              </a:xfrm>
              <a:custGeom>
                <a:avLst/>
                <a:gdLst/>
                <a:ahLst/>
                <a:cxnLst>
                  <a:cxn ang="0">
                    <a:pos x="39" y="107"/>
                  </a:cxn>
                  <a:cxn ang="0">
                    <a:pos x="49" y="107"/>
                  </a:cxn>
                  <a:cxn ang="0">
                    <a:pos x="56" y="109"/>
                  </a:cxn>
                  <a:cxn ang="0">
                    <a:pos x="60" y="112"/>
                  </a:cxn>
                  <a:cxn ang="0">
                    <a:pos x="62" y="107"/>
                  </a:cxn>
                  <a:cxn ang="0">
                    <a:pos x="54" y="92"/>
                  </a:cxn>
                  <a:cxn ang="0">
                    <a:pos x="51" y="85"/>
                  </a:cxn>
                  <a:cxn ang="0">
                    <a:pos x="48" y="73"/>
                  </a:cxn>
                  <a:cxn ang="0">
                    <a:pos x="48" y="68"/>
                  </a:cxn>
                  <a:cxn ang="0">
                    <a:pos x="56" y="54"/>
                  </a:cxn>
                  <a:cxn ang="0">
                    <a:pos x="54" y="48"/>
                  </a:cxn>
                  <a:cxn ang="0">
                    <a:pos x="45" y="36"/>
                  </a:cxn>
                  <a:cxn ang="0">
                    <a:pos x="48" y="31"/>
                  </a:cxn>
                  <a:cxn ang="0">
                    <a:pos x="57" y="30"/>
                  </a:cxn>
                  <a:cxn ang="0">
                    <a:pos x="51" y="9"/>
                  </a:cxn>
                  <a:cxn ang="0">
                    <a:pos x="49" y="3"/>
                  </a:cxn>
                  <a:cxn ang="0">
                    <a:pos x="45" y="0"/>
                  </a:cxn>
                  <a:cxn ang="0">
                    <a:pos x="48" y="13"/>
                  </a:cxn>
                  <a:cxn ang="0">
                    <a:pos x="39" y="30"/>
                  </a:cxn>
                  <a:cxn ang="0">
                    <a:pos x="32" y="45"/>
                  </a:cxn>
                  <a:cxn ang="0">
                    <a:pos x="25" y="61"/>
                  </a:cxn>
                  <a:cxn ang="0">
                    <a:pos x="19" y="62"/>
                  </a:cxn>
                  <a:cxn ang="0">
                    <a:pos x="11" y="64"/>
                  </a:cxn>
                  <a:cxn ang="0">
                    <a:pos x="5" y="70"/>
                  </a:cxn>
                  <a:cxn ang="0">
                    <a:pos x="0" y="82"/>
                  </a:cxn>
                  <a:cxn ang="0">
                    <a:pos x="3" y="85"/>
                  </a:cxn>
                  <a:cxn ang="0">
                    <a:pos x="5" y="90"/>
                  </a:cxn>
                  <a:cxn ang="0">
                    <a:pos x="9" y="88"/>
                  </a:cxn>
                  <a:cxn ang="0">
                    <a:pos x="9" y="93"/>
                  </a:cxn>
                  <a:cxn ang="0">
                    <a:pos x="9" y="96"/>
                  </a:cxn>
                  <a:cxn ang="0">
                    <a:pos x="9" y="105"/>
                  </a:cxn>
                  <a:cxn ang="0">
                    <a:pos x="22" y="107"/>
                  </a:cxn>
                  <a:cxn ang="0">
                    <a:pos x="31" y="105"/>
                  </a:cxn>
                  <a:cxn ang="0">
                    <a:pos x="39" y="107"/>
                  </a:cxn>
                </a:cxnLst>
                <a:rect l="0" t="0" r="r" b="b"/>
                <a:pathLst>
                  <a:path w="62" h="113">
                    <a:moveTo>
                      <a:pt x="39" y="107"/>
                    </a:moveTo>
                    <a:cubicBezTo>
                      <a:pt x="49" y="107"/>
                      <a:pt x="49" y="107"/>
                      <a:pt x="49" y="107"/>
                    </a:cubicBezTo>
                    <a:cubicBezTo>
                      <a:pt x="49" y="107"/>
                      <a:pt x="52" y="109"/>
                      <a:pt x="56" y="109"/>
                    </a:cubicBezTo>
                    <a:cubicBezTo>
                      <a:pt x="59" y="110"/>
                      <a:pt x="60" y="113"/>
                      <a:pt x="60" y="112"/>
                    </a:cubicBezTo>
                    <a:cubicBezTo>
                      <a:pt x="62" y="112"/>
                      <a:pt x="60" y="109"/>
                      <a:pt x="62" y="107"/>
                    </a:cubicBezTo>
                    <a:cubicBezTo>
                      <a:pt x="60" y="96"/>
                      <a:pt x="57" y="95"/>
                      <a:pt x="54" y="92"/>
                    </a:cubicBezTo>
                    <a:cubicBezTo>
                      <a:pt x="51" y="88"/>
                      <a:pt x="54" y="85"/>
                      <a:pt x="51" y="85"/>
                    </a:cubicBezTo>
                    <a:cubicBezTo>
                      <a:pt x="49" y="84"/>
                      <a:pt x="48" y="79"/>
                      <a:pt x="48" y="73"/>
                    </a:cubicBezTo>
                    <a:cubicBezTo>
                      <a:pt x="49" y="68"/>
                      <a:pt x="46" y="70"/>
                      <a:pt x="48" y="68"/>
                    </a:cubicBezTo>
                    <a:cubicBezTo>
                      <a:pt x="51" y="67"/>
                      <a:pt x="52" y="61"/>
                      <a:pt x="56" y="54"/>
                    </a:cubicBezTo>
                    <a:cubicBezTo>
                      <a:pt x="57" y="51"/>
                      <a:pt x="56" y="54"/>
                      <a:pt x="54" y="48"/>
                    </a:cubicBezTo>
                    <a:cubicBezTo>
                      <a:pt x="54" y="44"/>
                      <a:pt x="51" y="45"/>
                      <a:pt x="45" y="36"/>
                    </a:cubicBezTo>
                    <a:cubicBezTo>
                      <a:pt x="43" y="34"/>
                      <a:pt x="45" y="30"/>
                      <a:pt x="48" y="31"/>
                    </a:cubicBezTo>
                    <a:cubicBezTo>
                      <a:pt x="49" y="31"/>
                      <a:pt x="52" y="33"/>
                      <a:pt x="57" y="30"/>
                    </a:cubicBezTo>
                    <a:cubicBezTo>
                      <a:pt x="49" y="25"/>
                      <a:pt x="54" y="11"/>
                      <a:pt x="51" y="9"/>
                    </a:cubicBezTo>
                    <a:cubicBezTo>
                      <a:pt x="49" y="9"/>
                      <a:pt x="52" y="5"/>
                      <a:pt x="49" y="3"/>
                    </a:cubicBezTo>
                    <a:cubicBezTo>
                      <a:pt x="45" y="2"/>
                      <a:pt x="54" y="0"/>
                      <a:pt x="45" y="0"/>
                    </a:cubicBezTo>
                    <a:cubicBezTo>
                      <a:pt x="43" y="13"/>
                      <a:pt x="51" y="5"/>
                      <a:pt x="48" y="13"/>
                    </a:cubicBezTo>
                    <a:cubicBezTo>
                      <a:pt x="46" y="22"/>
                      <a:pt x="43" y="14"/>
                      <a:pt x="39" y="30"/>
                    </a:cubicBezTo>
                    <a:cubicBezTo>
                      <a:pt x="36" y="44"/>
                      <a:pt x="36" y="44"/>
                      <a:pt x="32" y="45"/>
                    </a:cubicBezTo>
                    <a:cubicBezTo>
                      <a:pt x="29" y="47"/>
                      <a:pt x="28" y="56"/>
                      <a:pt x="25" y="61"/>
                    </a:cubicBezTo>
                    <a:cubicBezTo>
                      <a:pt x="22" y="67"/>
                      <a:pt x="23" y="67"/>
                      <a:pt x="19" y="62"/>
                    </a:cubicBezTo>
                    <a:cubicBezTo>
                      <a:pt x="16" y="57"/>
                      <a:pt x="11" y="59"/>
                      <a:pt x="11" y="64"/>
                    </a:cubicBezTo>
                    <a:cubicBezTo>
                      <a:pt x="9" y="67"/>
                      <a:pt x="6" y="64"/>
                      <a:pt x="5" y="70"/>
                    </a:cubicBezTo>
                    <a:cubicBezTo>
                      <a:pt x="2" y="74"/>
                      <a:pt x="3" y="76"/>
                      <a:pt x="0" y="82"/>
                    </a:cubicBezTo>
                    <a:cubicBezTo>
                      <a:pt x="0" y="87"/>
                      <a:pt x="2" y="81"/>
                      <a:pt x="3" y="85"/>
                    </a:cubicBezTo>
                    <a:cubicBezTo>
                      <a:pt x="3" y="88"/>
                      <a:pt x="3" y="88"/>
                      <a:pt x="5" y="90"/>
                    </a:cubicBezTo>
                    <a:cubicBezTo>
                      <a:pt x="8" y="92"/>
                      <a:pt x="6" y="87"/>
                      <a:pt x="9" y="88"/>
                    </a:cubicBezTo>
                    <a:cubicBezTo>
                      <a:pt x="11" y="90"/>
                      <a:pt x="6" y="90"/>
                      <a:pt x="9" y="93"/>
                    </a:cubicBezTo>
                    <a:cubicBezTo>
                      <a:pt x="11" y="95"/>
                      <a:pt x="8" y="93"/>
                      <a:pt x="9" y="96"/>
                    </a:cubicBezTo>
                    <a:cubicBezTo>
                      <a:pt x="12" y="99"/>
                      <a:pt x="9" y="102"/>
                      <a:pt x="9" y="105"/>
                    </a:cubicBezTo>
                    <a:cubicBezTo>
                      <a:pt x="12" y="109"/>
                      <a:pt x="14" y="107"/>
                      <a:pt x="22" y="107"/>
                    </a:cubicBezTo>
                    <a:cubicBezTo>
                      <a:pt x="23" y="105"/>
                      <a:pt x="23" y="105"/>
                      <a:pt x="31" y="105"/>
                    </a:cubicBezTo>
                    <a:cubicBezTo>
                      <a:pt x="40" y="105"/>
                      <a:pt x="37" y="105"/>
                      <a:pt x="39" y="107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22" name="Freeform 116"/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4578613" y="3857979"/>
                <a:ext cx="19884" cy="315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6" y="2"/>
                  </a:cxn>
                  <a:cxn ang="0">
                    <a:pos x="9" y="3"/>
                  </a:cxn>
                  <a:cxn ang="0">
                    <a:pos x="4" y="5"/>
                  </a:cxn>
                  <a:cxn ang="0">
                    <a:pos x="1" y="14"/>
                  </a:cxn>
                  <a:cxn ang="0">
                    <a:pos x="1" y="11"/>
                  </a:cxn>
                  <a:cxn ang="0">
                    <a:pos x="0" y="6"/>
                  </a:cxn>
                </a:cxnLst>
                <a:rect l="0" t="0" r="r" b="b"/>
                <a:pathLst>
                  <a:path w="9" h="14">
                    <a:moveTo>
                      <a:pt x="0" y="6"/>
                    </a:moveTo>
                    <a:cubicBezTo>
                      <a:pt x="1" y="3"/>
                      <a:pt x="4" y="2"/>
                      <a:pt x="6" y="2"/>
                    </a:cubicBezTo>
                    <a:cubicBezTo>
                      <a:pt x="6" y="0"/>
                      <a:pt x="8" y="2"/>
                      <a:pt x="9" y="3"/>
                    </a:cubicBezTo>
                    <a:cubicBezTo>
                      <a:pt x="8" y="3"/>
                      <a:pt x="8" y="3"/>
                      <a:pt x="4" y="5"/>
                    </a:cubicBezTo>
                    <a:cubicBezTo>
                      <a:pt x="3" y="8"/>
                      <a:pt x="6" y="14"/>
                      <a:pt x="1" y="14"/>
                    </a:cubicBezTo>
                    <a:cubicBezTo>
                      <a:pt x="1" y="13"/>
                      <a:pt x="0" y="14"/>
                      <a:pt x="1" y="11"/>
                    </a:cubicBezTo>
                    <a:cubicBezTo>
                      <a:pt x="1" y="10"/>
                      <a:pt x="1" y="8"/>
                      <a:pt x="0" y="6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23" name="Freeform 117"/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4559898" y="3679024"/>
                <a:ext cx="138020" cy="196499"/>
              </a:xfrm>
              <a:custGeom>
                <a:avLst/>
                <a:gdLst/>
                <a:ahLst/>
                <a:cxnLst>
                  <a:cxn ang="0">
                    <a:pos x="18" y="16"/>
                  </a:cxn>
                  <a:cxn ang="0">
                    <a:pos x="17" y="23"/>
                  </a:cxn>
                  <a:cxn ang="0">
                    <a:pos x="23" y="23"/>
                  </a:cxn>
                  <a:cxn ang="0">
                    <a:pos x="26" y="30"/>
                  </a:cxn>
                  <a:cxn ang="0">
                    <a:pos x="23" y="37"/>
                  </a:cxn>
                  <a:cxn ang="0">
                    <a:pos x="28" y="43"/>
                  </a:cxn>
                  <a:cxn ang="0">
                    <a:pos x="26" y="56"/>
                  </a:cxn>
                  <a:cxn ang="0">
                    <a:pos x="25" y="60"/>
                  </a:cxn>
                  <a:cxn ang="0">
                    <a:pos x="22" y="59"/>
                  </a:cxn>
                  <a:cxn ang="0">
                    <a:pos x="14" y="56"/>
                  </a:cxn>
                  <a:cxn ang="0">
                    <a:pos x="12" y="57"/>
                  </a:cxn>
                  <a:cxn ang="0">
                    <a:pos x="6" y="60"/>
                  </a:cxn>
                  <a:cxn ang="0">
                    <a:pos x="6" y="68"/>
                  </a:cxn>
                  <a:cxn ang="0">
                    <a:pos x="5" y="73"/>
                  </a:cxn>
                  <a:cxn ang="0">
                    <a:pos x="0" y="74"/>
                  </a:cxn>
                  <a:cxn ang="0">
                    <a:pos x="6" y="82"/>
                  </a:cxn>
                  <a:cxn ang="0">
                    <a:pos x="8" y="85"/>
                  </a:cxn>
                  <a:cxn ang="0">
                    <a:pos x="14" y="81"/>
                  </a:cxn>
                  <a:cxn ang="0">
                    <a:pos x="17" y="82"/>
                  </a:cxn>
                  <a:cxn ang="0">
                    <a:pos x="26" y="79"/>
                  </a:cxn>
                  <a:cxn ang="0">
                    <a:pos x="28" y="84"/>
                  </a:cxn>
                  <a:cxn ang="0">
                    <a:pos x="37" y="76"/>
                  </a:cxn>
                  <a:cxn ang="0">
                    <a:pos x="41" y="67"/>
                  </a:cxn>
                  <a:cxn ang="0">
                    <a:pos x="50" y="47"/>
                  </a:cxn>
                  <a:cxn ang="0">
                    <a:pos x="55" y="34"/>
                  </a:cxn>
                  <a:cxn ang="0">
                    <a:pos x="55" y="23"/>
                  </a:cxn>
                  <a:cxn ang="0">
                    <a:pos x="57" y="11"/>
                  </a:cxn>
                  <a:cxn ang="0">
                    <a:pos x="61" y="3"/>
                  </a:cxn>
                  <a:cxn ang="0">
                    <a:pos x="54" y="2"/>
                  </a:cxn>
                  <a:cxn ang="0">
                    <a:pos x="46" y="2"/>
                  </a:cxn>
                  <a:cxn ang="0">
                    <a:pos x="41" y="16"/>
                  </a:cxn>
                  <a:cxn ang="0">
                    <a:pos x="40" y="20"/>
                  </a:cxn>
                  <a:cxn ang="0">
                    <a:pos x="35" y="17"/>
                  </a:cxn>
                  <a:cxn ang="0">
                    <a:pos x="29" y="16"/>
                  </a:cxn>
                  <a:cxn ang="0">
                    <a:pos x="18" y="16"/>
                  </a:cxn>
                </a:cxnLst>
                <a:rect l="0" t="0" r="r" b="b"/>
                <a:pathLst>
                  <a:path w="61" h="87">
                    <a:moveTo>
                      <a:pt x="18" y="16"/>
                    </a:moveTo>
                    <a:cubicBezTo>
                      <a:pt x="18" y="19"/>
                      <a:pt x="15" y="19"/>
                      <a:pt x="17" y="23"/>
                    </a:cubicBezTo>
                    <a:cubicBezTo>
                      <a:pt x="18" y="26"/>
                      <a:pt x="22" y="23"/>
                      <a:pt x="23" y="23"/>
                    </a:cubicBezTo>
                    <a:cubicBezTo>
                      <a:pt x="26" y="23"/>
                      <a:pt x="28" y="26"/>
                      <a:pt x="26" y="30"/>
                    </a:cubicBezTo>
                    <a:cubicBezTo>
                      <a:pt x="25" y="34"/>
                      <a:pt x="25" y="28"/>
                      <a:pt x="23" y="37"/>
                    </a:cubicBezTo>
                    <a:cubicBezTo>
                      <a:pt x="22" y="42"/>
                      <a:pt x="28" y="40"/>
                      <a:pt x="28" y="43"/>
                    </a:cubicBezTo>
                    <a:cubicBezTo>
                      <a:pt x="26" y="47"/>
                      <a:pt x="28" y="53"/>
                      <a:pt x="26" y="56"/>
                    </a:cubicBezTo>
                    <a:cubicBezTo>
                      <a:pt x="25" y="59"/>
                      <a:pt x="28" y="60"/>
                      <a:pt x="25" y="60"/>
                    </a:cubicBezTo>
                    <a:cubicBezTo>
                      <a:pt x="22" y="62"/>
                      <a:pt x="23" y="56"/>
                      <a:pt x="22" y="59"/>
                    </a:cubicBezTo>
                    <a:cubicBezTo>
                      <a:pt x="18" y="62"/>
                      <a:pt x="17" y="62"/>
                      <a:pt x="14" y="56"/>
                    </a:cubicBezTo>
                    <a:cubicBezTo>
                      <a:pt x="11" y="51"/>
                      <a:pt x="11" y="54"/>
                      <a:pt x="12" y="57"/>
                    </a:cubicBezTo>
                    <a:cubicBezTo>
                      <a:pt x="12" y="60"/>
                      <a:pt x="9" y="60"/>
                      <a:pt x="6" y="60"/>
                    </a:cubicBezTo>
                    <a:cubicBezTo>
                      <a:pt x="3" y="60"/>
                      <a:pt x="5" y="67"/>
                      <a:pt x="6" y="68"/>
                    </a:cubicBezTo>
                    <a:cubicBezTo>
                      <a:pt x="8" y="70"/>
                      <a:pt x="8" y="74"/>
                      <a:pt x="5" y="73"/>
                    </a:cubicBezTo>
                    <a:cubicBezTo>
                      <a:pt x="3" y="71"/>
                      <a:pt x="3" y="71"/>
                      <a:pt x="0" y="74"/>
                    </a:cubicBezTo>
                    <a:cubicBezTo>
                      <a:pt x="5" y="79"/>
                      <a:pt x="5" y="79"/>
                      <a:pt x="6" y="82"/>
                    </a:cubicBezTo>
                    <a:cubicBezTo>
                      <a:pt x="6" y="84"/>
                      <a:pt x="8" y="85"/>
                      <a:pt x="8" y="85"/>
                    </a:cubicBezTo>
                    <a:cubicBezTo>
                      <a:pt x="9" y="82"/>
                      <a:pt x="12" y="81"/>
                      <a:pt x="14" y="81"/>
                    </a:cubicBezTo>
                    <a:cubicBezTo>
                      <a:pt x="14" y="79"/>
                      <a:pt x="15" y="81"/>
                      <a:pt x="17" y="82"/>
                    </a:cubicBezTo>
                    <a:cubicBezTo>
                      <a:pt x="20" y="87"/>
                      <a:pt x="23" y="77"/>
                      <a:pt x="26" y="79"/>
                    </a:cubicBezTo>
                    <a:cubicBezTo>
                      <a:pt x="29" y="81"/>
                      <a:pt x="25" y="84"/>
                      <a:pt x="28" y="84"/>
                    </a:cubicBezTo>
                    <a:cubicBezTo>
                      <a:pt x="32" y="85"/>
                      <a:pt x="35" y="76"/>
                      <a:pt x="37" y="76"/>
                    </a:cubicBezTo>
                    <a:cubicBezTo>
                      <a:pt x="40" y="76"/>
                      <a:pt x="43" y="70"/>
                      <a:pt x="41" y="67"/>
                    </a:cubicBezTo>
                    <a:cubicBezTo>
                      <a:pt x="38" y="60"/>
                      <a:pt x="46" y="48"/>
                      <a:pt x="50" y="47"/>
                    </a:cubicBezTo>
                    <a:cubicBezTo>
                      <a:pt x="55" y="43"/>
                      <a:pt x="52" y="40"/>
                      <a:pt x="55" y="34"/>
                    </a:cubicBezTo>
                    <a:cubicBezTo>
                      <a:pt x="57" y="30"/>
                      <a:pt x="54" y="31"/>
                      <a:pt x="55" y="23"/>
                    </a:cubicBezTo>
                    <a:cubicBezTo>
                      <a:pt x="57" y="16"/>
                      <a:pt x="54" y="17"/>
                      <a:pt x="57" y="11"/>
                    </a:cubicBezTo>
                    <a:cubicBezTo>
                      <a:pt x="61" y="6"/>
                      <a:pt x="61" y="5"/>
                      <a:pt x="61" y="3"/>
                    </a:cubicBezTo>
                    <a:cubicBezTo>
                      <a:pt x="58" y="0"/>
                      <a:pt x="57" y="5"/>
                      <a:pt x="54" y="2"/>
                    </a:cubicBezTo>
                    <a:cubicBezTo>
                      <a:pt x="50" y="0"/>
                      <a:pt x="50" y="3"/>
                      <a:pt x="46" y="2"/>
                    </a:cubicBezTo>
                    <a:cubicBezTo>
                      <a:pt x="41" y="2"/>
                      <a:pt x="44" y="9"/>
                      <a:pt x="41" y="16"/>
                    </a:cubicBezTo>
                    <a:cubicBezTo>
                      <a:pt x="40" y="17"/>
                      <a:pt x="41" y="20"/>
                      <a:pt x="40" y="20"/>
                    </a:cubicBezTo>
                    <a:cubicBezTo>
                      <a:pt x="40" y="22"/>
                      <a:pt x="38" y="19"/>
                      <a:pt x="35" y="17"/>
                    </a:cubicBezTo>
                    <a:cubicBezTo>
                      <a:pt x="32" y="17"/>
                      <a:pt x="29" y="16"/>
                      <a:pt x="29" y="16"/>
                    </a:cubicBezTo>
                    <a:cubicBezTo>
                      <a:pt x="18" y="16"/>
                      <a:pt x="18" y="16"/>
                      <a:pt x="18" y="16"/>
                    </a:cubicBezTo>
                    <a:close/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24" name="Freeform 118"/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4514282" y="3710604"/>
                <a:ext cx="108778" cy="138017"/>
              </a:xfrm>
              <a:custGeom>
                <a:avLst/>
                <a:gdLst/>
                <a:ahLst/>
                <a:cxnLst>
                  <a:cxn ang="0">
                    <a:pos x="22" y="1"/>
                  </a:cxn>
                  <a:cxn ang="0">
                    <a:pos x="31" y="0"/>
                  </a:cxn>
                  <a:cxn ang="0">
                    <a:pos x="39" y="1"/>
                  </a:cxn>
                  <a:cxn ang="0">
                    <a:pos x="37" y="9"/>
                  </a:cxn>
                  <a:cxn ang="0">
                    <a:pos x="43" y="9"/>
                  </a:cxn>
                  <a:cxn ang="0">
                    <a:pos x="46" y="15"/>
                  </a:cxn>
                  <a:cxn ang="0">
                    <a:pos x="43" y="23"/>
                  </a:cxn>
                  <a:cxn ang="0">
                    <a:pos x="48" y="29"/>
                  </a:cxn>
                  <a:cxn ang="0">
                    <a:pos x="46" y="42"/>
                  </a:cxn>
                  <a:cxn ang="0">
                    <a:pos x="45" y="47"/>
                  </a:cxn>
                  <a:cxn ang="0">
                    <a:pos x="42" y="45"/>
                  </a:cxn>
                  <a:cxn ang="0">
                    <a:pos x="34" y="42"/>
                  </a:cxn>
                  <a:cxn ang="0">
                    <a:pos x="32" y="44"/>
                  </a:cxn>
                  <a:cxn ang="0">
                    <a:pos x="26" y="47"/>
                  </a:cxn>
                  <a:cxn ang="0">
                    <a:pos x="26" y="54"/>
                  </a:cxn>
                  <a:cxn ang="0">
                    <a:pos x="25" y="59"/>
                  </a:cxn>
                  <a:cxn ang="0">
                    <a:pos x="20" y="61"/>
                  </a:cxn>
                  <a:cxn ang="0">
                    <a:pos x="12" y="50"/>
                  </a:cxn>
                  <a:cxn ang="0">
                    <a:pos x="6" y="44"/>
                  </a:cxn>
                  <a:cxn ang="0">
                    <a:pos x="3" y="34"/>
                  </a:cxn>
                  <a:cxn ang="0">
                    <a:pos x="3" y="29"/>
                  </a:cxn>
                  <a:cxn ang="0">
                    <a:pos x="6" y="23"/>
                  </a:cxn>
                  <a:cxn ang="0">
                    <a:pos x="8" y="22"/>
                  </a:cxn>
                  <a:cxn ang="0">
                    <a:pos x="11" y="20"/>
                  </a:cxn>
                  <a:cxn ang="0">
                    <a:pos x="6" y="17"/>
                  </a:cxn>
                  <a:cxn ang="0">
                    <a:pos x="8" y="17"/>
                  </a:cxn>
                  <a:cxn ang="0">
                    <a:pos x="8" y="12"/>
                  </a:cxn>
                  <a:cxn ang="0">
                    <a:pos x="22" y="12"/>
                  </a:cxn>
                  <a:cxn ang="0">
                    <a:pos x="22" y="1"/>
                  </a:cxn>
                </a:cxnLst>
                <a:rect l="0" t="0" r="r" b="b"/>
                <a:pathLst>
                  <a:path w="48" h="61">
                    <a:moveTo>
                      <a:pt x="22" y="1"/>
                    </a:moveTo>
                    <a:cubicBezTo>
                      <a:pt x="23" y="0"/>
                      <a:pt x="23" y="0"/>
                      <a:pt x="31" y="0"/>
                    </a:cubicBezTo>
                    <a:cubicBezTo>
                      <a:pt x="40" y="0"/>
                      <a:pt x="37" y="0"/>
                      <a:pt x="39" y="1"/>
                    </a:cubicBezTo>
                    <a:cubicBezTo>
                      <a:pt x="39" y="4"/>
                      <a:pt x="35" y="4"/>
                      <a:pt x="37" y="9"/>
                    </a:cubicBezTo>
                    <a:cubicBezTo>
                      <a:pt x="39" y="12"/>
                      <a:pt x="42" y="9"/>
                      <a:pt x="43" y="9"/>
                    </a:cubicBezTo>
                    <a:cubicBezTo>
                      <a:pt x="46" y="9"/>
                      <a:pt x="48" y="12"/>
                      <a:pt x="46" y="15"/>
                    </a:cubicBezTo>
                    <a:cubicBezTo>
                      <a:pt x="45" y="20"/>
                      <a:pt x="45" y="14"/>
                      <a:pt x="43" y="23"/>
                    </a:cubicBezTo>
                    <a:cubicBezTo>
                      <a:pt x="42" y="28"/>
                      <a:pt x="48" y="26"/>
                      <a:pt x="48" y="29"/>
                    </a:cubicBezTo>
                    <a:cubicBezTo>
                      <a:pt x="46" y="33"/>
                      <a:pt x="48" y="39"/>
                      <a:pt x="46" y="42"/>
                    </a:cubicBezTo>
                    <a:cubicBezTo>
                      <a:pt x="45" y="45"/>
                      <a:pt x="48" y="47"/>
                      <a:pt x="45" y="47"/>
                    </a:cubicBezTo>
                    <a:cubicBezTo>
                      <a:pt x="42" y="48"/>
                      <a:pt x="43" y="42"/>
                      <a:pt x="42" y="45"/>
                    </a:cubicBezTo>
                    <a:cubicBezTo>
                      <a:pt x="39" y="48"/>
                      <a:pt x="37" y="48"/>
                      <a:pt x="34" y="42"/>
                    </a:cubicBezTo>
                    <a:cubicBezTo>
                      <a:pt x="31" y="37"/>
                      <a:pt x="31" y="40"/>
                      <a:pt x="32" y="44"/>
                    </a:cubicBezTo>
                    <a:cubicBezTo>
                      <a:pt x="32" y="47"/>
                      <a:pt x="29" y="47"/>
                      <a:pt x="26" y="47"/>
                    </a:cubicBezTo>
                    <a:cubicBezTo>
                      <a:pt x="23" y="47"/>
                      <a:pt x="25" y="53"/>
                      <a:pt x="26" y="54"/>
                    </a:cubicBezTo>
                    <a:cubicBezTo>
                      <a:pt x="28" y="56"/>
                      <a:pt x="28" y="61"/>
                      <a:pt x="25" y="59"/>
                    </a:cubicBezTo>
                    <a:cubicBezTo>
                      <a:pt x="23" y="58"/>
                      <a:pt x="23" y="58"/>
                      <a:pt x="20" y="61"/>
                    </a:cubicBezTo>
                    <a:cubicBezTo>
                      <a:pt x="16" y="56"/>
                      <a:pt x="22" y="59"/>
                      <a:pt x="12" y="50"/>
                    </a:cubicBezTo>
                    <a:cubicBezTo>
                      <a:pt x="9" y="47"/>
                      <a:pt x="8" y="45"/>
                      <a:pt x="6" y="44"/>
                    </a:cubicBezTo>
                    <a:cubicBezTo>
                      <a:pt x="5" y="40"/>
                      <a:pt x="5" y="39"/>
                      <a:pt x="3" y="34"/>
                    </a:cubicBezTo>
                    <a:cubicBezTo>
                      <a:pt x="0" y="29"/>
                      <a:pt x="0" y="26"/>
                      <a:pt x="3" y="29"/>
                    </a:cubicBezTo>
                    <a:cubicBezTo>
                      <a:pt x="5" y="31"/>
                      <a:pt x="6" y="26"/>
                      <a:pt x="6" y="23"/>
                    </a:cubicBezTo>
                    <a:cubicBezTo>
                      <a:pt x="6" y="18"/>
                      <a:pt x="6" y="18"/>
                      <a:pt x="8" y="22"/>
                    </a:cubicBezTo>
                    <a:cubicBezTo>
                      <a:pt x="9" y="23"/>
                      <a:pt x="14" y="22"/>
                      <a:pt x="11" y="20"/>
                    </a:cubicBezTo>
                    <a:cubicBezTo>
                      <a:pt x="8" y="20"/>
                      <a:pt x="6" y="18"/>
                      <a:pt x="6" y="17"/>
                    </a:cubicBezTo>
                    <a:cubicBezTo>
                      <a:pt x="8" y="15"/>
                      <a:pt x="8" y="17"/>
                      <a:pt x="8" y="17"/>
                    </a:cubicBezTo>
                    <a:cubicBezTo>
                      <a:pt x="9" y="15"/>
                      <a:pt x="8" y="14"/>
                      <a:pt x="8" y="12"/>
                    </a:cubicBezTo>
                    <a:cubicBezTo>
                      <a:pt x="16" y="12"/>
                      <a:pt x="17" y="14"/>
                      <a:pt x="22" y="12"/>
                    </a:cubicBezTo>
                    <a:cubicBezTo>
                      <a:pt x="22" y="1"/>
                      <a:pt x="22" y="1"/>
                      <a:pt x="22" y="1"/>
                    </a:cubicBezTo>
                    <a:close/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25" name="Freeform 119"/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4528318" y="3710604"/>
                <a:ext cx="36259" cy="3158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6" y="1"/>
                  </a:cxn>
                  <a:cxn ang="0">
                    <a:pos x="16" y="13"/>
                  </a:cxn>
                  <a:cxn ang="0">
                    <a:pos x="2" y="13"/>
                  </a:cxn>
                  <a:cxn ang="0">
                    <a:pos x="0" y="11"/>
                  </a:cxn>
                  <a:cxn ang="0">
                    <a:pos x="3" y="0"/>
                  </a:cxn>
                </a:cxnLst>
                <a:rect l="0" t="0" r="r" b="b"/>
                <a:pathLst>
                  <a:path w="16" h="14">
                    <a:moveTo>
                      <a:pt x="3" y="0"/>
                    </a:moveTo>
                    <a:cubicBezTo>
                      <a:pt x="6" y="3"/>
                      <a:pt x="8" y="1"/>
                      <a:pt x="16" y="1"/>
                    </a:cubicBezTo>
                    <a:cubicBezTo>
                      <a:pt x="16" y="13"/>
                      <a:pt x="16" y="13"/>
                      <a:pt x="16" y="13"/>
                    </a:cubicBezTo>
                    <a:cubicBezTo>
                      <a:pt x="11" y="14"/>
                      <a:pt x="9" y="13"/>
                      <a:pt x="2" y="13"/>
                    </a:cubicBezTo>
                    <a:cubicBezTo>
                      <a:pt x="3" y="11"/>
                      <a:pt x="0" y="14"/>
                      <a:pt x="0" y="11"/>
                    </a:cubicBezTo>
                    <a:cubicBezTo>
                      <a:pt x="0" y="8"/>
                      <a:pt x="5" y="8"/>
                      <a:pt x="3" y="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26" name="Freeform 120"/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4508433" y="3679024"/>
                <a:ext cx="12866" cy="12866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3" y="2"/>
                  </a:cxn>
                  <a:cxn ang="0">
                    <a:pos x="5" y="3"/>
                  </a:cxn>
                  <a:cxn ang="0">
                    <a:pos x="3" y="6"/>
                  </a:cxn>
                </a:cxnLst>
                <a:rect l="0" t="0" r="r" b="b"/>
                <a:pathLst>
                  <a:path w="6" h="6">
                    <a:moveTo>
                      <a:pt x="3" y="6"/>
                    </a:moveTo>
                    <a:cubicBezTo>
                      <a:pt x="0" y="5"/>
                      <a:pt x="3" y="3"/>
                      <a:pt x="3" y="2"/>
                    </a:cubicBezTo>
                    <a:cubicBezTo>
                      <a:pt x="5" y="0"/>
                      <a:pt x="6" y="0"/>
                      <a:pt x="5" y="3"/>
                    </a:cubicBezTo>
                    <a:cubicBezTo>
                      <a:pt x="3" y="6"/>
                      <a:pt x="3" y="6"/>
                      <a:pt x="3" y="6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27" name="Freeform 121"/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4473344" y="3753881"/>
                <a:ext cx="11696" cy="818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2" y="4"/>
                  </a:cxn>
                  <a:cxn ang="0">
                    <a:pos x="3" y="0"/>
                  </a:cxn>
                </a:cxnLst>
                <a:rect l="0" t="0" r="r" b="b"/>
                <a:pathLst>
                  <a:path w="5" h="4">
                    <a:moveTo>
                      <a:pt x="3" y="0"/>
                    </a:moveTo>
                    <a:cubicBezTo>
                      <a:pt x="5" y="1"/>
                      <a:pt x="3" y="4"/>
                      <a:pt x="2" y="4"/>
                    </a:cubicBezTo>
                    <a:cubicBezTo>
                      <a:pt x="0" y="3"/>
                      <a:pt x="2" y="0"/>
                      <a:pt x="3" y="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28" name="Freeform 122"/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auto">
              <a:xfrm>
                <a:off x="4875706" y="3783121"/>
                <a:ext cx="40938" cy="43277"/>
              </a:xfrm>
              <a:custGeom>
                <a:avLst/>
                <a:gdLst/>
                <a:ahLst/>
                <a:cxnLst>
                  <a:cxn ang="0">
                    <a:pos x="3" y="18"/>
                  </a:cxn>
                  <a:cxn ang="0">
                    <a:pos x="6" y="18"/>
                  </a:cxn>
                  <a:cxn ang="0">
                    <a:pos x="11" y="16"/>
                  </a:cxn>
                  <a:cxn ang="0">
                    <a:pos x="12" y="15"/>
                  </a:cxn>
                  <a:cxn ang="0">
                    <a:pos x="17" y="15"/>
                  </a:cxn>
                  <a:cxn ang="0">
                    <a:pos x="18" y="8"/>
                  </a:cxn>
                  <a:cxn ang="0">
                    <a:pos x="15" y="0"/>
                  </a:cxn>
                  <a:cxn ang="0">
                    <a:pos x="12" y="5"/>
                  </a:cxn>
                  <a:cxn ang="0">
                    <a:pos x="9" y="3"/>
                  </a:cxn>
                  <a:cxn ang="0">
                    <a:pos x="5" y="13"/>
                  </a:cxn>
                  <a:cxn ang="0">
                    <a:pos x="3" y="18"/>
                  </a:cxn>
                </a:cxnLst>
                <a:rect l="0" t="0" r="r" b="b"/>
                <a:pathLst>
                  <a:path w="18" h="19">
                    <a:moveTo>
                      <a:pt x="3" y="18"/>
                    </a:moveTo>
                    <a:cubicBezTo>
                      <a:pt x="5" y="15"/>
                      <a:pt x="6" y="16"/>
                      <a:pt x="6" y="18"/>
                    </a:cubicBezTo>
                    <a:cubicBezTo>
                      <a:pt x="6" y="19"/>
                      <a:pt x="11" y="19"/>
                      <a:pt x="11" y="16"/>
                    </a:cubicBezTo>
                    <a:cubicBezTo>
                      <a:pt x="11" y="13"/>
                      <a:pt x="12" y="13"/>
                      <a:pt x="12" y="15"/>
                    </a:cubicBezTo>
                    <a:cubicBezTo>
                      <a:pt x="12" y="15"/>
                      <a:pt x="14" y="13"/>
                      <a:pt x="17" y="15"/>
                    </a:cubicBezTo>
                    <a:cubicBezTo>
                      <a:pt x="18" y="15"/>
                      <a:pt x="18" y="13"/>
                      <a:pt x="18" y="8"/>
                    </a:cubicBezTo>
                    <a:cubicBezTo>
                      <a:pt x="17" y="2"/>
                      <a:pt x="15" y="3"/>
                      <a:pt x="15" y="0"/>
                    </a:cubicBezTo>
                    <a:cubicBezTo>
                      <a:pt x="14" y="2"/>
                      <a:pt x="14" y="3"/>
                      <a:pt x="12" y="5"/>
                    </a:cubicBezTo>
                    <a:cubicBezTo>
                      <a:pt x="9" y="5"/>
                      <a:pt x="12" y="2"/>
                      <a:pt x="9" y="3"/>
                    </a:cubicBezTo>
                    <a:cubicBezTo>
                      <a:pt x="0" y="10"/>
                      <a:pt x="8" y="10"/>
                      <a:pt x="5" y="13"/>
                    </a:cubicBezTo>
                    <a:cubicBezTo>
                      <a:pt x="2" y="15"/>
                      <a:pt x="3" y="15"/>
                      <a:pt x="3" y="18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29" name="Freeform 123"/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4882724" y="3812363"/>
                <a:ext cx="42108" cy="50294"/>
              </a:xfrm>
              <a:custGeom>
                <a:avLst/>
                <a:gdLst/>
                <a:ahLst/>
                <a:cxnLst>
                  <a:cxn ang="0">
                    <a:pos x="14" y="2"/>
                  </a:cxn>
                  <a:cxn ang="0">
                    <a:pos x="12" y="5"/>
                  </a:cxn>
                  <a:cxn ang="0">
                    <a:pos x="14" y="11"/>
                  </a:cxn>
                  <a:cxn ang="0">
                    <a:pos x="5" y="22"/>
                  </a:cxn>
                  <a:cxn ang="0">
                    <a:pos x="2" y="13"/>
                  </a:cxn>
                  <a:cxn ang="0">
                    <a:pos x="0" y="5"/>
                  </a:cxn>
                  <a:cxn ang="0">
                    <a:pos x="3" y="5"/>
                  </a:cxn>
                  <a:cxn ang="0">
                    <a:pos x="8" y="3"/>
                  </a:cxn>
                  <a:cxn ang="0">
                    <a:pos x="9" y="2"/>
                  </a:cxn>
                  <a:cxn ang="0">
                    <a:pos x="14" y="2"/>
                  </a:cxn>
                </a:cxnLst>
                <a:rect l="0" t="0" r="r" b="b"/>
                <a:pathLst>
                  <a:path w="19" h="22">
                    <a:moveTo>
                      <a:pt x="14" y="2"/>
                    </a:moveTo>
                    <a:cubicBezTo>
                      <a:pt x="14" y="3"/>
                      <a:pt x="12" y="3"/>
                      <a:pt x="12" y="5"/>
                    </a:cubicBezTo>
                    <a:cubicBezTo>
                      <a:pt x="12" y="6"/>
                      <a:pt x="19" y="6"/>
                      <a:pt x="14" y="11"/>
                    </a:cubicBezTo>
                    <a:cubicBezTo>
                      <a:pt x="9" y="16"/>
                      <a:pt x="11" y="20"/>
                      <a:pt x="5" y="22"/>
                    </a:cubicBezTo>
                    <a:cubicBezTo>
                      <a:pt x="5" y="17"/>
                      <a:pt x="2" y="17"/>
                      <a:pt x="2" y="13"/>
                    </a:cubicBezTo>
                    <a:cubicBezTo>
                      <a:pt x="3" y="8"/>
                      <a:pt x="2" y="8"/>
                      <a:pt x="0" y="5"/>
                    </a:cubicBezTo>
                    <a:cubicBezTo>
                      <a:pt x="2" y="2"/>
                      <a:pt x="3" y="3"/>
                      <a:pt x="3" y="5"/>
                    </a:cubicBezTo>
                    <a:cubicBezTo>
                      <a:pt x="3" y="6"/>
                      <a:pt x="8" y="6"/>
                      <a:pt x="8" y="3"/>
                    </a:cubicBezTo>
                    <a:cubicBezTo>
                      <a:pt x="8" y="0"/>
                      <a:pt x="9" y="0"/>
                      <a:pt x="9" y="2"/>
                    </a:cubicBezTo>
                    <a:cubicBezTo>
                      <a:pt x="9" y="2"/>
                      <a:pt x="11" y="0"/>
                      <a:pt x="14" y="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30" name="Freeform 124"/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4260466" y="3419364"/>
                <a:ext cx="145038" cy="134509"/>
              </a:xfrm>
              <a:custGeom>
                <a:avLst/>
                <a:gdLst/>
                <a:ahLst/>
                <a:cxnLst>
                  <a:cxn ang="0">
                    <a:pos x="24" y="58"/>
                  </a:cxn>
                  <a:cxn ang="0">
                    <a:pos x="23" y="48"/>
                  </a:cxn>
                  <a:cxn ang="0">
                    <a:pos x="23" y="42"/>
                  </a:cxn>
                  <a:cxn ang="0">
                    <a:pos x="38" y="42"/>
                  </a:cxn>
                  <a:cxn ang="0">
                    <a:pos x="41" y="42"/>
                  </a:cxn>
                  <a:cxn ang="0">
                    <a:pos x="44" y="41"/>
                  </a:cxn>
                  <a:cxn ang="0">
                    <a:pos x="49" y="44"/>
                  </a:cxn>
                  <a:cxn ang="0">
                    <a:pos x="52" y="42"/>
                  </a:cxn>
                  <a:cxn ang="0">
                    <a:pos x="64" y="34"/>
                  </a:cxn>
                  <a:cxn ang="0">
                    <a:pos x="62" y="30"/>
                  </a:cxn>
                  <a:cxn ang="0">
                    <a:pos x="59" y="27"/>
                  </a:cxn>
                  <a:cxn ang="0">
                    <a:pos x="53" y="22"/>
                  </a:cxn>
                  <a:cxn ang="0">
                    <a:pos x="53" y="19"/>
                  </a:cxn>
                  <a:cxn ang="0">
                    <a:pos x="52" y="17"/>
                  </a:cxn>
                  <a:cxn ang="0">
                    <a:pos x="49" y="13"/>
                  </a:cxn>
                  <a:cxn ang="0">
                    <a:pos x="47" y="3"/>
                  </a:cxn>
                  <a:cxn ang="0">
                    <a:pos x="44" y="3"/>
                  </a:cxn>
                  <a:cxn ang="0">
                    <a:pos x="41" y="2"/>
                  </a:cxn>
                  <a:cxn ang="0">
                    <a:pos x="32" y="6"/>
                  </a:cxn>
                  <a:cxn ang="0">
                    <a:pos x="27" y="11"/>
                  </a:cxn>
                  <a:cxn ang="0">
                    <a:pos x="23" y="16"/>
                  </a:cxn>
                  <a:cxn ang="0">
                    <a:pos x="18" y="17"/>
                  </a:cxn>
                  <a:cxn ang="0">
                    <a:pos x="15" y="20"/>
                  </a:cxn>
                  <a:cxn ang="0">
                    <a:pos x="12" y="19"/>
                  </a:cxn>
                  <a:cxn ang="0">
                    <a:pos x="12" y="23"/>
                  </a:cxn>
                  <a:cxn ang="0">
                    <a:pos x="9" y="27"/>
                  </a:cxn>
                  <a:cxn ang="0">
                    <a:pos x="9" y="31"/>
                  </a:cxn>
                  <a:cxn ang="0">
                    <a:pos x="3" y="34"/>
                  </a:cxn>
                  <a:cxn ang="0">
                    <a:pos x="1" y="42"/>
                  </a:cxn>
                  <a:cxn ang="0">
                    <a:pos x="1" y="48"/>
                  </a:cxn>
                  <a:cxn ang="0">
                    <a:pos x="7" y="54"/>
                  </a:cxn>
                  <a:cxn ang="0">
                    <a:pos x="15" y="53"/>
                  </a:cxn>
                  <a:cxn ang="0">
                    <a:pos x="24" y="58"/>
                  </a:cxn>
                </a:cxnLst>
                <a:rect l="0" t="0" r="r" b="b"/>
                <a:pathLst>
                  <a:path w="64" h="59">
                    <a:moveTo>
                      <a:pt x="24" y="58"/>
                    </a:moveTo>
                    <a:cubicBezTo>
                      <a:pt x="23" y="54"/>
                      <a:pt x="23" y="50"/>
                      <a:pt x="23" y="48"/>
                    </a:cubicBezTo>
                    <a:cubicBezTo>
                      <a:pt x="23" y="48"/>
                      <a:pt x="20" y="42"/>
                      <a:pt x="23" y="42"/>
                    </a:cubicBezTo>
                    <a:cubicBezTo>
                      <a:pt x="26" y="42"/>
                      <a:pt x="36" y="42"/>
                      <a:pt x="38" y="42"/>
                    </a:cubicBezTo>
                    <a:cubicBezTo>
                      <a:pt x="39" y="42"/>
                      <a:pt x="39" y="44"/>
                      <a:pt x="41" y="42"/>
                    </a:cubicBezTo>
                    <a:cubicBezTo>
                      <a:pt x="42" y="42"/>
                      <a:pt x="42" y="41"/>
                      <a:pt x="44" y="41"/>
                    </a:cubicBezTo>
                    <a:cubicBezTo>
                      <a:pt x="49" y="42"/>
                      <a:pt x="49" y="44"/>
                      <a:pt x="49" y="44"/>
                    </a:cubicBezTo>
                    <a:cubicBezTo>
                      <a:pt x="50" y="44"/>
                      <a:pt x="52" y="42"/>
                      <a:pt x="52" y="42"/>
                    </a:cubicBezTo>
                    <a:cubicBezTo>
                      <a:pt x="58" y="36"/>
                      <a:pt x="59" y="42"/>
                      <a:pt x="64" y="34"/>
                    </a:cubicBezTo>
                    <a:cubicBezTo>
                      <a:pt x="62" y="31"/>
                      <a:pt x="61" y="30"/>
                      <a:pt x="62" y="30"/>
                    </a:cubicBezTo>
                    <a:cubicBezTo>
                      <a:pt x="64" y="28"/>
                      <a:pt x="61" y="23"/>
                      <a:pt x="59" y="27"/>
                    </a:cubicBezTo>
                    <a:cubicBezTo>
                      <a:pt x="58" y="28"/>
                      <a:pt x="55" y="23"/>
                      <a:pt x="53" y="22"/>
                    </a:cubicBezTo>
                    <a:cubicBezTo>
                      <a:pt x="52" y="22"/>
                      <a:pt x="52" y="19"/>
                      <a:pt x="53" y="19"/>
                    </a:cubicBezTo>
                    <a:cubicBezTo>
                      <a:pt x="55" y="20"/>
                      <a:pt x="55" y="19"/>
                      <a:pt x="52" y="17"/>
                    </a:cubicBezTo>
                    <a:cubicBezTo>
                      <a:pt x="50" y="14"/>
                      <a:pt x="49" y="17"/>
                      <a:pt x="49" y="13"/>
                    </a:cubicBezTo>
                    <a:cubicBezTo>
                      <a:pt x="47" y="6"/>
                      <a:pt x="45" y="9"/>
                      <a:pt x="47" y="3"/>
                    </a:cubicBezTo>
                    <a:cubicBezTo>
                      <a:pt x="45" y="3"/>
                      <a:pt x="45" y="3"/>
                      <a:pt x="44" y="3"/>
                    </a:cubicBezTo>
                    <a:cubicBezTo>
                      <a:pt x="42" y="2"/>
                      <a:pt x="42" y="3"/>
                      <a:pt x="41" y="2"/>
                    </a:cubicBezTo>
                    <a:cubicBezTo>
                      <a:pt x="38" y="0"/>
                      <a:pt x="41" y="3"/>
                      <a:pt x="32" y="6"/>
                    </a:cubicBezTo>
                    <a:cubicBezTo>
                      <a:pt x="27" y="8"/>
                      <a:pt x="30" y="13"/>
                      <a:pt x="27" y="11"/>
                    </a:cubicBezTo>
                    <a:cubicBezTo>
                      <a:pt x="24" y="9"/>
                      <a:pt x="23" y="11"/>
                      <a:pt x="23" y="16"/>
                    </a:cubicBezTo>
                    <a:cubicBezTo>
                      <a:pt x="23" y="19"/>
                      <a:pt x="18" y="14"/>
                      <a:pt x="18" y="17"/>
                    </a:cubicBezTo>
                    <a:cubicBezTo>
                      <a:pt x="18" y="19"/>
                      <a:pt x="18" y="22"/>
                      <a:pt x="15" y="20"/>
                    </a:cubicBezTo>
                    <a:cubicBezTo>
                      <a:pt x="12" y="20"/>
                      <a:pt x="14" y="17"/>
                      <a:pt x="12" y="19"/>
                    </a:cubicBezTo>
                    <a:cubicBezTo>
                      <a:pt x="10" y="20"/>
                      <a:pt x="10" y="22"/>
                      <a:pt x="12" y="23"/>
                    </a:cubicBezTo>
                    <a:cubicBezTo>
                      <a:pt x="14" y="27"/>
                      <a:pt x="9" y="25"/>
                      <a:pt x="9" y="27"/>
                    </a:cubicBezTo>
                    <a:cubicBezTo>
                      <a:pt x="10" y="28"/>
                      <a:pt x="10" y="28"/>
                      <a:pt x="9" y="31"/>
                    </a:cubicBezTo>
                    <a:cubicBezTo>
                      <a:pt x="7" y="34"/>
                      <a:pt x="1" y="33"/>
                      <a:pt x="3" y="34"/>
                    </a:cubicBezTo>
                    <a:cubicBezTo>
                      <a:pt x="3" y="36"/>
                      <a:pt x="3" y="41"/>
                      <a:pt x="1" y="42"/>
                    </a:cubicBezTo>
                    <a:cubicBezTo>
                      <a:pt x="0" y="42"/>
                      <a:pt x="3" y="44"/>
                      <a:pt x="1" y="48"/>
                    </a:cubicBezTo>
                    <a:cubicBezTo>
                      <a:pt x="7" y="50"/>
                      <a:pt x="1" y="50"/>
                      <a:pt x="7" y="54"/>
                    </a:cubicBezTo>
                    <a:cubicBezTo>
                      <a:pt x="14" y="59"/>
                      <a:pt x="9" y="53"/>
                      <a:pt x="15" y="53"/>
                    </a:cubicBezTo>
                    <a:cubicBezTo>
                      <a:pt x="21" y="53"/>
                      <a:pt x="20" y="58"/>
                      <a:pt x="24" y="58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31" name="Freeform 125"/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4373923" y="3481356"/>
                <a:ext cx="63161" cy="140357"/>
              </a:xfrm>
              <a:custGeom>
                <a:avLst/>
                <a:gdLst/>
                <a:ahLst/>
                <a:cxnLst>
                  <a:cxn ang="0">
                    <a:pos x="14" y="7"/>
                  </a:cxn>
                  <a:cxn ang="0">
                    <a:pos x="2" y="15"/>
                  </a:cxn>
                  <a:cxn ang="0">
                    <a:pos x="5" y="25"/>
                  </a:cxn>
                  <a:cxn ang="0">
                    <a:pos x="6" y="32"/>
                  </a:cxn>
                  <a:cxn ang="0">
                    <a:pos x="8" y="54"/>
                  </a:cxn>
                  <a:cxn ang="0">
                    <a:pos x="6" y="56"/>
                  </a:cxn>
                  <a:cxn ang="0">
                    <a:pos x="8" y="62"/>
                  </a:cxn>
                  <a:cxn ang="0">
                    <a:pos x="17" y="62"/>
                  </a:cxn>
                  <a:cxn ang="0">
                    <a:pos x="17" y="40"/>
                  </a:cxn>
                  <a:cxn ang="0">
                    <a:pos x="20" y="32"/>
                  </a:cxn>
                  <a:cxn ang="0">
                    <a:pos x="25" y="22"/>
                  </a:cxn>
                  <a:cxn ang="0">
                    <a:pos x="23" y="9"/>
                  </a:cxn>
                  <a:cxn ang="0">
                    <a:pos x="19" y="3"/>
                  </a:cxn>
                  <a:cxn ang="0">
                    <a:pos x="16" y="3"/>
                  </a:cxn>
                  <a:cxn ang="0">
                    <a:pos x="14" y="7"/>
                  </a:cxn>
                </a:cxnLst>
                <a:rect l="0" t="0" r="r" b="b"/>
                <a:pathLst>
                  <a:path w="28" h="62">
                    <a:moveTo>
                      <a:pt x="14" y="7"/>
                    </a:moveTo>
                    <a:cubicBezTo>
                      <a:pt x="9" y="15"/>
                      <a:pt x="8" y="9"/>
                      <a:pt x="2" y="15"/>
                    </a:cubicBezTo>
                    <a:cubicBezTo>
                      <a:pt x="0" y="22"/>
                      <a:pt x="2" y="23"/>
                      <a:pt x="5" y="25"/>
                    </a:cubicBezTo>
                    <a:cubicBezTo>
                      <a:pt x="8" y="25"/>
                      <a:pt x="5" y="32"/>
                      <a:pt x="6" y="32"/>
                    </a:cubicBezTo>
                    <a:cubicBezTo>
                      <a:pt x="9" y="34"/>
                      <a:pt x="8" y="51"/>
                      <a:pt x="8" y="54"/>
                    </a:cubicBezTo>
                    <a:cubicBezTo>
                      <a:pt x="8" y="56"/>
                      <a:pt x="6" y="54"/>
                      <a:pt x="6" y="56"/>
                    </a:cubicBezTo>
                    <a:cubicBezTo>
                      <a:pt x="8" y="58"/>
                      <a:pt x="9" y="61"/>
                      <a:pt x="8" y="62"/>
                    </a:cubicBezTo>
                    <a:cubicBezTo>
                      <a:pt x="13" y="62"/>
                      <a:pt x="14" y="62"/>
                      <a:pt x="17" y="62"/>
                    </a:cubicBezTo>
                    <a:cubicBezTo>
                      <a:pt x="19" y="53"/>
                      <a:pt x="17" y="48"/>
                      <a:pt x="17" y="40"/>
                    </a:cubicBezTo>
                    <a:cubicBezTo>
                      <a:pt x="17" y="32"/>
                      <a:pt x="19" y="37"/>
                      <a:pt x="20" y="32"/>
                    </a:cubicBezTo>
                    <a:cubicBezTo>
                      <a:pt x="20" y="28"/>
                      <a:pt x="22" y="29"/>
                      <a:pt x="25" y="22"/>
                    </a:cubicBezTo>
                    <a:cubicBezTo>
                      <a:pt x="28" y="14"/>
                      <a:pt x="22" y="14"/>
                      <a:pt x="23" y="9"/>
                    </a:cubicBezTo>
                    <a:cubicBezTo>
                      <a:pt x="22" y="6"/>
                      <a:pt x="22" y="6"/>
                      <a:pt x="19" y="3"/>
                    </a:cubicBezTo>
                    <a:cubicBezTo>
                      <a:pt x="16" y="0"/>
                      <a:pt x="17" y="3"/>
                      <a:pt x="16" y="3"/>
                    </a:cubicBezTo>
                    <a:cubicBezTo>
                      <a:pt x="13" y="3"/>
                      <a:pt x="16" y="4"/>
                      <a:pt x="14" y="7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32" name="Freeform 126"/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4206661" y="3517614"/>
                <a:ext cx="114627" cy="147374"/>
              </a:xfrm>
              <a:custGeom>
                <a:avLst/>
                <a:gdLst/>
                <a:ahLst/>
                <a:cxnLst>
                  <a:cxn ang="0">
                    <a:pos x="48" y="15"/>
                  </a:cxn>
                  <a:cxn ang="0">
                    <a:pos x="48" y="29"/>
                  </a:cxn>
                  <a:cxn ang="0">
                    <a:pos x="44" y="43"/>
                  </a:cxn>
                  <a:cxn ang="0">
                    <a:pos x="45" y="52"/>
                  </a:cxn>
                  <a:cxn ang="0">
                    <a:pos x="47" y="57"/>
                  </a:cxn>
                  <a:cxn ang="0">
                    <a:pos x="44" y="57"/>
                  </a:cxn>
                  <a:cxn ang="0">
                    <a:pos x="39" y="57"/>
                  </a:cxn>
                  <a:cxn ang="0">
                    <a:pos x="35" y="57"/>
                  </a:cxn>
                  <a:cxn ang="0">
                    <a:pos x="21" y="59"/>
                  </a:cxn>
                  <a:cxn ang="0">
                    <a:pos x="9" y="65"/>
                  </a:cxn>
                  <a:cxn ang="0">
                    <a:pos x="10" y="52"/>
                  </a:cxn>
                  <a:cxn ang="0">
                    <a:pos x="7" y="48"/>
                  </a:cxn>
                  <a:cxn ang="0">
                    <a:pos x="1" y="43"/>
                  </a:cxn>
                  <a:cxn ang="0">
                    <a:pos x="1" y="32"/>
                  </a:cxn>
                  <a:cxn ang="0">
                    <a:pos x="6" y="29"/>
                  </a:cxn>
                  <a:cxn ang="0">
                    <a:pos x="3" y="26"/>
                  </a:cxn>
                  <a:cxn ang="0">
                    <a:pos x="9" y="26"/>
                  </a:cxn>
                  <a:cxn ang="0">
                    <a:pos x="7" y="20"/>
                  </a:cxn>
                  <a:cxn ang="0">
                    <a:pos x="4" y="14"/>
                  </a:cxn>
                  <a:cxn ang="0">
                    <a:pos x="6" y="9"/>
                  </a:cxn>
                  <a:cxn ang="0">
                    <a:pos x="15" y="7"/>
                  </a:cxn>
                  <a:cxn ang="0">
                    <a:pos x="20" y="6"/>
                  </a:cxn>
                  <a:cxn ang="0">
                    <a:pos x="26" y="6"/>
                  </a:cxn>
                  <a:cxn ang="0">
                    <a:pos x="32" y="12"/>
                  </a:cxn>
                  <a:cxn ang="0">
                    <a:pos x="39" y="10"/>
                  </a:cxn>
                  <a:cxn ang="0">
                    <a:pos x="48" y="15"/>
                  </a:cxn>
                </a:cxnLst>
                <a:rect l="0" t="0" r="r" b="b"/>
                <a:pathLst>
                  <a:path w="51" h="65">
                    <a:moveTo>
                      <a:pt x="48" y="15"/>
                    </a:moveTo>
                    <a:cubicBezTo>
                      <a:pt x="47" y="18"/>
                      <a:pt x="51" y="29"/>
                      <a:pt x="48" y="29"/>
                    </a:cubicBezTo>
                    <a:cubicBezTo>
                      <a:pt x="47" y="31"/>
                      <a:pt x="45" y="37"/>
                      <a:pt x="44" y="43"/>
                    </a:cubicBezTo>
                    <a:cubicBezTo>
                      <a:pt x="42" y="45"/>
                      <a:pt x="45" y="51"/>
                      <a:pt x="45" y="52"/>
                    </a:cubicBezTo>
                    <a:cubicBezTo>
                      <a:pt x="47" y="54"/>
                      <a:pt x="48" y="59"/>
                      <a:pt x="47" y="57"/>
                    </a:cubicBezTo>
                    <a:cubicBezTo>
                      <a:pt x="47" y="57"/>
                      <a:pt x="47" y="57"/>
                      <a:pt x="44" y="57"/>
                    </a:cubicBezTo>
                    <a:cubicBezTo>
                      <a:pt x="42" y="57"/>
                      <a:pt x="44" y="59"/>
                      <a:pt x="39" y="57"/>
                    </a:cubicBezTo>
                    <a:cubicBezTo>
                      <a:pt x="35" y="57"/>
                      <a:pt x="38" y="57"/>
                      <a:pt x="35" y="57"/>
                    </a:cubicBezTo>
                    <a:cubicBezTo>
                      <a:pt x="30" y="59"/>
                      <a:pt x="30" y="57"/>
                      <a:pt x="21" y="59"/>
                    </a:cubicBezTo>
                    <a:cubicBezTo>
                      <a:pt x="12" y="62"/>
                      <a:pt x="12" y="65"/>
                      <a:pt x="9" y="65"/>
                    </a:cubicBezTo>
                    <a:cubicBezTo>
                      <a:pt x="9" y="60"/>
                      <a:pt x="10" y="57"/>
                      <a:pt x="10" y="52"/>
                    </a:cubicBezTo>
                    <a:cubicBezTo>
                      <a:pt x="10" y="49"/>
                      <a:pt x="7" y="51"/>
                      <a:pt x="7" y="48"/>
                    </a:cubicBezTo>
                    <a:cubicBezTo>
                      <a:pt x="7" y="45"/>
                      <a:pt x="0" y="46"/>
                      <a:pt x="1" y="43"/>
                    </a:cubicBezTo>
                    <a:cubicBezTo>
                      <a:pt x="3" y="40"/>
                      <a:pt x="4" y="38"/>
                      <a:pt x="1" y="32"/>
                    </a:cubicBezTo>
                    <a:cubicBezTo>
                      <a:pt x="4" y="35"/>
                      <a:pt x="6" y="32"/>
                      <a:pt x="6" y="29"/>
                    </a:cubicBezTo>
                    <a:cubicBezTo>
                      <a:pt x="6" y="26"/>
                      <a:pt x="4" y="29"/>
                      <a:pt x="3" y="26"/>
                    </a:cubicBezTo>
                    <a:cubicBezTo>
                      <a:pt x="3" y="24"/>
                      <a:pt x="4" y="24"/>
                      <a:pt x="9" y="26"/>
                    </a:cubicBezTo>
                    <a:cubicBezTo>
                      <a:pt x="9" y="21"/>
                      <a:pt x="4" y="23"/>
                      <a:pt x="7" y="20"/>
                    </a:cubicBezTo>
                    <a:cubicBezTo>
                      <a:pt x="9" y="17"/>
                      <a:pt x="4" y="17"/>
                      <a:pt x="4" y="14"/>
                    </a:cubicBezTo>
                    <a:cubicBezTo>
                      <a:pt x="6" y="10"/>
                      <a:pt x="3" y="10"/>
                      <a:pt x="6" y="9"/>
                    </a:cubicBezTo>
                    <a:cubicBezTo>
                      <a:pt x="12" y="1"/>
                      <a:pt x="10" y="12"/>
                      <a:pt x="15" y="7"/>
                    </a:cubicBezTo>
                    <a:cubicBezTo>
                      <a:pt x="18" y="3"/>
                      <a:pt x="20" y="0"/>
                      <a:pt x="20" y="6"/>
                    </a:cubicBezTo>
                    <a:cubicBezTo>
                      <a:pt x="20" y="10"/>
                      <a:pt x="23" y="6"/>
                      <a:pt x="26" y="6"/>
                    </a:cubicBezTo>
                    <a:cubicBezTo>
                      <a:pt x="32" y="7"/>
                      <a:pt x="26" y="7"/>
                      <a:pt x="32" y="12"/>
                    </a:cubicBezTo>
                    <a:cubicBezTo>
                      <a:pt x="38" y="17"/>
                      <a:pt x="33" y="10"/>
                      <a:pt x="39" y="10"/>
                    </a:cubicBezTo>
                    <a:cubicBezTo>
                      <a:pt x="45" y="10"/>
                      <a:pt x="44" y="15"/>
                      <a:pt x="48" y="15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33" name="Freeform 127"/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4301404" y="3512936"/>
                <a:ext cx="84215" cy="14737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9" y="14"/>
                  </a:cxn>
                  <a:cxn ang="0">
                    <a:pos x="31" y="22"/>
                  </a:cxn>
                  <a:cxn ang="0">
                    <a:pos x="31" y="33"/>
                  </a:cxn>
                  <a:cxn ang="0">
                    <a:pos x="32" y="40"/>
                  </a:cxn>
                  <a:cxn ang="0">
                    <a:pos x="37" y="50"/>
                  </a:cxn>
                  <a:cxn ang="0">
                    <a:pos x="32" y="53"/>
                  </a:cxn>
                  <a:cxn ang="0">
                    <a:pos x="18" y="59"/>
                  </a:cxn>
                  <a:cxn ang="0">
                    <a:pos x="9" y="64"/>
                  </a:cxn>
                  <a:cxn ang="0">
                    <a:pos x="1" y="61"/>
                  </a:cxn>
                  <a:cxn ang="0">
                    <a:pos x="4" y="59"/>
                  </a:cxn>
                  <a:cxn ang="0">
                    <a:pos x="3" y="54"/>
                  </a:cxn>
                  <a:cxn ang="0">
                    <a:pos x="1" y="45"/>
                  </a:cxn>
                  <a:cxn ang="0">
                    <a:pos x="6" y="31"/>
                  </a:cxn>
                  <a:cxn ang="0">
                    <a:pos x="6" y="17"/>
                  </a:cxn>
                  <a:cxn ang="0">
                    <a:pos x="4" y="8"/>
                  </a:cxn>
                  <a:cxn ang="0">
                    <a:pos x="4" y="2"/>
                  </a:cxn>
                  <a:cxn ang="0">
                    <a:pos x="20" y="2"/>
                  </a:cxn>
                  <a:cxn ang="0">
                    <a:pos x="23" y="2"/>
                  </a:cxn>
                  <a:cxn ang="0">
                    <a:pos x="26" y="0"/>
                  </a:cxn>
                </a:cxnLst>
                <a:rect l="0" t="0" r="r" b="b"/>
                <a:pathLst>
                  <a:path w="37" h="65">
                    <a:moveTo>
                      <a:pt x="26" y="0"/>
                    </a:moveTo>
                    <a:cubicBezTo>
                      <a:pt x="26" y="9"/>
                      <a:pt x="31" y="6"/>
                      <a:pt x="29" y="14"/>
                    </a:cubicBezTo>
                    <a:cubicBezTo>
                      <a:pt x="28" y="22"/>
                      <a:pt x="32" y="14"/>
                      <a:pt x="31" y="22"/>
                    </a:cubicBezTo>
                    <a:cubicBezTo>
                      <a:pt x="29" y="28"/>
                      <a:pt x="34" y="23"/>
                      <a:pt x="31" y="33"/>
                    </a:cubicBezTo>
                    <a:cubicBezTo>
                      <a:pt x="29" y="42"/>
                      <a:pt x="32" y="34"/>
                      <a:pt x="32" y="40"/>
                    </a:cubicBezTo>
                    <a:cubicBezTo>
                      <a:pt x="31" y="45"/>
                      <a:pt x="34" y="47"/>
                      <a:pt x="37" y="50"/>
                    </a:cubicBezTo>
                    <a:cubicBezTo>
                      <a:pt x="34" y="51"/>
                      <a:pt x="37" y="53"/>
                      <a:pt x="32" y="53"/>
                    </a:cubicBezTo>
                    <a:cubicBezTo>
                      <a:pt x="23" y="54"/>
                      <a:pt x="24" y="59"/>
                      <a:pt x="18" y="59"/>
                    </a:cubicBezTo>
                    <a:cubicBezTo>
                      <a:pt x="14" y="61"/>
                      <a:pt x="12" y="65"/>
                      <a:pt x="9" y="64"/>
                    </a:cubicBezTo>
                    <a:cubicBezTo>
                      <a:pt x="8" y="61"/>
                      <a:pt x="3" y="61"/>
                      <a:pt x="1" y="61"/>
                    </a:cubicBezTo>
                    <a:cubicBezTo>
                      <a:pt x="0" y="61"/>
                      <a:pt x="3" y="61"/>
                      <a:pt x="4" y="59"/>
                    </a:cubicBezTo>
                    <a:cubicBezTo>
                      <a:pt x="6" y="61"/>
                      <a:pt x="4" y="56"/>
                      <a:pt x="3" y="54"/>
                    </a:cubicBezTo>
                    <a:cubicBezTo>
                      <a:pt x="3" y="53"/>
                      <a:pt x="0" y="47"/>
                      <a:pt x="1" y="45"/>
                    </a:cubicBezTo>
                    <a:cubicBezTo>
                      <a:pt x="3" y="39"/>
                      <a:pt x="4" y="33"/>
                      <a:pt x="6" y="31"/>
                    </a:cubicBezTo>
                    <a:cubicBezTo>
                      <a:pt x="9" y="31"/>
                      <a:pt x="4" y="20"/>
                      <a:pt x="6" y="17"/>
                    </a:cubicBezTo>
                    <a:cubicBezTo>
                      <a:pt x="4" y="14"/>
                      <a:pt x="4" y="9"/>
                      <a:pt x="4" y="8"/>
                    </a:cubicBezTo>
                    <a:cubicBezTo>
                      <a:pt x="4" y="8"/>
                      <a:pt x="1" y="2"/>
                      <a:pt x="4" y="2"/>
                    </a:cubicBezTo>
                    <a:cubicBezTo>
                      <a:pt x="8" y="2"/>
                      <a:pt x="18" y="2"/>
                      <a:pt x="20" y="2"/>
                    </a:cubicBezTo>
                    <a:cubicBezTo>
                      <a:pt x="21" y="2"/>
                      <a:pt x="21" y="3"/>
                      <a:pt x="23" y="2"/>
                    </a:cubicBezTo>
                    <a:cubicBezTo>
                      <a:pt x="24" y="2"/>
                      <a:pt x="24" y="0"/>
                      <a:pt x="26" y="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34" name="Freeform 128"/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4359887" y="3512936"/>
                <a:ext cx="35089" cy="11345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3"/>
                  </a:cxn>
                  <a:cxn ang="0">
                    <a:pos x="8" y="2"/>
                  </a:cxn>
                  <a:cxn ang="0">
                    <a:pos x="11" y="11"/>
                  </a:cxn>
                  <a:cxn ang="0">
                    <a:pos x="12" y="19"/>
                  </a:cxn>
                  <a:cxn ang="0">
                    <a:pos x="14" y="40"/>
                  </a:cxn>
                  <a:cxn ang="0">
                    <a:pos x="12" y="42"/>
                  </a:cxn>
                  <a:cxn ang="0">
                    <a:pos x="14" y="48"/>
                  </a:cxn>
                  <a:cxn ang="0">
                    <a:pos x="11" y="50"/>
                  </a:cxn>
                  <a:cxn ang="0">
                    <a:pos x="6" y="40"/>
                  </a:cxn>
                  <a:cxn ang="0">
                    <a:pos x="4" y="33"/>
                  </a:cxn>
                  <a:cxn ang="0">
                    <a:pos x="4" y="22"/>
                  </a:cxn>
                  <a:cxn ang="0">
                    <a:pos x="3" y="14"/>
                  </a:cxn>
                  <a:cxn ang="0">
                    <a:pos x="0" y="0"/>
                  </a:cxn>
                </a:cxnLst>
                <a:rect l="0" t="0" r="r" b="b"/>
                <a:pathLst>
                  <a:path w="15" h="50">
                    <a:moveTo>
                      <a:pt x="0" y="0"/>
                    </a:moveTo>
                    <a:cubicBezTo>
                      <a:pt x="4" y="2"/>
                      <a:pt x="4" y="3"/>
                      <a:pt x="4" y="3"/>
                    </a:cubicBezTo>
                    <a:cubicBezTo>
                      <a:pt x="6" y="3"/>
                      <a:pt x="8" y="2"/>
                      <a:pt x="8" y="2"/>
                    </a:cubicBezTo>
                    <a:cubicBezTo>
                      <a:pt x="6" y="8"/>
                      <a:pt x="8" y="9"/>
                      <a:pt x="11" y="11"/>
                    </a:cubicBezTo>
                    <a:cubicBezTo>
                      <a:pt x="14" y="11"/>
                      <a:pt x="11" y="19"/>
                      <a:pt x="12" y="19"/>
                    </a:cubicBezTo>
                    <a:cubicBezTo>
                      <a:pt x="15" y="20"/>
                      <a:pt x="14" y="37"/>
                      <a:pt x="14" y="40"/>
                    </a:cubicBezTo>
                    <a:cubicBezTo>
                      <a:pt x="14" y="42"/>
                      <a:pt x="12" y="40"/>
                      <a:pt x="12" y="42"/>
                    </a:cubicBezTo>
                    <a:cubicBezTo>
                      <a:pt x="14" y="44"/>
                      <a:pt x="15" y="47"/>
                      <a:pt x="14" y="48"/>
                    </a:cubicBezTo>
                    <a:cubicBezTo>
                      <a:pt x="12" y="50"/>
                      <a:pt x="11" y="50"/>
                      <a:pt x="11" y="50"/>
                    </a:cubicBezTo>
                    <a:cubicBezTo>
                      <a:pt x="8" y="47"/>
                      <a:pt x="4" y="45"/>
                      <a:pt x="6" y="40"/>
                    </a:cubicBezTo>
                    <a:cubicBezTo>
                      <a:pt x="6" y="34"/>
                      <a:pt x="3" y="42"/>
                      <a:pt x="4" y="33"/>
                    </a:cubicBezTo>
                    <a:cubicBezTo>
                      <a:pt x="8" y="23"/>
                      <a:pt x="3" y="28"/>
                      <a:pt x="4" y="22"/>
                    </a:cubicBezTo>
                    <a:cubicBezTo>
                      <a:pt x="6" y="14"/>
                      <a:pt x="1" y="22"/>
                      <a:pt x="3" y="14"/>
                    </a:cubicBezTo>
                    <a:cubicBezTo>
                      <a:pt x="4" y="6"/>
                      <a:pt x="0" y="9"/>
                      <a:pt x="0" y="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35" name="Freeform 129"/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4124785" y="2938644"/>
                <a:ext cx="222235" cy="197668"/>
              </a:xfrm>
              <a:custGeom>
                <a:avLst/>
                <a:gdLst/>
                <a:ahLst/>
                <a:cxnLst>
                  <a:cxn ang="0">
                    <a:pos x="35" y="87"/>
                  </a:cxn>
                  <a:cxn ang="0">
                    <a:pos x="0" y="87"/>
                  </a:cxn>
                  <a:cxn ang="0">
                    <a:pos x="16" y="79"/>
                  </a:cxn>
                  <a:cxn ang="0">
                    <a:pos x="26" y="65"/>
                  </a:cxn>
                  <a:cxn ang="0">
                    <a:pos x="29" y="43"/>
                  </a:cxn>
                  <a:cxn ang="0">
                    <a:pos x="32" y="34"/>
                  </a:cxn>
                  <a:cxn ang="0">
                    <a:pos x="45" y="24"/>
                  </a:cxn>
                  <a:cxn ang="0">
                    <a:pos x="60" y="1"/>
                  </a:cxn>
                  <a:cxn ang="0">
                    <a:pos x="66" y="7"/>
                  </a:cxn>
                  <a:cxn ang="0">
                    <a:pos x="76" y="7"/>
                  </a:cxn>
                  <a:cxn ang="0">
                    <a:pos x="81" y="6"/>
                  </a:cxn>
                  <a:cxn ang="0">
                    <a:pos x="87" y="9"/>
                  </a:cxn>
                  <a:cxn ang="0">
                    <a:pos x="95" y="35"/>
                  </a:cxn>
                  <a:cxn ang="0">
                    <a:pos x="95" y="40"/>
                  </a:cxn>
                  <a:cxn ang="0">
                    <a:pos x="81" y="43"/>
                  </a:cxn>
                  <a:cxn ang="0">
                    <a:pos x="73" y="48"/>
                  </a:cxn>
                  <a:cxn ang="0">
                    <a:pos x="72" y="55"/>
                  </a:cxn>
                  <a:cxn ang="0">
                    <a:pos x="63" y="62"/>
                  </a:cxn>
                  <a:cxn ang="0">
                    <a:pos x="43" y="71"/>
                  </a:cxn>
                  <a:cxn ang="0">
                    <a:pos x="35" y="76"/>
                  </a:cxn>
                  <a:cxn ang="0">
                    <a:pos x="35" y="87"/>
                  </a:cxn>
                </a:cxnLst>
                <a:rect l="0" t="0" r="r" b="b"/>
                <a:pathLst>
                  <a:path w="98" h="87">
                    <a:moveTo>
                      <a:pt x="35" y="87"/>
                    </a:moveTo>
                    <a:cubicBezTo>
                      <a:pt x="0" y="87"/>
                      <a:pt x="0" y="87"/>
                      <a:pt x="0" y="87"/>
                    </a:cubicBezTo>
                    <a:cubicBezTo>
                      <a:pt x="2" y="80"/>
                      <a:pt x="10" y="85"/>
                      <a:pt x="16" y="79"/>
                    </a:cubicBezTo>
                    <a:cubicBezTo>
                      <a:pt x="20" y="71"/>
                      <a:pt x="20" y="79"/>
                      <a:pt x="26" y="65"/>
                    </a:cubicBezTo>
                    <a:cubicBezTo>
                      <a:pt x="29" y="59"/>
                      <a:pt x="23" y="51"/>
                      <a:pt x="29" y="43"/>
                    </a:cubicBezTo>
                    <a:cubicBezTo>
                      <a:pt x="34" y="37"/>
                      <a:pt x="28" y="38"/>
                      <a:pt x="32" y="34"/>
                    </a:cubicBezTo>
                    <a:cubicBezTo>
                      <a:pt x="37" y="29"/>
                      <a:pt x="32" y="29"/>
                      <a:pt x="45" y="24"/>
                    </a:cubicBezTo>
                    <a:cubicBezTo>
                      <a:pt x="57" y="20"/>
                      <a:pt x="54" y="3"/>
                      <a:pt x="60" y="1"/>
                    </a:cubicBezTo>
                    <a:cubicBezTo>
                      <a:pt x="64" y="0"/>
                      <a:pt x="60" y="4"/>
                      <a:pt x="66" y="7"/>
                    </a:cubicBezTo>
                    <a:cubicBezTo>
                      <a:pt x="72" y="10"/>
                      <a:pt x="73" y="6"/>
                      <a:pt x="76" y="7"/>
                    </a:cubicBezTo>
                    <a:cubicBezTo>
                      <a:pt x="80" y="9"/>
                      <a:pt x="81" y="3"/>
                      <a:pt x="81" y="6"/>
                    </a:cubicBezTo>
                    <a:cubicBezTo>
                      <a:pt x="81" y="10"/>
                      <a:pt x="86" y="9"/>
                      <a:pt x="87" y="9"/>
                    </a:cubicBezTo>
                    <a:cubicBezTo>
                      <a:pt x="93" y="12"/>
                      <a:pt x="89" y="32"/>
                      <a:pt x="95" y="35"/>
                    </a:cubicBezTo>
                    <a:cubicBezTo>
                      <a:pt x="98" y="37"/>
                      <a:pt x="95" y="37"/>
                      <a:pt x="95" y="40"/>
                    </a:cubicBezTo>
                    <a:cubicBezTo>
                      <a:pt x="95" y="43"/>
                      <a:pt x="84" y="38"/>
                      <a:pt x="81" y="43"/>
                    </a:cubicBezTo>
                    <a:cubicBezTo>
                      <a:pt x="78" y="46"/>
                      <a:pt x="72" y="43"/>
                      <a:pt x="73" y="48"/>
                    </a:cubicBezTo>
                    <a:cubicBezTo>
                      <a:pt x="76" y="52"/>
                      <a:pt x="78" y="52"/>
                      <a:pt x="72" y="55"/>
                    </a:cubicBezTo>
                    <a:cubicBezTo>
                      <a:pt x="66" y="57"/>
                      <a:pt x="66" y="57"/>
                      <a:pt x="63" y="62"/>
                    </a:cubicBezTo>
                    <a:cubicBezTo>
                      <a:pt x="63" y="63"/>
                      <a:pt x="45" y="68"/>
                      <a:pt x="43" y="71"/>
                    </a:cubicBezTo>
                    <a:cubicBezTo>
                      <a:pt x="35" y="76"/>
                      <a:pt x="35" y="76"/>
                      <a:pt x="35" y="76"/>
                    </a:cubicBezTo>
                    <a:cubicBezTo>
                      <a:pt x="35" y="87"/>
                      <a:pt x="35" y="87"/>
                      <a:pt x="35" y="87"/>
                    </a:cubicBezTo>
                    <a:close/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36" name="Freeform 130"/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4052266" y="3136312"/>
                <a:ext cx="154395" cy="161410"/>
              </a:xfrm>
              <a:custGeom>
                <a:avLst/>
                <a:gdLst/>
                <a:ahLst/>
                <a:cxnLst>
                  <a:cxn ang="0">
                    <a:pos x="68" y="4"/>
                  </a:cxn>
                  <a:cxn ang="0">
                    <a:pos x="68" y="18"/>
                  </a:cxn>
                  <a:cxn ang="0">
                    <a:pos x="42" y="18"/>
                  </a:cxn>
                  <a:cxn ang="0">
                    <a:pos x="42" y="43"/>
                  </a:cxn>
                  <a:cxn ang="0">
                    <a:pos x="34" y="65"/>
                  </a:cxn>
                  <a:cxn ang="0">
                    <a:pos x="3" y="65"/>
                  </a:cxn>
                  <a:cxn ang="0">
                    <a:pos x="2" y="71"/>
                  </a:cxn>
                  <a:cxn ang="0">
                    <a:pos x="2" y="60"/>
                  </a:cxn>
                  <a:cxn ang="0">
                    <a:pos x="8" y="51"/>
                  </a:cxn>
                  <a:cxn ang="0">
                    <a:pos x="11" y="42"/>
                  </a:cxn>
                  <a:cxn ang="0">
                    <a:pos x="13" y="37"/>
                  </a:cxn>
                  <a:cxn ang="0">
                    <a:pos x="19" y="26"/>
                  </a:cxn>
                  <a:cxn ang="0">
                    <a:pos x="22" y="18"/>
                  </a:cxn>
                  <a:cxn ang="0">
                    <a:pos x="33" y="0"/>
                  </a:cxn>
                  <a:cxn ang="0">
                    <a:pos x="68" y="0"/>
                  </a:cxn>
                  <a:cxn ang="0">
                    <a:pos x="68" y="4"/>
                  </a:cxn>
                </a:cxnLst>
                <a:rect l="0" t="0" r="r" b="b"/>
                <a:pathLst>
                  <a:path w="68" h="71">
                    <a:moveTo>
                      <a:pt x="68" y="4"/>
                    </a:moveTo>
                    <a:cubicBezTo>
                      <a:pt x="68" y="18"/>
                      <a:pt x="68" y="18"/>
                      <a:pt x="68" y="18"/>
                    </a:cubicBezTo>
                    <a:cubicBezTo>
                      <a:pt x="42" y="18"/>
                      <a:pt x="42" y="18"/>
                      <a:pt x="42" y="18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33" y="48"/>
                      <a:pt x="31" y="46"/>
                      <a:pt x="34" y="65"/>
                    </a:cubicBezTo>
                    <a:cubicBezTo>
                      <a:pt x="34" y="65"/>
                      <a:pt x="5" y="65"/>
                      <a:pt x="3" y="65"/>
                    </a:cubicBezTo>
                    <a:cubicBezTo>
                      <a:pt x="2" y="65"/>
                      <a:pt x="0" y="68"/>
                      <a:pt x="2" y="71"/>
                    </a:cubicBezTo>
                    <a:cubicBezTo>
                      <a:pt x="0" y="71"/>
                      <a:pt x="0" y="68"/>
                      <a:pt x="2" y="60"/>
                    </a:cubicBezTo>
                    <a:cubicBezTo>
                      <a:pt x="3" y="54"/>
                      <a:pt x="7" y="57"/>
                      <a:pt x="8" y="51"/>
                    </a:cubicBezTo>
                    <a:cubicBezTo>
                      <a:pt x="8" y="45"/>
                      <a:pt x="13" y="42"/>
                      <a:pt x="11" y="42"/>
                    </a:cubicBezTo>
                    <a:cubicBezTo>
                      <a:pt x="10" y="42"/>
                      <a:pt x="8" y="42"/>
                      <a:pt x="13" y="37"/>
                    </a:cubicBezTo>
                    <a:cubicBezTo>
                      <a:pt x="17" y="32"/>
                      <a:pt x="19" y="34"/>
                      <a:pt x="19" y="26"/>
                    </a:cubicBezTo>
                    <a:cubicBezTo>
                      <a:pt x="20" y="18"/>
                      <a:pt x="20" y="23"/>
                      <a:pt x="22" y="18"/>
                    </a:cubicBezTo>
                    <a:cubicBezTo>
                      <a:pt x="23" y="9"/>
                      <a:pt x="26" y="18"/>
                      <a:pt x="33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68" y="4"/>
                      <a:pt x="68" y="4"/>
                      <a:pt x="68" y="4"/>
                    </a:cubicBezTo>
                    <a:close/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37" name="Freeform 131"/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4072151" y="3124616"/>
                <a:ext cx="14036" cy="11696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3" y="0"/>
                  </a:cxn>
                  <a:cxn ang="0">
                    <a:pos x="3" y="5"/>
                  </a:cxn>
                </a:cxnLst>
                <a:rect l="0" t="0" r="r" b="b"/>
                <a:pathLst>
                  <a:path w="6" h="5">
                    <a:moveTo>
                      <a:pt x="3" y="5"/>
                    </a:moveTo>
                    <a:cubicBezTo>
                      <a:pt x="0" y="5"/>
                      <a:pt x="2" y="0"/>
                      <a:pt x="3" y="0"/>
                    </a:cubicBezTo>
                    <a:cubicBezTo>
                      <a:pt x="6" y="2"/>
                      <a:pt x="5" y="5"/>
                      <a:pt x="3" y="5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38" name="Freeform 132"/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4096713" y="3111750"/>
                <a:ext cx="18714" cy="17544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2" y="6"/>
                  </a:cxn>
                  <a:cxn ang="0">
                    <a:pos x="6" y="0"/>
                  </a:cxn>
                  <a:cxn ang="0">
                    <a:pos x="5" y="6"/>
                  </a:cxn>
                </a:cxnLst>
                <a:rect l="0" t="0" r="r" b="b"/>
                <a:pathLst>
                  <a:path w="8" h="8">
                    <a:moveTo>
                      <a:pt x="5" y="6"/>
                    </a:moveTo>
                    <a:cubicBezTo>
                      <a:pt x="0" y="8"/>
                      <a:pt x="0" y="8"/>
                      <a:pt x="2" y="6"/>
                    </a:cubicBezTo>
                    <a:cubicBezTo>
                      <a:pt x="5" y="4"/>
                      <a:pt x="5" y="0"/>
                      <a:pt x="6" y="0"/>
                    </a:cubicBezTo>
                    <a:cubicBezTo>
                      <a:pt x="8" y="1"/>
                      <a:pt x="6" y="6"/>
                      <a:pt x="5" y="6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39" name="Freeform 133"/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4110750" y="3100053"/>
                <a:ext cx="7018" cy="11696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3" y="0"/>
                  </a:cxn>
                  <a:cxn ang="0">
                    <a:pos x="2" y="3"/>
                  </a:cxn>
                  <a:cxn ang="0">
                    <a:pos x="0" y="3"/>
                  </a:cxn>
                </a:cxnLst>
                <a:rect l="0" t="0" r="r" b="b"/>
                <a:pathLst>
                  <a:path w="3" h="5">
                    <a:moveTo>
                      <a:pt x="0" y="3"/>
                    </a:moveTo>
                    <a:cubicBezTo>
                      <a:pt x="0" y="0"/>
                      <a:pt x="2" y="1"/>
                      <a:pt x="3" y="0"/>
                    </a:cubicBezTo>
                    <a:cubicBezTo>
                      <a:pt x="3" y="0"/>
                      <a:pt x="3" y="1"/>
                      <a:pt x="2" y="3"/>
                    </a:cubicBezTo>
                    <a:cubicBezTo>
                      <a:pt x="2" y="3"/>
                      <a:pt x="0" y="5"/>
                      <a:pt x="0" y="3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40" name="Freeform 134"/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4052266" y="3114089"/>
                <a:ext cx="17545" cy="17544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2" y="3"/>
                  </a:cxn>
                  <a:cxn ang="0">
                    <a:pos x="8" y="0"/>
                  </a:cxn>
                  <a:cxn ang="0">
                    <a:pos x="6" y="5"/>
                  </a:cxn>
                  <a:cxn ang="0">
                    <a:pos x="3" y="6"/>
                  </a:cxn>
                </a:cxnLst>
                <a:rect l="0" t="0" r="r" b="b"/>
                <a:pathLst>
                  <a:path w="8" h="8">
                    <a:moveTo>
                      <a:pt x="3" y="6"/>
                    </a:moveTo>
                    <a:cubicBezTo>
                      <a:pt x="2" y="3"/>
                      <a:pt x="0" y="3"/>
                      <a:pt x="2" y="3"/>
                    </a:cubicBezTo>
                    <a:cubicBezTo>
                      <a:pt x="5" y="2"/>
                      <a:pt x="8" y="0"/>
                      <a:pt x="8" y="0"/>
                    </a:cubicBezTo>
                    <a:cubicBezTo>
                      <a:pt x="8" y="2"/>
                      <a:pt x="6" y="2"/>
                      <a:pt x="6" y="5"/>
                    </a:cubicBezTo>
                    <a:cubicBezTo>
                      <a:pt x="5" y="6"/>
                      <a:pt x="3" y="8"/>
                      <a:pt x="3" y="6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41" name="Freeform 135"/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4035891" y="3107071"/>
                <a:ext cx="7018" cy="12866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1" y="5"/>
                  </a:cxn>
                  <a:cxn ang="0">
                    <a:pos x="1" y="2"/>
                  </a:cxn>
                </a:cxnLst>
                <a:rect l="0" t="0" r="r" b="b"/>
                <a:pathLst>
                  <a:path w="3" h="6">
                    <a:moveTo>
                      <a:pt x="1" y="2"/>
                    </a:moveTo>
                    <a:cubicBezTo>
                      <a:pt x="1" y="0"/>
                      <a:pt x="3" y="3"/>
                      <a:pt x="1" y="5"/>
                    </a:cubicBezTo>
                    <a:cubicBezTo>
                      <a:pt x="1" y="6"/>
                      <a:pt x="0" y="2"/>
                      <a:pt x="1" y="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42" name="Freeform 136"/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4045249" y="3124616"/>
                <a:ext cx="7018" cy="4679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2">
                    <a:moveTo>
                      <a:pt x="2" y="0"/>
                    </a:moveTo>
                    <a:cubicBezTo>
                      <a:pt x="3" y="0"/>
                      <a:pt x="3" y="2"/>
                      <a:pt x="3" y="2"/>
                    </a:cubicBezTo>
                    <a:cubicBezTo>
                      <a:pt x="2" y="2"/>
                      <a:pt x="0" y="0"/>
                      <a:pt x="2" y="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43" name="Freeform 137"/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4031213" y="3131633"/>
                <a:ext cx="7018" cy="701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3" y="0"/>
                      <a:pt x="3" y="0"/>
                      <a:pt x="3" y="2"/>
                    </a:cubicBezTo>
                    <a:cubicBezTo>
                      <a:pt x="2" y="3"/>
                      <a:pt x="0" y="2"/>
                      <a:pt x="2" y="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44" name="Freeform 138"/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4156366" y="3571417"/>
                <a:ext cx="72519" cy="95911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16" y="3"/>
                  </a:cxn>
                  <a:cxn ang="0">
                    <a:pos x="16" y="10"/>
                  </a:cxn>
                  <a:cxn ang="0">
                    <a:pos x="19" y="13"/>
                  </a:cxn>
                  <a:cxn ang="0">
                    <a:pos x="23" y="8"/>
                  </a:cxn>
                  <a:cxn ang="0">
                    <a:pos x="23" y="19"/>
                  </a:cxn>
                  <a:cxn ang="0">
                    <a:pos x="29" y="24"/>
                  </a:cxn>
                  <a:cxn ang="0">
                    <a:pos x="32" y="28"/>
                  </a:cxn>
                  <a:cxn ang="0">
                    <a:pos x="31" y="41"/>
                  </a:cxn>
                  <a:cxn ang="0">
                    <a:pos x="26" y="39"/>
                  </a:cxn>
                  <a:cxn ang="0">
                    <a:pos x="13" y="28"/>
                  </a:cxn>
                  <a:cxn ang="0">
                    <a:pos x="5" y="22"/>
                  </a:cxn>
                  <a:cxn ang="0">
                    <a:pos x="0" y="16"/>
                  </a:cxn>
                  <a:cxn ang="0">
                    <a:pos x="6" y="6"/>
                  </a:cxn>
                  <a:cxn ang="0">
                    <a:pos x="9" y="0"/>
                  </a:cxn>
                </a:cxnLst>
                <a:rect l="0" t="0" r="r" b="b"/>
                <a:pathLst>
                  <a:path w="32" h="42">
                    <a:moveTo>
                      <a:pt x="9" y="0"/>
                    </a:moveTo>
                    <a:cubicBezTo>
                      <a:pt x="11" y="0"/>
                      <a:pt x="17" y="0"/>
                      <a:pt x="16" y="3"/>
                    </a:cubicBezTo>
                    <a:cubicBezTo>
                      <a:pt x="16" y="5"/>
                      <a:pt x="17" y="6"/>
                      <a:pt x="16" y="10"/>
                    </a:cubicBezTo>
                    <a:cubicBezTo>
                      <a:pt x="16" y="13"/>
                      <a:pt x="17" y="10"/>
                      <a:pt x="19" y="13"/>
                    </a:cubicBezTo>
                    <a:cubicBezTo>
                      <a:pt x="20" y="16"/>
                      <a:pt x="22" y="6"/>
                      <a:pt x="23" y="8"/>
                    </a:cubicBezTo>
                    <a:cubicBezTo>
                      <a:pt x="26" y="14"/>
                      <a:pt x="25" y="16"/>
                      <a:pt x="23" y="19"/>
                    </a:cubicBezTo>
                    <a:cubicBezTo>
                      <a:pt x="22" y="22"/>
                      <a:pt x="29" y="20"/>
                      <a:pt x="29" y="24"/>
                    </a:cubicBezTo>
                    <a:cubicBezTo>
                      <a:pt x="29" y="27"/>
                      <a:pt x="32" y="25"/>
                      <a:pt x="32" y="28"/>
                    </a:cubicBezTo>
                    <a:cubicBezTo>
                      <a:pt x="32" y="33"/>
                      <a:pt x="31" y="36"/>
                      <a:pt x="31" y="41"/>
                    </a:cubicBezTo>
                    <a:cubicBezTo>
                      <a:pt x="29" y="42"/>
                      <a:pt x="31" y="41"/>
                      <a:pt x="26" y="39"/>
                    </a:cubicBezTo>
                    <a:cubicBezTo>
                      <a:pt x="23" y="38"/>
                      <a:pt x="17" y="34"/>
                      <a:pt x="13" y="28"/>
                    </a:cubicBezTo>
                    <a:cubicBezTo>
                      <a:pt x="8" y="22"/>
                      <a:pt x="6" y="24"/>
                      <a:pt x="5" y="22"/>
                    </a:cubicBezTo>
                    <a:cubicBezTo>
                      <a:pt x="5" y="19"/>
                      <a:pt x="2" y="19"/>
                      <a:pt x="0" y="16"/>
                    </a:cubicBezTo>
                    <a:cubicBezTo>
                      <a:pt x="5" y="8"/>
                      <a:pt x="6" y="10"/>
                      <a:pt x="6" y="6"/>
                    </a:cubicBezTo>
                    <a:cubicBezTo>
                      <a:pt x="6" y="3"/>
                      <a:pt x="9" y="5"/>
                      <a:pt x="9" y="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45" name="Freeform 139"/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4122446" y="3537498"/>
                <a:ext cx="53805" cy="70178"/>
              </a:xfrm>
              <a:custGeom>
                <a:avLst/>
                <a:gdLst/>
                <a:ahLst/>
                <a:cxnLst>
                  <a:cxn ang="0">
                    <a:pos x="15" y="31"/>
                  </a:cxn>
                  <a:cxn ang="0">
                    <a:pos x="21" y="21"/>
                  </a:cxn>
                  <a:cxn ang="0">
                    <a:pos x="24" y="15"/>
                  </a:cxn>
                  <a:cxn ang="0">
                    <a:pos x="23" y="12"/>
                  </a:cxn>
                  <a:cxn ang="0">
                    <a:pos x="21" y="9"/>
                  </a:cxn>
                  <a:cxn ang="0">
                    <a:pos x="18" y="3"/>
                  </a:cxn>
                  <a:cxn ang="0">
                    <a:pos x="11" y="1"/>
                  </a:cxn>
                  <a:cxn ang="0">
                    <a:pos x="6" y="3"/>
                  </a:cxn>
                  <a:cxn ang="0">
                    <a:pos x="0" y="11"/>
                  </a:cxn>
                  <a:cxn ang="0">
                    <a:pos x="0" y="14"/>
                  </a:cxn>
                  <a:cxn ang="0">
                    <a:pos x="3" y="15"/>
                  </a:cxn>
                  <a:cxn ang="0">
                    <a:pos x="0" y="17"/>
                  </a:cxn>
                  <a:cxn ang="0">
                    <a:pos x="3" y="20"/>
                  </a:cxn>
                  <a:cxn ang="0">
                    <a:pos x="3" y="21"/>
                  </a:cxn>
                  <a:cxn ang="0">
                    <a:pos x="6" y="24"/>
                  </a:cxn>
                  <a:cxn ang="0">
                    <a:pos x="8" y="28"/>
                  </a:cxn>
                  <a:cxn ang="0">
                    <a:pos x="15" y="31"/>
                  </a:cxn>
                </a:cxnLst>
                <a:rect l="0" t="0" r="r" b="b"/>
                <a:pathLst>
                  <a:path w="24" h="31">
                    <a:moveTo>
                      <a:pt x="15" y="31"/>
                    </a:moveTo>
                    <a:cubicBezTo>
                      <a:pt x="20" y="23"/>
                      <a:pt x="21" y="24"/>
                      <a:pt x="21" y="21"/>
                    </a:cubicBezTo>
                    <a:cubicBezTo>
                      <a:pt x="21" y="18"/>
                      <a:pt x="24" y="20"/>
                      <a:pt x="24" y="15"/>
                    </a:cubicBezTo>
                    <a:cubicBezTo>
                      <a:pt x="20" y="20"/>
                      <a:pt x="23" y="14"/>
                      <a:pt x="23" y="12"/>
                    </a:cubicBezTo>
                    <a:cubicBezTo>
                      <a:pt x="21" y="9"/>
                      <a:pt x="21" y="9"/>
                      <a:pt x="21" y="9"/>
                    </a:cubicBezTo>
                    <a:cubicBezTo>
                      <a:pt x="21" y="6"/>
                      <a:pt x="20" y="7"/>
                      <a:pt x="18" y="3"/>
                    </a:cubicBezTo>
                    <a:cubicBezTo>
                      <a:pt x="17" y="0"/>
                      <a:pt x="11" y="0"/>
                      <a:pt x="11" y="1"/>
                    </a:cubicBezTo>
                    <a:cubicBezTo>
                      <a:pt x="11" y="3"/>
                      <a:pt x="8" y="0"/>
                      <a:pt x="6" y="3"/>
                    </a:cubicBezTo>
                    <a:cubicBezTo>
                      <a:pt x="6" y="7"/>
                      <a:pt x="3" y="9"/>
                      <a:pt x="0" y="11"/>
                    </a:cubicBezTo>
                    <a:cubicBezTo>
                      <a:pt x="3" y="12"/>
                      <a:pt x="0" y="12"/>
                      <a:pt x="0" y="14"/>
                    </a:cubicBezTo>
                    <a:cubicBezTo>
                      <a:pt x="1" y="15"/>
                      <a:pt x="1" y="14"/>
                      <a:pt x="3" y="15"/>
                    </a:cubicBezTo>
                    <a:cubicBezTo>
                      <a:pt x="1" y="17"/>
                      <a:pt x="0" y="14"/>
                      <a:pt x="0" y="17"/>
                    </a:cubicBezTo>
                    <a:cubicBezTo>
                      <a:pt x="1" y="20"/>
                      <a:pt x="3" y="17"/>
                      <a:pt x="3" y="20"/>
                    </a:cubicBezTo>
                    <a:cubicBezTo>
                      <a:pt x="4" y="21"/>
                      <a:pt x="1" y="20"/>
                      <a:pt x="3" y="21"/>
                    </a:cubicBezTo>
                    <a:cubicBezTo>
                      <a:pt x="3" y="23"/>
                      <a:pt x="6" y="23"/>
                      <a:pt x="6" y="24"/>
                    </a:cubicBezTo>
                    <a:cubicBezTo>
                      <a:pt x="8" y="26"/>
                      <a:pt x="4" y="26"/>
                      <a:pt x="8" y="28"/>
                    </a:cubicBezTo>
                    <a:cubicBezTo>
                      <a:pt x="11" y="28"/>
                      <a:pt x="14" y="29"/>
                      <a:pt x="15" y="31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46" name="Freeform 140"/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4045249" y="3390124"/>
                <a:ext cx="115796" cy="98249"/>
              </a:xfrm>
              <a:custGeom>
                <a:avLst/>
                <a:gdLst/>
                <a:ahLst/>
                <a:cxnLst>
                  <a:cxn ang="0">
                    <a:pos x="8" y="30"/>
                  </a:cxn>
                  <a:cxn ang="0">
                    <a:pos x="3" y="20"/>
                  </a:cxn>
                  <a:cxn ang="0">
                    <a:pos x="2" y="18"/>
                  </a:cxn>
                  <a:cxn ang="0">
                    <a:pos x="10" y="4"/>
                  </a:cxn>
                  <a:cxn ang="0">
                    <a:pos x="25" y="1"/>
                  </a:cxn>
                  <a:cxn ang="0">
                    <a:pos x="33" y="6"/>
                  </a:cxn>
                  <a:cxn ang="0">
                    <a:pos x="43" y="20"/>
                  </a:cxn>
                  <a:cxn ang="0">
                    <a:pos x="45" y="26"/>
                  </a:cxn>
                  <a:cxn ang="0">
                    <a:pos x="45" y="30"/>
                  </a:cxn>
                  <a:cxn ang="0">
                    <a:pos x="49" y="35"/>
                  </a:cxn>
                  <a:cxn ang="0">
                    <a:pos x="49" y="41"/>
                  </a:cxn>
                  <a:cxn ang="0">
                    <a:pos x="43" y="41"/>
                  </a:cxn>
                  <a:cxn ang="0">
                    <a:pos x="31" y="40"/>
                  </a:cxn>
                  <a:cxn ang="0">
                    <a:pos x="19" y="40"/>
                  </a:cxn>
                  <a:cxn ang="0">
                    <a:pos x="17" y="41"/>
                  </a:cxn>
                  <a:cxn ang="0">
                    <a:pos x="8" y="43"/>
                  </a:cxn>
                  <a:cxn ang="0">
                    <a:pos x="7" y="41"/>
                  </a:cxn>
                  <a:cxn ang="0">
                    <a:pos x="16" y="40"/>
                  </a:cxn>
                  <a:cxn ang="0">
                    <a:pos x="11" y="40"/>
                  </a:cxn>
                  <a:cxn ang="0">
                    <a:pos x="8" y="40"/>
                  </a:cxn>
                  <a:cxn ang="0">
                    <a:pos x="7" y="35"/>
                  </a:cxn>
                  <a:cxn ang="0">
                    <a:pos x="14" y="33"/>
                  </a:cxn>
                  <a:cxn ang="0">
                    <a:pos x="19" y="32"/>
                  </a:cxn>
                  <a:cxn ang="0">
                    <a:pos x="25" y="32"/>
                  </a:cxn>
                  <a:cxn ang="0">
                    <a:pos x="31" y="30"/>
                  </a:cxn>
                  <a:cxn ang="0">
                    <a:pos x="25" y="30"/>
                  </a:cxn>
                  <a:cxn ang="0">
                    <a:pos x="22" y="29"/>
                  </a:cxn>
                  <a:cxn ang="0">
                    <a:pos x="17" y="30"/>
                  </a:cxn>
                  <a:cxn ang="0">
                    <a:pos x="8" y="30"/>
                  </a:cxn>
                </a:cxnLst>
                <a:rect l="0" t="0" r="r" b="b"/>
                <a:pathLst>
                  <a:path w="51" h="43">
                    <a:moveTo>
                      <a:pt x="8" y="30"/>
                    </a:moveTo>
                    <a:cubicBezTo>
                      <a:pt x="5" y="27"/>
                      <a:pt x="5" y="18"/>
                      <a:pt x="3" y="20"/>
                    </a:cubicBezTo>
                    <a:cubicBezTo>
                      <a:pt x="0" y="20"/>
                      <a:pt x="0" y="18"/>
                      <a:pt x="2" y="18"/>
                    </a:cubicBezTo>
                    <a:cubicBezTo>
                      <a:pt x="7" y="15"/>
                      <a:pt x="10" y="7"/>
                      <a:pt x="10" y="4"/>
                    </a:cubicBezTo>
                    <a:cubicBezTo>
                      <a:pt x="10" y="0"/>
                      <a:pt x="20" y="1"/>
                      <a:pt x="25" y="1"/>
                    </a:cubicBezTo>
                    <a:cubicBezTo>
                      <a:pt x="28" y="0"/>
                      <a:pt x="31" y="4"/>
                      <a:pt x="33" y="6"/>
                    </a:cubicBezTo>
                    <a:cubicBezTo>
                      <a:pt x="36" y="7"/>
                      <a:pt x="40" y="17"/>
                      <a:pt x="43" y="20"/>
                    </a:cubicBezTo>
                    <a:cubicBezTo>
                      <a:pt x="42" y="24"/>
                      <a:pt x="45" y="21"/>
                      <a:pt x="45" y="26"/>
                    </a:cubicBezTo>
                    <a:cubicBezTo>
                      <a:pt x="45" y="30"/>
                      <a:pt x="43" y="27"/>
                      <a:pt x="45" y="30"/>
                    </a:cubicBezTo>
                    <a:cubicBezTo>
                      <a:pt x="46" y="35"/>
                      <a:pt x="46" y="30"/>
                      <a:pt x="49" y="35"/>
                    </a:cubicBezTo>
                    <a:cubicBezTo>
                      <a:pt x="51" y="38"/>
                      <a:pt x="49" y="38"/>
                      <a:pt x="49" y="41"/>
                    </a:cubicBezTo>
                    <a:cubicBezTo>
                      <a:pt x="48" y="41"/>
                      <a:pt x="45" y="40"/>
                      <a:pt x="43" y="41"/>
                    </a:cubicBezTo>
                    <a:cubicBezTo>
                      <a:pt x="40" y="43"/>
                      <a:pt x="37" y="40"/>
                      <a:pt x="31" y="40"/>
                    </a:cubicBezTo>
                    <a:cubicBezTo>
                      <a:pt x="28" y="40"/>
                      <a:pt x="22" y="38"/>
                      <a:pt x="19" y="40"/>
                    </a:cubicBezTo>
                    <a:cubicBezTo>
                      <a:pt x="14" y="40"/>
                      <a:pt x="20" y="40"/>
                      <a:pt x="17" y="41"/>
                    </a:cubicBezTo>
                    <a:cubicBezTo>
                      <a:pt x="14" y="43"/>
                      <a:pt x="11" y="41"/>
                      <a:pt x="8" y="43"/>
                    </a:cubicBezTo>
                    <a:cubicBezTo>
                      <a:pt x="8" y="41"/>
                      <a:pt x="7" y="43"/>
                      <a:pt x="7" y="41"/>
                    </a:cubicBezTo>
                    <a:cubicBezTo>
                      <a:pt x="10" y="38"/>
                      <a:pt x="8" y="41"/>
                      <a:pt x="16" y="40"/>
                    </a:cubicBezTo>
                    <a:cubicBezTo>
                      <a:pt x="14" y="40"/>
                      <a:pt x="13" y="38"/>
                      <a:pt x="11" y="40"/>
                    </a:cubicBezTo>
                    <a:cubicBezTo>
                      <a:pt x="10" y="40"/>
                      <a:pt x="10" y="38"/>
                      <a:pt x="8" y="40"/>
                    </a:cubicBezTo>
                    <a:cubicBezTo>
                      <a:pt x="7" y="41"/>
                      <a:pt x="8" y="38"/>
                      <a:pt x="7" y="35"/>
                    </a:cubicBezTo>
                    <a:cubicBezTo>
                      <a:pt x="10" y="33"/>
                      <a:pt x="16" y="37"/>
                      <a:pt x="14" y="33"/>
                    </a:cubicBezTo>
                    <a:cubicBezTo>
                      <a:pt x="14" y="32"/>
                      <a:pt x="19" y="33"/>
                      <a:pt x="19" y="32"/>
                    </a:cubicBezTo>
                    <a:cubicBezTo>
                      <a:pt x="20" y="29"/>
                      <a:pt x="19" y="30"/>
                      <a:pt x="25" y="32"/>
                    </a:cubicBezTo>
                    <a:cubicBezTo>
                      <a:pt x="28" y="33"/>
                      <a:pt x="31" y="33"/>
                      <a:pt x="31" y="30"/>
                    </a:cubicBezTo>
                    <a:cubicBezTo>
                      <a:pt x="29" y="29"/>
                      <a:pt x="26" y="33"/>
                      <a:pt x="25" y="30"/>
                    </a:cubicBezTo>
                    <a:cubicBezTo>
                      <a:pt x="23" y="27"/>
                      <a:pt x="23" y="30"/>
                      <a:pt x="22" y="29"/>
                    </a:cubicBezTo>
                    <a:cubicBezTo>
                      <a:pt x="22" y="27"/>
                      <a:pt x="19" y="29"/>
                      <a:pt x="17" y="30"/>
                    </a:cubicBezTo>
                    <a:cubicBezTo>
                      <a:pt x="17" y="30"/>
                      <a:pt x="16" y="30"/>
                      <a:pt x="8" y="3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47" name="Freeform 141"/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4056945" y="3454454"/>
                <a:ext cx="58483" cy="19884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12" y="4"/>
                  </a:cxn>
                  <a:cxn ang="0">
                    <a:pos x="3" y="4"/>
                  </a:cxn>
                  <a:cxn ang="0">
                    <a:pos x="1" y="7"/>
                  </a:cxn>
                  <a:cxn ang="0">
                    <a:pos x="9" y="6"/>
                  </a:cxn>
                  <a:cxn ang="0">
                    <a:pos x="14" y="4"/>
                  </a:cxn>
                  <a:cxn ang="0">
                    <a:pos x="20" y="4"/>
                  </a:cxn>
                  <a:cxn ang="0">
                    <a:pos x="26" y="3"/>
                  </a:cxn>
                  <a:cxn ang="0">
                    <a:pos x="20" y="3"/>
                  </a:cxn>
                  <a:cxn ang="0">
                    <a:pos x="17" y="1"/>
                  </a:cxn>
                  <a:cxn ang="0">
                    <a:pos x="12" y="3"/>
                  </a:cxn>
                  <a:cxn ang="0">
                    <a:pos x="3" y="3"/>
                  </a:cxn>
                </a:cxnLst>
                <a:rect l="0" t="0" r="r" b="b"/>
                <a:pathLst>
                  <a:path w="26" h="9">
                    <a:moveTo>
                      <a:pt x="3" y="3"/>
                    </a:moveTo>
                    <a:cubicBezTo>
                      <a:pt x="5" y="6"/>
                      <a:pt x="6" y="3"/>
                      <a:pt x="12" y="4"/>
                    </a:cubicBezTo>
                    <a:cubicBezTo>
                      <a:pt x="6" y="4"/>
                      <a:pt x="5" y="7"/>
                      <a:pt x="3" y="4"/>
                    </a:cubicBezTo>
                    <a:cubicBezTo>
                      <a:pt x="1" y="3"/>
                      <a:pt x="0" y="6"/>
                      <a:pt x="1" y="7"/>
                    </a:cubicBezTo>
                    <a:cubicBezTo>
                      <a:pt x="5" y="6"/>
                      <a:pt x="11" y="9"/>
                      <a:pt x="9" y="6"/>
                    </a:cubicBezTo>
                    <a:cubicBezTo>
                      <a:pt x="9" y="4"/>
                      <a:pt x="14" y="6"/>
                      <a:pt x="14" y="4"/>
                    </a:cubicBezTo>
                    <a:cubicBezTo>
                      <a:pt x="15" y="1"/>
                      <a:pt x="14" y="3"/>
                      <a:pt x="20" y="4"/>
                    </a:cubicBezTo>
                    <a:cubicBezTo>
                      <a:pt x="23" y="6"/>
                      <a:pt x="26" y="6"/>
                      <a:pt x="26" y="3"/>
                    </a:cubicBezTo>
                    <a:cubicBezTo>
                      <a:pt x="24" y="1"/>
                      <a:pt x="21" y="6"/>
                      <a:pt x="20" y="3"/>
                    </a:cubicBezTo>
                    <a:cubicBezTo>
                      <a:pt x="18" y="0"/>
                      <a:pt x="18" y="3"/>
                      <a:pt x="17" y="1"/>
                    </a:cubicBezTo>
                    <a:cubicBezTo>
                      <a:pt x="17" y="0"/>
                      <a:pt x="14" y="1"/>
                      <a:pt x="12" y="3"/>
                    </a:cubicBezTo>
                    <a:cubicBezTo>
                      <a:pt x="12" y="3"/>
                      <a:pt x="11" y="3"/>
                      <a:pt x="3" y="3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48" name="Freeform 142"/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4090865" y="3481356"/>
                <a:ext cx="135680" cy="126321"/>
              </a:xfrm>
              <a:custGeom>
                <a:avLst/>
                <a:gdLst/>
                <a:ahLst/>
                <a:cxnLst>
                  <a:cxn ang="0">
                    <a:pos x="38" y="40"/>
                  </a:cxn>
                  <a:cxn ang="0">
                    <a:pos x="37" y="37"/>
                  </a:cxn>
                  <a:cxn ang="0">
                    <a:pos x="35" y="34"/>
                  </a:cxn>
                  <a:cxn ang="0">
                    <a:pos x="32" y="28"/>
                  </a:cxn>
                  <a:cxn ang="0">
                    <a:pos x="25" y="26"/>
                  </a:cxn>
                  <a:cxn ang="0">
                    <a:pos x="20" y="28"/>
                  </a:cxn>
                  <a:cxn ang="0">
                    <a:pos x="14" y="35"/>
                  </a:cxn>
                  <a:cxn ang="0">
                    <a:pos x="14" y="34"/>
                  </a:cxn>
                  <a:cxn ang="0">
                    <a:pos x="13" y="31"/>
                  </a:cxn>
                  <a:cxn ang="0">
                    <a:pos x="13" y="29"/>
                  </a:cxn>
                  <a:cxn ang="0">
                    <a:pos x="8" y="25"/>
                  </a:cxn>
                  <a:cxn ang="0">
                    <a:pos x="5" y="23"/>
                  </a:cxn>
                  <a:cxn ang="0">
                    <a:pos x="5" y="18"/>
                  </a:cxn>
                  <a:cxn ang="0">
                    <a:pos x="3" y="18"/>
                  </a:cxn>
                  <a:cxn ang="0">
                    <a:pos x="3" y="15"/>
                  </a:cxn>
                  <a:cxn ang="0">
                    <a:pos x="0" y="18"/>
                  </a:cxn>
                  <a:cxn ang="0">
                    <a:pos x="0" y="17"/>
                  </a:cxn>
                  <a:cxn ang="0">
                    <a:pos x="6" y="9"/>
                  </a:cxn>
                  <a:cxn ang="0">
                    <a:pos x="10" y="9"/>
                  </a:cxn>
                  <a:cxn ang="0">
                    <a:pos x="10" y="4"/>
                  </a:cxn>
                  <a:cxn ang="0">
                    <a:pos x="11" y="0"/>
                  </a:cxn>
                  <a:cxn ang="0">
                    <a:pos x="23" y="1"/>
                  </a:cxn>
                  <a:cxn ang="0">
                    <a:pos x="29" y="1"/>
                  </a:cxn>
                  <a:cxn ang="0">
                    <a:pos x="32" y="4"/>
                  </a:cxn>
                  <a:cxn ang="0">
                    <a:pos x="34" y="6"/>
                  </a:cxn>
                  <a:cxn ang="0">
                    <a:pos x="42" y="4"/>
                  </a:cxn>
                  <a:cxn ang="0">
                    <a:pos x="45" y="3"/>
                  </a:cxn>
                  <a:cxn ang="0">
                    <a:pos x="48" y="1"/>
                  </a:cxn>
                  <a:cxn ang="0">
                    <a:pos x="49" y="6"/>
                  </a:cxn>
                  <a:cxn ang="0">
                    <a:pos x="51" y="9"/>
                  </a:cxn>
                  <a:cxn ang="0">
                    <a:pos x="52" y="12"/>
                  </a:cxn>
                  <a:cxn ang="0">
                    <a:pos x="52" y="15"/>
                  </a:cxn>
                  <a:cxn ang="0">
                    <a:pos x="54" y="20"/>
                  </a:cxn>
                  <a:cxn ang="0">
                    <a:pos x="57" y="25"/>
                  </a:cxn>
                  <a:cxn ang="0">
                    <a:pos x="55" y="29"/>
                  </a:cxn>
                  <a:cxn ang="0">
                    <a:pos x="58" y="35"/>
                  </a:cxn>
                  <a:cxn ang="0">
                    <a:pos x="60" y="42"/>
                  </a:cxn>
                  <a:cxn ang="0">
                    <a:pos x="54" y="42"/>
                  </a:cxn>
                  <a:cxn ang="0">
                    <a:pos x="57" y="45"/>
                  </a:cxn>
                  <a:cxn ang="0">
                    <a:pos x="52" y="48"/>
                  </a:cxn>
                  <a:cxn ang="0">
                    <a:pos x="48" y="53"/>
                  </a:cxn>
                  <a:cxn ang="0">
                    <a:pos x="45" y="49"/>
                  </a:cxn>
                  <a:cxn ang="0">
                    <a:pos x="45" y="43"/>
                  </a:cxn>
                  <a:cxn ang="0">
                    <a:pos x="38" y="40"/>
                  </a:cxn>
                </a:cxnLst>
                <a:rect l="0" t="0" r="r" b="b"/>
                <a:pathLst>
                  <a:path w="60" h="56">
                    <a:moveTo>
                      <a:pt x="38" y="40"/>
                    </a:moveTo>
                    <a:cubicBezTo>
                      <a:pt x="34" y="45"/>
                      <a:pt x="37" y="39"/>
                      <a:pt x="37" y="37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5" y="31"/>
                      <a:pt x="34" y="32"/>
                      <a:pt x="32" y="28"/>
                    </a:cubicBezTo>
                    <a:cubicBezTo>
                      <a:pt x="31" y="25"/>
                      <a:pt x="25" y="25"/>
                      <a:pt x="25" y="26"/>
                    </a:cubicBezTo>
                    <a:cubicBezTo>
                      <a:pt x="25" y="28"/>
                      <a:pt x="22" y="25"/>
                      <a:pt x="20" y="28"/>
                    </a:cubicBezTo>
                    <a:cubicBezTo>
                      <a:pt x="20" y="32"/>
                      <a:pt x="17" y="34"/>
                      <a:pt x="14" y="35"/>
                    </a:cubicBezTo>
                    <a:cubicBezTo>
                      <a:pt x="14" y="34"/>
                      <a:pt x="16" y="34"/>
                      <a:pt x="14" y="34"/>
                    </a:cubicBezTo>
                    <a:cubicBezTo>
                      <a:pt x="13" y="32"/>
                      <a:pt x="14" y="32"/>
                      <a:pt x="13" y="31"/>
                    </a:cubicBezTo>
                    <a:cubicBezTo>
                      <a:pt x="11" y="31"/>
                      <a:pt x="11" y="31"/>
                      <a:pt x="13" y="29"/>
                    </a:cubicBezTo>
                    <a:cubicBezTo>
                      <a:pt x="13" y="28"/>
                      <a:pt x="10" y="28"/>
                      <a:pt x="8" y="25"/>
                    </a:cubicBezTo>
                    <a:cubicBezTo>
                      <a:pt x="8" y="23"/>
                      <a:pt x="5" y="25"/>
                      <a:pt x="5" y="23"/>
                    </a:cubicBezTo>
                    <a:cubicBezTo>
                      <a:pt x="5" y="20"/>
                      <a:pt x="3" y="23"/>
                      <a:pt x="5" y="18"/>
                    </a:cubicBezTo>
                    <a:cubicBezTo>
                      <a:pt x="5" y="15"/>
                      <a:pt x="3" y="20"/>
                      <a:pt x="3" y="18"/>
                    </a:cubicBezTo>
                    <a:cubicBezTo>
                      <a:pt x="2" y="17"/>
                      <a:pt x="5" y="15"/>
                      <a:pt x="3" y="15"/>
                    </a:cubicBezTo>
                    <a:cubicBezTo>
                      <a:pt x="0" y="15"/>
                      <a:pt x="2" y="18"/>
                      <a:pt x="0" y="18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3" y="9"/>
                      <a:pt x="5" y="12"/>
                      <a:pt x="6" y="9"/>
                    </a:cubicBezTo>
                    <a:cubicBezTo>
                      <a:pt x="8" y="7"/>
                      <a:pt x="8" y="11"/>
                      <a:pt x="10" y="9"/>
                    </a:cubicBezTo>
                    <a:cubicBezTo>
                      <a:pt x="13" y="9"/>
                      <a:pt x="13" y="6"/>
                      <a:pt x="10" y="4"/>
                    </a:cubicBezTo>
                    <a:cubicBezTo>
                      <a:pt x="8" y="3"/>
                      <a:pt x="13" y="4"/>
                      <a:pt x="11" y="0"/>
                    </a:cubicBezTo>
                    <a:cubicBezTo>
                      <a:pt x="17" y="0"/>
                      <a:pt x="20" y="3"/>
                      <a:pt x="23" y="1"/>
                    </a:cubicBezTo>
                    <a:cubicBezTo>
                      <a:pt x="25" y="0"/>
                      <a:pt x="28" y="1"/>
                      <a:pt x="29" y="1"/>
                    </a:cubicBezTo>
                    <a:cubicBezTo>
                      <a:pt x="28" y="6"/>
                      <a:pt x="31" y="7"/>
                      <a:pt x="32" y="4"/>
                    </a:cubicBezTo>
                    <a:cubicBezTo>
                      <a:pt x="32" y="3"/>
                      <a:pt x="34" y="4"/>
                      <a:pt x="34" y="6"/>
                    </a:cubicBezTo>
                    <a:cubicBezTo>
                      <a:pt x="37" y="9"/>
                      <a:pt x="35" y="1"/>
                      <a:pt x="42" y="4"/>
                    </a:cubicBezTo>
                    <a:cubicBezTo>
                      <a:pt x="45" y="7"/>
                      <a:pt x="43" y="4"/>
                      <a:pt x="45" y="3"/>
                    </a:cubicBezTo>
                    <a:cubicBezTo>
                      <a:pt x="48" y="3"/>
                      <a:pt x="43" y="0"/>
                      <a:pt x="48" y="1"/>
                    </a:cubicBezTo>
                    <a:cubicBezTo>
                      <a:pt x="51" y="3"/>
                      <a:pt x="49" y="4"/>
                      <a:pt x="49" y="6"/>
                    </a:cubicBezTo>
                    <a:cubicBezTo>
                      <a:pt x="51" y="6"/>
                      <a:pt x="49" y="9"/>
                      <a:pt x="51" y="9"/>
                    </a:cubicBezTo>
                    <a:cubicBezTo>
                      <a:pt x="52" y="9"/>
                      <a:pt x="55" y="12"/>
                      <a:pt x="52" y="12"/>
                    </a:cubicBezTo>
                    <a:cubicBezTo>
                      <a:pt x="51" y="14"/>
                      <a:pt x="51" y="18"/>
                      <a:pt x="52" y="15"/>
                    </a:cubicBezTo>
                    <a:cubicBezTo>
                      <a:pt x="54" y="14"/>
                      <a:pt x="55" y="15"/>
                      <a:pt x="54" y="20"/>
                    </a:cubicBezTo>
                    <a:cubicBezTo>
                      <a:pt x="54" y="23"/>
                      <a:pt x="55" y="20"/>
                      <a:pt x="57" y="25"/>
                    </a:cubicBezTo>
                    <a:cubicBezTo>
                      <a:pt x="54" y="26"/>
                      <a:pt x="57" y="26"/>
                      <a:pt x="55" y="29"/>
                    </a:cubicBezTo>
                    <a:cubicBezTo>
                      <a:pt x="55" y="32"/>
                      <a:pt x="60" y="32"/>
                      <a:pt x="58" y="35"/>
                    </a:cubicBezTo>
                    <a:cubicBezTo>
                      <a:pt x="55" y="39"/>
                      <a:pt x="60" y="37"/>
                      <a:pt x="60" y="42"/>
                    </a:cubicBezTo>
                    <a:cubicBezTo>
                      <a:pt x="55" y="40"/>
                      <a:pt x="54" y="40"/>
                      <a:pt x="54" y="42"/>
                    </a:cubicBezTo>
                    <a:cubicBezTo>
                      <a:pt x="55" y="45"/>
                      <a:pt x="57" y="42"/>
                      <a:pt x="57" y="45"/>
                    </a:cubicBezTo>
                    <a:cubicBezTo>
                      <a:pt x="57" y="48"/>
                      <a:pt x="55" y="51"/>
                      <a:pt x="52" y="48"/>
                    </a:cubicBezTo>
                    <a:cubicBezTo>
                      <a:pt x="51" y="46"/>
                      <a:pt x="49" y="56"/>
                      <a:pt x="48" y="53"/>
                    </a:cubicBezTo>
                    <a:cubicBezTo>
                      <a:pt x="46" y="49"/>
                      <a:pt x="45" y="53"/>
                      <a:pt x="45" y="49"/>
                    </a:cubicBezTo>
                    <a:cubicBezTo>
                      <a:pt x="46" y="46"/>
                      <a:pt x="45" y="45"/>
                      <a:pt x="45" y="43"/>
                    </a:cubicBezTo>
                    <a:cubicBezTo>
                      <a:pt x="46" y="40"/>
                      <a:pt x="40" y="40"/>
                      <a:pt x="38" y="4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49" name="Freeform 143"/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4062793" y="3476677"/>
                <a:ext cx="54974" cy="43277"/>
              </a:xfrm>
              <a:custGeom>
                <a:avLst/>
                <a:gdLst/>
                <a:ahLst/>
                <a:cxnLst>
                  <a:cxn ang="0">
                    <a:pos x="12" y="19"/>
                  </a:cxn>
                  <a:cxn ang="0">
                    <a:pos x="18" y="11"/>
                  </a:cxn>
                  <a:cxn ang="0">
                    <a:pos x="21" y="11"/>
                  </a:cxn>
                  <a:cxn ang="0">
                    <a:pos x="21" y="7"/>
                  </a:cxn>
                  <a:cxn ang="0">
                    <a:pos x="23" y="2"/>
                  </a:cxn>
                  <a:cxn ang="0">
                    <a:pos x="11" y="2"/>
                  </a:cxn>
                  <a:cxn ang="0">
                    <a:pos x="9" y="3"/>
                  </a:cxn>
                  <a:cxn ang="0">
                    <a:pos x="0" y="5"/>
                  </a:cxn>
                  <a:cxn ang="0">
                    <a:pos x="3" y="7"/>
                  </a:cxn>
                  <a:cxn ang="0">
                    <a:pos x="5" y="8"/>
                  </a:cxn>
                  <a:cxn ang="0">
                    <a:pos x="6" y="11"/>
                  </a:cxn>
                  <a:cxn ang="0">
                    <a:pos x="9" y="10"/>
                  </a:cxn>
                  <a:cxn ang="0">
                    <a:pos x="9" y="14"/>
                  </a:cxn>
                  <a:cxn ang="0">
                    <a:pos x="9" y="16"/>
                  </a:cxn>
                  <a:cxn ang="0">
                    <a:pos x="11" y="18"/>
                  </a:cxn>
                  <a:cxn ang="0">
                    <a:pos x="12" y="16"/>
                  </a:cxn>
                  <a:cxn ang="0">
                    <a:pos x="12" y="19"/>
                  </a:cxn>
                </a:cxnLst>
                <a:rect l="0" t="0" r="r" b="b"/>
                <a:pathLst>
                  <a:path w="24" h="19">
                    <a:moveTo>
                      <a:pt x="12" y="19"/>
                    </a:moveTo>
                    <a:cubicBezTo>
                      <a:pt x="15" y="11"/>
                      <a:pt x="17" y="14"/>
                      <a:pt x="18" y="11"/>
                    </a:cubicBezTo>
                    <a:cubicBezTo>
                      <a:pt x="20" y="10"/>
                      <a:pt x="20" y="13"/>
                      <a:pt x="21" y="11"/>
                    </a:cubicBezTo>
                    <a:cubicBezTo>
                      <a:pt x="24" y="11"/>
                      <a:pt x="24" y="8"/>
                      <a:pt x="21" y="7"/>
                    </a:cubicBezTo>
                    <a:cubicBezTo>
                      <a:pt x="20" y="5"/>
                      <a:pt x="24" y="7"/>
                      <a:pt x="23" y="2"/>
                    </a:cubicBezTo>
                    <a:cubicBezTo>
                      <a:pt x="20" y="2"/>
                      <a:pt x="14" y="0"/>
                      <a:pt x="11" y="2"/>
                    </a:cubicBezTo>
                    <a:cubicBezTo>
                      <a:pt x="6" y="2"/>
                      <a:pt x="12" y="2"/>
                      <a:pt x="9" y="3"/>
                    </a:cubicBezTo>
                    <a:cubicBezTo>
                      <a:pt x="6" y="5"/>
                      <a:pt x="3" y="3"/>
                      <a:pt x="0" y="5"/>
                    </a:cubicBezTo>
                    <a:cubicBezTo>
                      <a:pt x="1" y="7"/>
                      <a:pt x="5" y="5"/>
                      <a:pt x="3" y="7"/>
                    </a:cubicBezTo>
                    <a:cubicBezTo>
                      <a:pt x="1" y="10"/>
                      <a:pt x="3" y="10"/>
                      <a:pt x="5" y="8"/>
                    </a:cubicBezTo>
                    <a:cubicBezTo>
                      <a:pt x="8" y="8"/>
                      <a:pt x="3" y="13"/>
                      <a:pt x="6" y="11"/>
                    </a:cubicBezTo>
                    <a:cubicBezTo>
                      <a:pt x="9" y="8"/>
                      <a:pt x="12" y="8"/>
                      <a:pt x="9" y="10"/>
                    </a:cubicBezTo>
                    <a:cubicBezTo>
                      <a:pt x="8" y="11"/>
                      <a:pt x="11" y="11"/>
                      <a:pt x="9" y="14"/>
                    </a:cubicBezTo>
                    <a:cubicBezTo>
                      <a:pt x="8" y="16"/>
                      <a:pt x="9" y="14"/>
                      <a:pt x="9" y="16"/>
                    </a:cubicBezTo>
                    <a:cubicBezTo>
                      <a:pt x="9" y="18"/>
                      <a:pt x="11" y="16"/>
                      <a:pt x="11" y="18"/>
                    </a:cubicBezTo>
                    <a:cubicBezTo>
                      <a:pt x="11" y="19"/>
                      <a:pt x="12" y="18"/>
                      <a:pt x="12" y="16"/>
                    </a:cubicBezTo>
                    <a:cubicBezTo>
                      <a:pt x="12" y="19"/>
                      <a:pt x="12" y="18"/>
                      <a:pt x="12" y="19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50" name="Freeform 144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4069812" y="3494221"/>
                <a:ext cx="2339" cy="701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1"/>
                  </a:cxn>
                  <a:cxn ang="0">
                    <a:pos x="0" y="1"/>
                  </a:cxn>
                </a:cxnLst>
                <a:rect l="0" t="0" r="r" b="b"/>
                <a:pathLst>
                  <a:path w="1" h="3">
                    <a:moveTo>
                      <a:pt x="0" y="1"/>
                    </a:moveTo>
                    <a:cubicBezTo>
                      <a:pt x="0" y="1"/>
                      <a:pt x="1" y="0"/>
                      <a:pt x="1" y="1"/>
                    </a:cubicBezTo>
                    <a:cubicBezTo>
                      <a:pt x="1" y="3"/>
                      <a:pt x="1" y="3"/>
                      <a:pt x="0" y="1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51" name="Freeform 145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4069812" y="3501239"/>
                <a:ext cx="7018" cy="9357"/>
              </a:xfrm>
              <a:custGeom>
                <a:avLst/>
                <a:gdLst/>
                <a:ahLst/>
                <a:cxnLst>
                  <a:cxn ang="0">
                    <a:pos x="1" y="4"/>
                  </a:cxn>
                  <a:cxn ang="0">
                    <a:pos x="1" y="2"/>
                  </a:cxn>
                  <a:cxn ang="0">
                    <a:pos x="1" y="4"/>
                  </a:cxn>
                </a:cxnLst>
                <a:rect l="0" t="0" r="r" b="b"/>
                <a:pathLst>
                  <a:path w="3" h="4">
                    <a:moveTo>
                      <a:pt x="1" y="4"/>
                    </a:moveTo>
                    <a:cubicBezTo>
                      <a:pt x="0" y="2"/>
                      <a:pt x="1" y="0"/>
                      <a:pt x="1" y="2"/>
                    </a:cubicBezTo>
                    <a:cubicBezTo>
                      <a:pt x="3" y="2"/>
                      <a:pt x="1" y="4"/>
                      <a:pt x="1" y="4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52" name="Freeform 146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4069812" y="3512936"/>
                <a:ext cx="2339" cy="701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2"/>
                  </a:cxn>
                  <a:cxn ang="0">
                    <a:pos x="0" y="2"/>
                  </a:cxn>
                </a:cxnLst>
                <a:rect l="0" t="0" r="r" b="b"/>
                <a:pathLst>
                  <a:path w="1" h="3">
                    <a:moveTo>
                      <a:pt x="0" y="2"/>
                    </a:moveTo>
                    <a:cubicBezTo>
                      <a:pt x="0" y="0"/>
                      <a:pt x="1" y="0"/>
                      <a:pt x="1" y="2"/>
                    </a:cubicBezTo>
                    <a:cubicBezTo>
                      <a:pt x="1" y="3"/>
                      <a:pt x="0" y="2"/>
                      <a:pt x="0" y="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53" name="Freeform 147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4072151" y="3512936"/>
                <a:ext cx="4679" cy="467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2"/>
                      <a:pt x="0" y="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54" name="Freeform 148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4076830" y="3510596"/>
                <a:ext cx="2339" cy="2339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1">
                    <a:moveTo>
                      <a:pt x="0" y="1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1"/>
                      <a:pt x="1" y="1"/>
                      <a:pt x="0" y="1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55" name="Freeform 149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4065133" y="3501239"/>
                <a:ext cx="4679" cy="467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2"/>
                      <a:pt x="2" y="0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56" name="Freeform 150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4079169" y="3501239"/>
                <a:ext cx="4679" cy="467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2"/>
                      <a:pt x="0" y="0"/>
                      <a:pt x="2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57" name="Freeform 151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3931792" y="3418195"/>
                <a:ext cx="11696" cy="12866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1"/>
                  </a:cxn>
                  <a:cxn ang="0">
                    <a:pos x="2" y="6"/>
                  </a:cxn>
                </a:cxnLst>
                <a:rect l="0" t="0" r="r" b="b"/>
                <a:pathLst>
                  <a:path w="5" h="6">
                    <a:moveTo>
                      <a:pt x="2" y="6"/>
                    </a:moveTo>
                    <a:cubicBezTo>
                      <a:pt x="0" y="6"/>
                      <a:pt x="0" y="0"/>
                      <a:pt x="2" y="1"/>
                    </a:cubicBezTo>
                    <a:cubicBezTo>
                      <a:pt x="3" y="3"/>
                      <a:pt x="5" y="5"/>
                      <a:pt x="2" y="6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58" name="Freeform 152"/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3944658" y="3399481"/>
                <a:ext cx="11696" cy="7018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3" y="2"/>
                  </a:cxn>
                  <a:cxn ang="0">
                    <a:pos x="2" y="2"/>
                  </a:cxn>
                </a:cxnLst>
                <a:rect l="0" t="0" r="r" b="b"/>
                <a:pathLst>
                  <a:path w="5" h="3">
                    <a:moveTo>
                      <a:pt x="2" y="2"/>
                    </a:moveTo>
                    <a:cubicBezTo>
                      <a:pt x="2" y="0"/>
                      <a:pt x="5" y="0"/>
                      <a:pt x="3" y="2"/>
                    </a:cubicBezTo>
                    <a:cubicBezTo>
                      <a:pt x="2" y="3"/>
                      <a:pt x="0" y="3"/>
                      <a:pt x="2" y="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59" name="Freeform 153"/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3904890" y="3379597"/>
                <a:ext cx="8187" cy="10527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0"/>
                  </a:cxn>
                  <a:cxn ang="0">
                    <a:pos x="0" y="1"/>
                  </a:cxn>
                </a:cxnLst>
                <a:rect l="0" t="0" r="r" b="b"/>
                <a:pathLst>
                  <a:path w="4" h="5">
                    <a:moveTo>
                      <a:pt x="0" y="1"/>
                    </a:moveTo>
                    <a:cubicBezTo>
                      <a:pt x="0" y="0"/>
                      <a:pt x="1" y="0"/>
                      <a:pt x="1" y="0"/>
                    </a:cubicBezTo>
                    <a:cubicBezTo>
                      <a:pt x="4" y="0"/>
                      <a:pt x="1" y="5"/>
                      <a:pt x="0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60" name="Freeform 154"/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3920095" y="3390124"/>
                <a:ext cx="9358" cy="701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0" y="1"/>
                  </a:cxn>
                </a:cxnLst>
                <a:rect l="0" t="0" r="r" b="b"/>
                <a:pathLst>
                  <a:path w="4" h="3">
                    <a:moveTo>
                      <a:pt x="0" y="1"/>
                    </a:moveTo>
                    <a:cubicBezTo>
                      <a:pt x="0" y="0"/>
                      <a:pt x="0" y="0"/>
                      <a:pt x="2" y="0"/>
                    </a:cubicBezTo>
                    <a:cubicBezTo>
                      <a:pt x="4" y="1"/>
                      <a:pt x="4" y="1"/>
                      <a:pt x="2" y="1"/>
                    </a:cubicBezTo>
                    <a:cubicBezTo>
                      <a:pt x="0" y="1"/>
                      <a:pt x="0" y="3"/>
                      <a:pt x="0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61" name="Freeform 155"/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3917756" y="3426383"/>
                <a:ext cx="7018" cy="935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2" y="2"/>
                  </a:cxn>
                  <a:cxn ang="0">
                    <a:pos x="2" y="0"/>
                  </a:cxn>
                </a:cxnLst>
                <a:rect l="0" t="0" r="r" b="b"/>
                <a:pathLst>
                  <a:path w="3" h="4">
                    <a:moveTo>
                      <a:pt x="2" y="0"/>
                    </a:moveTo>
                    <a:cubicBezTo>
                      <a:pt x="2" y="0"/>
                      <a:pt x="3" y="2"/>
                      <a:pt x="2" y="2"/>
                    </a:cubicBezTo>
                    <a:cubicBezTo>
                      <a:pt x="2" y="4"/>
                      <a:pt x="0" y="2"/>
                      <a:pt x="2" y="0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62" name="Freeform 156"/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3938810" y="3419364"/>
                <a:ext cx="5848" cy="4679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0"/>
                  </a:cxn>
                  <a:cxn ang="0">
                    <a:pos x="2" y="2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0" y="2"/>
                      <a:pt x="2" y="0"/>
                      <a:pt x="2" y="0"/>
                    </a:cubicBezTo>
                    <a:cubicBezTo>
                      <a:pt x="3" y="0"/>
                      <a:pt x="3" y="2"/>
                      <a:pt x="2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63" name="Freeform 157"/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3284971" y="4980831"/>
                <a:ext cx="38599" cy="33919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0" y="10"/>
                  </a:cxn>
                  <a:cxn ang="0">
                    <a:pos x="2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5" y="3"/>
                  </a:cxn>
                  <a:cxn ang="0">
                    <a:pos x="6" y="1"/>
                  </a:cxn>
                  <a:cxn ang="0">
                    <a:pos x="10" y="1"/>
                  </a:cxn>
                  <a:cxn ang="0">
                    <a:pos x="11" y="3"/>
                  </a:cxn>
                  <a:cxn ang="0">
                    <a:pos x="11" y="4"/>
                  </a:cxn>
                  <a:cxn ang="0">
                    <a:pos x="13" y="3"/>
                  </a:cxn>
                  <a:cxn ang="0">
                    <a:pos x="16" y="3"/>
                  </a:cxn>
                  <a:cxn ang="0">
                    <a:pos x="16" y="4"/>
                  </a:cxn>
                  <a:cxn ang="0">
                    <a:pos x="14" y="6"/>
                  </a:cxn>
                  <a:cxn ang="0">
                    <a:pos x="11" y="7"/>
                  </a:cxn>
                  <a:cxn ang="0">
                    <a:pos x="8" y="9"/>
                  </a:cxn>
                  <a:cxn ang="0">
                    <a:pos x="8" y="10"/>
                  </a:cxn>
                  <a:cxn ang="0">
                    <a:pos x="6" y="10"/>
                  </a:cxn>
                  <a:cxn ang="0">
                    <a:pos x="5" y="12"/>
                  </a:cxn>
                  <a:cxn ang="0">
                    <a:pos x="2" y="14"/>
                  </a:cxn>
                </a:cxnLst>
                <a:rect l="0" t="0" r="r" b="b"/>
                <a:pathLst>
                  <a:path w="17" h="15">
                    <a:moveTo>
                      <a:pt x="2" y="14"/>
                    </a:moveTo>
                    <a:cubicBezTo>
                      <a:pt x="0" y="12"/>
                      <a:pt x="0" y="10"/>
                      <a:pt x="0" y="10"/>
                    </a:cubicBezTo>
                    <a:cubicBezTo>
                      <a:pt x="2" y="10"/>
                      <a:pt x="0" y="9"/>
                      <a:pt x="2" y="7"/>
                    </a:cubicBezTo>
                    <a:cubicBezTo>
                      <a:pt x="5" y="6"/>
                      <a:pt x="3" y="6"/>
                      <a:pt x="5" y="6"/>
                    </a:cubicBezTo>
                    <a:cubicBezTo>
                      <a:pt x="6" y="6"/>
                      <a:pt x="6" y="6"/>
                      <a:pt x="5" y="4"/>
                    </a:cubicBezTo>
                    <a:cubicBezTo>
                      <a:pt x="5" y="4"/>
                      <a:pt x="6" y="4"/>
                      <a:pt x="5" y="3"/>
                    </a:cubicBezTo>
                    <a:cubicBezTo>
                      <a:pt x="5" y="3"/>
                      <a:pt x="8" y="3"/>
                      <a:pt x="6" y="1"/>
                    </a:cubicBezTo>
                    <a:cubicBezTo>
                      <a:pt x="6" y="0"/>
                      <a:pt x="8" y="1"/>
                      <a:pt x="10" y="1"/>
                    </a:cubicBezTo>
                    <a:cubicBezTo>
                      <a:pt x="11" y="1"/>
                      <a:pt x="11" y="3"/>
                      <a:pt x="11" y="3"/>
                    </a:cubicBezTo>
                    <a:cubicBezTo>
                      <a:pt x="10" y="3"/>
                      <a:pt x="11" y="3"/>
                      <a:pt x="11" y="4"/>
                    </a:cubicBezTo>
                    <a:cubicBezTo>
                      <a:pt x="13" y="6"/>
                      <a:pt x="11" y="3"/>
                      <a:pt x="13" y="3"/>
                    </a:cubicBezTo>
                    <a:cubicBezTo>
                      <a:pt x="14" y="1"/>
                      <a:pt x="14" y="1"/>
                      <a:pt x="16" y="3"/>
                    </a:cubicBezTo>
                    <a:cubicBezTo>
                      <a:pt x="16" y="4"/>
                      <a:pt x="14" y="4"/>
                      <a:pt x="16" y="4"/>
                    </a:cubicBezTo>
                    <a:cubicBezTo>
                      <a:pt x="17" y="6"/>
                      <a:pt x="16" y="6"/>
                      <a:pt x="14" y="6"/>
                    </a:cubicBezTo>
                    <a:cubicBezTo>
                      <a:pt x="11" y="7"/>
                      <a:pt x="14" y="9"/>
                      <a:pt x="11" y="7"/>
                    </a:cubicBezTo>
                    <a:cubicBezTo>
                      <a:pt x="6" y="7"/>
                      <a:pt x="5" y="7"/>
                      <a:pt x="8" y="9"/>
                    </a:cubicBezTo>
                    <a:cubicBezTo>
                      <a:pt x="10" y="9"/>
                      <a:pt x="10" y="12"/>
                      <a:pt x="8" y="10"/>
                    </a:cubicBezTo>
                    <a:cubicBezTo>
                      <a:pt x="6" y="9"/>
                      <a:pt x="8" y="12"/>
                      <a:pt x="6" y="10"/>
                    </a:cubicBezTo>
                    <a:cubicBezTo>
                      <a:pt x="3" y="9"/>
                      <a:pt x="6" y="14"/>
                      <a:pt x="5" y="12"/>
                    </a:cubicBezTo>
                    <a:cubicBezTo>
                      <a:pt x="0" y="10"/>
                      <a:pt x="5" y="15"/>
                      <a:pt x="2" y="14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64" name="Freeform 158"/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3262747" y="4983170"/>
                <a:ext cx="33920" cy="24562"/>
              </a:xfrm>
              <a:custGeom>
                <a:avLst/>
                <a:gdLst/>
                <a:ahLst/>
                <a:cxnLst>
                  <a:cxn ang="0">
                    <a:pos x="3" y="11"/>
                  </a:cxn>
                  <a:cxn ang="0">
                    <a:pos x="1" y="10"/>
                  </a:cxn>
                  <a:cxn ang="0">
                    <a:pos x="1" y="8"/>
                  </a:cxn>
                  <a:cxn ang="0">
                    <a:pos x="4" y="8"/>
                  </a:cxn>
                  <a:cxn ang="0">
                    <a:pos x="6" y="6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3"/>
                  </a:cxn>
                  <a:cxn ang="0">
                    <a:pos x="4" y="2"/>
                  </a:cxn>
                  <a:cxn ang="0">
                    <a:pos x="9" y="2"/>
                  </a:cxn>
                  <a:cxn ang="0">
                    <a:pos x="10" y="2"/>
                  </a:cxn>
                  <a:cxn ang="0">
                    <a:pos x="13" y="0"/>
                  </a:cxn>
                  <a:cxn ang="0">
                    <a:pos x="13" y="3"/>
                  </a:cxn>
                  <a:cxn ang="0">
                    <a:pos x="10" y="6"/>
                  </a:cxn>
                  <a:cxn ang="0">
                    <a:pos x="7" y="8"/>
                  </a:cxn>
                  <a:cxn ang="0">
                    <a:pos x="6" y="10"/>
                  </a:cxn>
                  <a:cxn ang="0">
                    <a:pos x="4" y="11"/>
                  </a:cxn>
                  <a:cxn ang="0">
                    <a:pos x="3" y="11"/>
                  </a:cxn>
                </a:cxnLst>
                <a:rect l="0" t="0" r="r" b="b"/>
                <a:pathLst>
                  <a:path w="15" h="11">
                    <a:moveTo>
                      <a:pt x="3" y="11"/>
                    </a:moveTo>
                    <a:cubicBezTo>
                      <a:pt x="1" y="10"/>
                      <a:pt x="3" y="11"/>
                      <a:pt x="1" y="10"/>
                    </a:cubicBezTo>
                    <a:cubicBezTo>
                      <a:pt x="0" y="8"/>
                      <a:pt x="1" y="10"/>
                      <a:pt x="1" y="8"/>
                    </a:cubicBezTo>
                    <a:cubicBezTo>
                      <a:pt x="1" y="8"/>
                      <a:pt x="3" y="10"/>
                      <a:pt x="4" y="8"/>
                    </a:cubicBezTo>
                    <a:cubicBezTo>
                      <a:pt x="4" y="6"/>
                      <a:pt x="6" y="6"/>
                      <a:pt x="6" y="6"/>
                    </a:cubicBezTo>
                    <a:cubicBezTo>
                      <a:pt x="7" y="5"/>
                      <a:pt x="6" y="5"/>
                      <a:pt x="4" y="5"/>
                    </a:cubicBezTo>
                    <a:cubicBezTo>
                      <a:pt x="3" y="6"/>
                      <a:pt x="3" y="5"/>
                      <a:pt x="4" y="5"/>
                    </a:cubicBezTo>
                    <a:cubicBezTo>
                      <a:pt x="6" y="5"/>
                      <a:pt x="6" y="3"/>
                      <a:pt x="4" y="3"/>
                    </a:cubicBezTo>
                    <a:cubicBezTo>
                      <a:pt x="3" y="2"/>
                      <a:pt x="1" y="0"/>
                      <a:pt x="4" y="2"/>
                    </a:cubicBezTo>
                    <a:cubicBezTo>
                      <a:pt x="9" y="3"/>
                      <a:pt x="7" y="2"/>
                      <a:pt x="9" y="2"/>
                    </a:cubicBezTo>
                    <a:cubicBezTo>
                      <a:pt x="9" y="0"/>
                      <a:pt x="9" y="2"/>
                      <a:pt x="10" y="2"/>
                    </a:cubicBezTo>
                    <a:cubicBezTo>
                      <a:pt x="12" y="2"/>
                      <a:pt x="12" y="0"/>
                      <a:pt x="13" y="0"/>
                    </a:cubicBezTo>
                    <a:cubicBezTo>
                      <a:pt x="15" y="2"/>
                      <a:pt x="15" y="2"/>
                      <a:pt x="13" y="3"/>
                    </a:cubicBezTo>
                    <a:cubicBezTo>
                      <a:pt x="12" y="5"/>
                      <a:pt x="12" y="3"/>
                      <a:pt x="10" y="6"/>
                    </a:cubicBezTo>
                    <a:cubicBezTo>
                      <a:pt x="9" y="8"/>
                      <a:pt x="9" y="8"/>
                      <a:pt x="7" y="8"/>
                    </a:cubicBezTo>
                    <a:cubicBezTo>
                      <a:pt x="6" y="8"/>
                      <a:pt x="6" y="10"/>
                      <a:pt x="6" y="10"/>
                    </a:cubicBezTo>
                    <a:cubicBezTo>
                      <a:pt x="4" y="11"/>
                      <a:pt x="4" y="10"/>
                      <a:pt x="4" y="11"/>
                    </a:cubicBezTo>
                    <a:cubicBezTo>
                      <a:pt x="4" y="11"/>
                      <a:pt x="4" y="11"/>
                      <a:pt x="3" y="1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65" name="Freeform 159"/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4841786" y="2616993"/>
                <a:ext cx="65501" cy="79536"/>
              </a:xfrm>
              <a:custGeom>
                <a:avLst/>
                <a:gdLst/>
                <a:ahLst/>
                <a:cxnLst>
                  <a:cxn ang="0">
                    <a:pos x="12" y="35"/>
                  </a:cxn>
                  <a:cxn ang="0">
                    <a:pos x="12" y="31"/>
                  </a:cxn>
                  <a:cxn ang="0">
                    <a:pos x="10" y="18"/>
                  </a:cxn>
                  <a:cxn ang="0">
                    <a:pos x="7" y="12"/>
                  </a:cxn>
                  <a:cxn ang="0">
                    <a:pos x="0" y="3"/>
                  </a:cxn>
                  <a:cxn ang="0">
                    <a:pos x="6" y="1"/>
                  </a:cxn>
                  <a:cxn ang="0">
                    <a:pos x="15" y="5"/>
                  </a:cxn>
                  <a:cxn ang="0">
                    <a:pos x="19" y="6"/>
                  </a:cxn>
                  <a:cxn ang="0">
                    <a:pos x="19" y="9"/>
                  </a:cxn>
                  <a:cxn ang="0">
                    <a:pos x="22" y="14"/>
                  </a:cxn>
                  <a:cxn ang="0">
                    <a:pos x="24" y="18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19" y="25"/>
                  </a:cxn>
                  <a:cxn ang="0">
                    <a:pos x="18" y="26"/>
                  </a:cxn>
                  <a:cxn ang="0">
                    <a:pos x="15" y="34"/>
                  </a:cxn>
                  <a:cxn ang="0">
                    <a:pos x="12" y="35"/>
                  </a:cxn>
                </a:cxnLst>
                <a:rect l="0" t="0" r="r" b="b"/>
                <a:pathLst>
                  <a:path w="29" h="35">
                    <a:moveTo>
                      <a:pt x="12" y="35"/>
                    </a:moveTo>
                    <a:cubicBezTo>
                      <a:pt x="10" y="34"/>
                      <a:pt x="12" y="34"/>
                      <a:pt x="12" y="31"/>
                    </a:cubicBezTo>
                    <a:cubicBezTo>
                      <a:pt x="10" y="26"/>
                      <a:pt x="15" y="23"/>
                      <a:pt x="10" y="18"/>
                    </a:cubicBezTo>
                    <a:cubicBezTo>
                      <a:pt x="6" y="12"/>
                      <a:pt x="7" y="14"/>
                      <a:pt x="7" y="12"/>
                    </a:cubicBezTo>
                    <a:cubicBezTo>
                      <a:pt x="4" y="11"/>
                      <a:pt x="3" y="1"/>
                      <a:pt x="0" y="3"/>
                    </a:cubicBezTo>
                    <a:cubicBezTo>
                      <a:pt x="1" y="1"/>
                      <a:pt x="4" y="1"/>
                      <a:pt x="6" y="1"/>
                    </a:cubicBezTo>
                    <a:cubicBezTo>
                      <a:pt x="7" y="0"/>
                      <a:pt x="13" y="5"/>
                      <a:pt x="15" y="5"/>
                    </a:cubicBezTo>
                    <a:cubicBezTo>
                      <a:pt x="16" y="3"/>
                      <a:pt x="16" y="8"/>
                      <a:pt x="19" y="6"/>
                    </a:cubicBezTo>
                    <a:cubicBezTo>
                      <a:pt x="21" y="6"/>
                      <a:pt x="21" y="8"/>
                      <a:pt x="19" y="9"/>
                    </a:cubicBezTo>
                    <a:cubicBezTo>
                      <a:pt x="18" y="12"/>
                      <a:pt x="21" y="14"/>
                      <a:pt x="22" y="14"/>
                    </a:cubicBezTo>
                    <a:cubicBezTo>
                      <a:pt x="24" y="14"/>
                      <a:pt x="21" y="17"/>
                      <a:pt x="24" y="18"/>
                    </a:cubicBezTo>
                    <a:cubicBezTo>
                      <a:pt x="27" y="20"/>
                      <a:pt x="24" y="23"/>
                      <a:pt x="25" y="25"/>
                    </a:cubicBezTo>
                    <a:cubicBezTo>
                      <a:pt x="29" y="25"/>
                      <a:pt x="25" y="26"/>
                      <a:pt x="25" y="25"/>
                    </a:cubicBezTo>
                    <a:cubicBezTo>
                      <a:pt x="24" y="25"/>
                      <a:pt x="21" y="26"/>
                      <a:pt x="19" y="25"/>
                    </a:cubicBezTo>
                    <a:cubicBezTo>
                      <a:pt x="18" y="23"/>
                      <a:pt x="16" y="25"/>
                      <a:pt x="18" y="26"/>
                    </a:cubicBezTo>
                    <a:cubicBezTo>
                      <a:pt x="19" y="29"/>
                      <a:pt x="13" y="32"/>
                      <a:pt x="15" y="34"/>
                    </a:cubicBezTo>
                    <a:cubicBezTo>
                      <a:pt x="15" y="35"/>
                      <a:pt x="13" y="35"/>
                      <a:pt x="12" y="35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66" name="Freeform 160"/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4728330" y="2624011"/>
                <a:ext cx="167261" cy="121642"/>
              </a:xfrm>
              <a:custGeom>
                <a:avLst/>
                <a:gdLst/>
                <a:ahLst/>
                <a:cxnLst>
                  <a:cxn ang="0">
                    <a:pos x="21" y="3"/>
                  </a:cxn>
                  <a:cxn ang="0">
                    <a:pos x="15" y="6"/>
                  </a:cxn>
                  <a:cxn ang="0">
                    <a:pos x="12" y="11"/>
                  </a:cxn>
                  <a:cxn ang="0">
                    <a:pos x="10" y="15"/>
                  </a:cxn>
                  <a:cxn ang="0">
                    <a:pos x="6" y="23"/>
                  </a:cxn>
                  <a:cxn ang="0">
                    <a:pos x="3" y="23"/>
                  </a:cxn>
                  <a:cxn ang="0">
                    <a:pos x="3" y="23"/>
                  </a:cxn>
                  <a:cxn ang="0">
                    <a:pos x="0" y="25"/>
                  </a:cxn>
                  <a:cxn ang="0">
                    <a:pos x="3" y="30"/>
                  </a:cxn>
                  <a:cxn ang="0">
                    <a:pos x="9" y="36"/>
                  </a:cxn>
                  <a:cxn ang="0">
                    <a:pos x="13" y="42"/>
                  </a:cxn>
                  <a:cxn ang="0">
                    <a:pos x="16" y="40"/>
                  </a:cxn>
                  <a:cxn ang="0">
                    <a:pos x="18" y="47"/>
                  </a:cxn>
                  <a:cxn ang="0">
                    <a:pos x="19" y="51"/>
                  </a:cxn>
                  <a:cxn ang="0">
                    <a:pos x="25" y="51"/>
                  </a:cxn>
                  <a:cxn ang="0">
                    <a:pos x="33" y="51"/>
                  </a:cxn>
                  <a:cxn ang="0">
                    <a:pos x="42" y="51"/>
                  </a:cxn>
                  <a:cxn ang="0">
                    <a:pos x="54" y="50"/>
                  </a:cxn>
                  <a:cxn ang="0">
                    <a:pos x="60" y="51"/>
                  </a:cxn>
                  <a:cxn ang="0">
                    <a:pos x="65" y="53"/>
                  </a:cxn>
                  <a:cxn ang="0">
                    <a:pos x="71" y="40"/>
                  </a:cxn>
                  <a:cxn ang="0">
                    <a:pos x="74" y="36"/>
                  </a:cxn>
                  <a:cxn ang="0">
                    <a:pos x="69" y="34"/>
                  </a:cxn>
                  <a:cxn ang="0">
                    <a:pos x="66" y="36"/>
                  </a:cxn>
                  <a:cxn ang="0">
                    <a:pos x="62" y="33"/>
                  </a:cxn>
                  <a:cxn ang="0">
                    <a:pos x="62" y="28"/>
                  </a:cxn>
                  <a:cxn ang="0">
                    <a:pos x="60" y="15"/>
                  </a:cxn>
                  <a:cxn ang="0">
                    <a:pos x="57" y="9"/>
                  </a:cxn>
                  <a:cxn ang="0">
                    <a:pos x="50" y="0"/>
                  </a:cxn>
                  <a:cxn ang="0">
                    <a:pos x="44" y="5"/>
                  </a:cxn>
                  <a:cxn ang="0">
                    <a:pos x="38" y="6"/>
                  </a:cxn>
                  <a:cxn ang="0">
                    <a:pos x="33" y="3"/>
                  </a:cxn>
                  <a:cxn ang="0">
                    <a:pos x="27" y="3"/>
                  </a:cxn>
                  <a:cxn ang="0">
                    <a:pos x="22" y="3"/>
                  </a:cxn>
                  <a:cxn ang="0">
                    <a:pos x="21" y="3"/>
                  </a:cxn>
                </a:cxnLst>
                <a:rect l="0" t="0" r="r" b="b"/>
                <a:pathLst>
                  <a:path w="74" h="54">
                    <a:moveTo>
                      <a:pt x="21" y="3"/>
                    </a:moveTo>
                    <a:cubicBezTo>
                      <a:pt x="18" y="8"/>
                      <a:pt x="16" y="5"/>
                      <a:pt x="15" y="6"/>
                    </a:cubicBezTo>
                    <a:cubicBezTo>
                      <a:pt x="13" y="8"/>
                      <a:pt x="15" y="8"/>
                      <a:pt x="12" y="11"/>
                    </a:cubicBezTo>
                    <a:cubicBezTo>
                      <a:pt x="9" y="14"/>
                      <a:pt x="12" y="14"/>
                      <a:pt x="10" y="15"/>
                    </a:cubicBezTo>
                    <a:cubicBezTo>
                      <a:pt x="9" y="19"/>
                      <a:pt x="6" y="23"/>
                      <a:pt x="6" y="23"/>
                    </a:cubicBezTo>
                    <a:cubicBezTo>
                      <a:pt x="4" y="23"/>
                      <a:pt x="4" y="22"/>
                      <a:pt x="3" y="23"/>
                    </a:cubicBezTo>
                    <a:cubicBezTo>
                      <a:pt x="3" y="23"/>
                      <a:pt x="4" y="23"/>
                      <a:pt x="3" y="23"/>
                    </a:cubicBezTo>
                    <a:cubicBezTo>
                      <a:pt x="1" y="23"/>
                      <a:pt x="0" y="23"/>
                      <a:pt x="0" y="25"/>
                    </a:cubicBezTo>
                    <a:cubicBezTo>
                      <a:pt x="1" y="28"/>
                      <a:pt x="4" y="28"/>
                      <a:pt x="3" y="30"/>
                    </a:cubicBezTo>
                    <a:cubicBezTo>
                      <a:pt x="3" y="34"/>
                      <a:pt x="10" y="34"/>
                      <a:pt x="9" y="36"/>
                    </a:cubicBezTo>
                    <a:cubicBezTo>
                      <a:pt x="7" y="39"/>
                      <a:pt x="9" y="42"/>
                      <a:pt x="13" y="42"/>
                    </a:cubicBezTo>
                    <a:cubicBezTo>
                      <a:pt x="16" y="44"/>
                      <a:pt x="15" y="40"/>
                      <a:pt x="16" y="40"/>
                    </a:cubicBezTo>
                    <a:cubicBezTo>
                      <a:pt x="22" y="45"/>
                      <a:pt x="13" y="42"/>
                      <a:pt x="18" y="47"/>
                    </a:cubicBezTo>
                    <a:cubicBezTo>
                      <a:pt x="24" y="50"/>
                      <a:pt x="18" y="50"/>
                      <a:pt x="19" y="51"/>
                    </a:cubicBezTo>
                    <a:cubicBezTo>
                      <a:pt x="21" y="53"/>
                      <a:pt x="22" y="50"/>
                      <a:pt x="25" y="51"/>
                    </a:cubicBezTo>
                    <a:cubicBezTo>
                      <a:pt x="30" y="54"/>
                      <a:pt x="30" y="51"/>
                      <a:pt x="33" y="51"/>
                    </a:cubicBezTo>
                    <a:cubicBezTo>
                      <a:pt x="36" y="53"/>
                      <a:pt x="39" y="54"/>
                      <a:pt x="42" y="51"/>
                    </a:cubicBezTo>
                    <a:cubicBezTo>
                      <a:pt x="45" y="50"/>
                      <a:pt x="53" y="47"/>
                      <a:pt x="54" y="50"/>
                    </a:cubicBezTo>
                    <a:cubicBezTo>
                      <a:pt x="56" y="51"/>
                      <a:pt x="57" y="48"/>
                      <a:pt x="60" y="51"/>
                    </a:cubicBezTo>
                    <a:cubicBezTo>
                      <a:pt x="60" y="53"/>
                      <a:pt x="63" y="53"/>
                      <a:pt x="65" y="53"/>
                    </a:cubicBezTo>
                    <a:cubicBezTo>
                      <a:pt x="65" y="45"/>
                      <a:pt x="66" y="42"/>
                      <a:pt x="71" y="40"/>
                    </a:cubicBezTo>
                    <a:cubicBezTo>
                      <a:pt x="74" y="40"/>
                      <a:pt x="74" y="39"/>
                      <a:pt x="74" y="36"/>
                    </a:cubicBezTo>
                    <a:cubicBezTo>
                      <a:pt x="73" y="33"/>
                      <a:pt x="69" y="34"/>
                      <a:pt x="69" y="34"/>
                    </a:cubicBezTo>
                    <a:cubicBezTo>
                      <a:pt x="68" y="36"/>
                      <a:pt x="66" y="34"/>
                      <a:pt x="66" y="36"/>
                    </a:cubicBezTo>
                    <a:cubicBezTo>
                      <a:pt x="65" y="37"/>
                      <a:pt x="63" y="36"/>
                      <a:pt x="62" y="33"/>
                    </a:cubicBezTo>
                    <a:cubicBezTo>
                      <a:pt x="60" y="31"/>
                      <a:pt x="62" y="33"/>
                      <a:pt x="62" y="28"/>
                    </a:cubicBezTo>
                    <a:cubicBezTo>
                      <a:pt x="60" y="25"/>
                      <a:pt x="65" y="20"/>
                      <a:pt x="60" y="15"/>
                    </a:cubicBezTo>
                    <a:cubicBezTo>
                      <a:pt x="56" y="11"/>
                      <a:pt x="59" y="11"/>
                      <a:pt x="57" y="9"/>
                    </a:cubicBezTo>
                    <a:cubicBezTo>
                      <a:pt x="54" y="8"/>
                      <a:pt x="54" y="0"/>
                      <a:pt x="50" y="0"/>
                    </a:cubicBezTo>
                    <a:cubicBezTo>
                      <a:pt x="47" y="1"/>
                      <a:pt x="48" y="3"/>
                      <a:pt x="44" y="5"/>
                    </a:cubicBezTo>
                    <a:cubicBezTo>
                      <a:pt x="39" y="5"/>
                      <a:pt x="39" y="5"/>
                      <a:pt x="38" y="6"/>
                    </a:cubicBezTo>
                    <a:cubicBezTo>
                      <a:pt x="36" y="8"/>
                      <a:pt x="35" y="3"/>
                      <a:pt x="33" y="3"/>
                    </a:cubicBezTo>
                    <a:cubicBezTo>
                      <a:pt x="30" y="5"/>
                      <a:pt x="30" y="3"/>
                      <a:pt x="27" y="3"/>
                    </a:cubicBezTo>
                    <a:cubicBezTo>
                      <a:pt x="24" y="3"/>
                      <a:pt x="22" y="1"/>
                      <a:pt x="22" y="3"/>
                    </a:cubicBezTo>
                    <a:cubicBezTo>
                      <a:pt x="21" y="5"/>
                      <a:pt x="21" y="3"/>
                      <a:pt x="21" y="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67" name="Freeform 161"/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4830090" y="2781912"/>
                <a:ext cx="56144" cy="57312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3" y="11"/>
                  </a:cxn>
                  <a:cxn ang="0">
                    <a:pos x="0" y="16"/>
                  </a:cxn>
                  <a:cxn ang="0">
                    <a:pos x="5" y="17"/>
                  </a:cxn>
                  <a:cxn ang="0">
                    <a:pos x="2" y="22"/>
                  </a:cxn>
                  <a:cxn ang="0">
                    <a:pos x="5" y="20"/>
                  </a:cxn>
                  <a:cxn ang="0">
                    <a:pos x="11" y="16"/>
                  </a:cxn>
                  <a:cxn ang="0">
                    <a:pos x="15" y="14"/>
                  </a:cxn>
                  <a:cxn ang="0">
                    <a:pos x="23" y="12"/>
                  </a:cxn>
                  <a:cxn ang="0">
                    <a:pos x="20" y="9"/>
                  </a:cxn>
                  <a:cxn ang="0">
                    <a:pos x="15" y="2"/>
                  </a:cxn>
                  <a:cxn ang="0">
                    <a:pos x="12" y="3"/>
                  </a:cxn>
                  <a:cxn ang="0">
                    <a:pos x="8" y="2"/>
                  </a:cxn>
                  <a:cxn ang="0">
                    <a:pos x="5" y="3"/>
                  </a:cxn>
                  <a:cxn ang="0">
                    <a:pos x="2" y="5"/>
                  </a:cxn>
                </a:cxnLst>
                <a:rect l="0" t="0" r="r" b="b"/>
                <a:pathLst>
                  <a:path w="25" h="25">
                    <a:moveTo>
                      <a:pt x="2" y="5"/>
                    </a:moveTo>
                    <a:cubicBezTo>
                      <a:pt x="5" y="8"/>
                      <a:pt x="5" y="9"/>
                      <a:pt x="3" y="11"/>
                    </a:cubicBezTo>
                    <a:cubicBezTo>
                      <a:pt x="2" y="11"/>
                      <a:pt x="3" y="14"/>
                      <a:pt x="0" y="16"/>
                    </a:cubicBezTo>
                    <a:cubicBezTo>
                      <a:pt x="0" y="20"/>
                      <a:pt x="9" y="16"/>
                      <a:pt x="5" y="17"/>
                    </a:cubicBezTo>
                    <a:cubicBezTo>
                      <a:pt x="2" y="20"/>
                      <a:pt x="2" y="19"/>
                      <a:pt x="2" y="22"/>
                    </a:cubicBezTo>
                    <a:cubicBezTo>
                      <a:pt x="0" y="25"/>
                      <a:pt x="2" y="22"/>
                      <a:pt x="5" y="20"/>
                    </a:cubicBezTo>
                    <a:cubicBezTo>
                      <a:pt x="8" y="17"/>
                      <a:pt x="9" y="19"/>
                      <a:pt x="11" y="16"/>
                    </a:cubicBezTo>
                    <a:cubicBezTo>
                      <a:pt x="14" y="9"/>
                      <a:pt x="14" y="16"/>
                      <a:pt x="15" y="14"/>
                    </a:cubicBezTo>
                    <a:cubicBezTo>
                      <a:pt x="18" y="11"/>
                      <a:pt x="21" y="16"/>
                      <a:pt x="23" y="12"/>
                    </a:cubicBezTo>
                    <a:cubicBezTo>
                      <a:pt x="25" y="9"/>
                      <a:pt x="23" y="11"/>
                      <a:pt x="20" y="9"/>
                    </a:cubicBezTo>
                    <a:cubicBezTo>
                      <a:pt x="15" y="6"/>
                      <a:pt x="15" y="5"/>
                      <a:pt x="15" y="2"/>
                    </a:cubicBezTo>
                    <a:cubicBezTo>
                      <a:pt x="14" y="2"/>
                      <a:pt x="14" y="3"/>
                      <a:pt x="12" y="3"/>
                    </a:cubicBezTo>
                    <a:cubicBezTo>
                      <a:pt x="11" y="3"/>
                      <a:pt x="9" y="0"/>
                      <a:pt x="8" y="2"/>
                    </a:cubicBezTo>
                    <a:cubicBezTo>
                      <a:pt x="6" y="3"/>
                      <a:pt x="5" y="0"/>
                      <a:pt x="5" y="3"/>
                    </a:cubicBezTo>
                    <a:cubicBezTo>
                      <a:pt x="3" y="5"/>
                      <a:pt x="2" y="3"/>
                      <a:pt x="2" y="5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68" name="Freeform 162"/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4782133" y="2303530"/>
                <a:ext cx="91233" cy="65500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1" y="15"/>
                  </a:cxn>
                  <a:cxn ang="0">
                    <a:pos x="1" y="9"/>
                  </a:cxn>
                  <a:cxn ang="0">
                    <a:pos x="4" y="4"/>
                  </a:cxn>
                  <a:cxn ang="0">
                    <a:pos x="13" y="3"/>
                  </a:cxn>
                  <a:cxn ang="0">
                    <a:pos x="18" y="1"/>
                  </a:cxn>
                  <a:cxn ang="0">
                    <a:pos x="27" y="3"/>
                  </a:cxn>
                  <a:cxn ang="0">
                    <a:pos x="36" y="3"/>
                  </a:cxn>
                  <a:cxn ang="0">
                    <a:pos x="35" y="8"/>
                  </a:cxn>
                  <a:cxn ang="0">
                    <a:pos x="32" y="15"/>
                  </a:cxn>
                  <a:cxn ang="0">
                    <a:pos x="33" y="22"/>
                  </a:cxn>
                  <a:cxn ang="0">
                    <a:pos x="32" y="28"/>
                  </a:cxn>
                  <a:cxn ang="0">
                    <a:pos x="26" y="28"/>
                  </a:cxn>
                  <a:cxn ang="0">
                    <a:pos x="20" y="25"/>
                  </a:cxn>
                  <a:cxn ang="0">
                    <a:pos x="15" y="22"/>
                  </a:cxn>
                  <a:cxn ang="0">
                    <a:pos x="7" y="25"/>
                  </a:cxn>
                  <a:cxn ang="0">
                    <a:pos x="7" y="18"/>
                  </a:cxn>
                </a:cxnLst>
                <a:rect l="0" t="0" r="r" b="b"/>
                <a:pathLst>
                  <a:path w="40" h="29">
                    <a:moveTo>
                      <a:pt x="7" y="18"/>
                    </a:moveTo>
                    <a:cubicBezTo>
                      <a:pt x="3" y="20"/>
                      <a:pt x="3" y="17"/>
                      <a:pt x="1" y="15"/>
                    </a:cubicBezTo>
                    <a:cubicBezTo>
                      <a:pt x="0" y="12"/>
                      <a:pt x="0" y="12"/>
                      <a:pt x="1" y="9"/>
                    </a:cubicBezTo>
                    <a:cubicBezTo>
                      <a:pt x="1" y="6"/>
                      <a:pt x="4" y="8"/>
                      <a:pt x="4" y="4"/>
                    </a:cubicBezTo>
                    <a:cubicBezTo>
                      <a:pt x="6" y="3"/>
                      <a:pt x="10" y="3"/>
                      <a:pt x="13" y="3"/>
                    </a:cubicBezTo>
                    <a:cubicBezTo>
                      <a:pt x="18" y="3"/>
                      <a:pt x="13" y="0"/>
                      <a:pt x="18" y="1"/>
                    </a:cubicBezTo>
                    <a:cubicBezTo>
                      <a:pt x="23" y="3"/>
                      <a:pt x="26" y="1"/>
                      <a:pt x="27" y="3"/>
                    </a:cubicBezTo>
                    <a:cubicBezTo>
                      <a:pt x="30" y="4"/>
                      <a:pt x="33" y="4"/>
                      <a:pt x="36" y="3"/>
                    </a:cubicBezTo>
                    <a:cubicBezTo>
                      <a:pt x="40" y="6"/>
                      <a:pt x="35" y="4"/>
                      <a:pt x="35" y="8"/>
                    </a:cubicBezTo>
                    <a:cubicBezTo>
                      <a:pt x="35" y="12"/>
                      <a:pt x="30" y="9"/>
                      <a:pt x="32" y="15"/>
                    </a:cubicBezTo>
                    <a:cubicBezTo>
                      <a:pt x="35" y="20"/>
                      <a:pt x="30" y="17"/>
                      <a:pt x="33" y="22"/>
                    </a:cubicBezTo>
                    <a:cubicBezTo>
                      <a:pt x="36" y="26"/>
                      <a:pt x="33" y="23"/>
                      <a:pt x="32" y="28"/>
                    </a:cubicBezTo>
                    <a:cubicBezTo>
                      <a:pt x="29" y="29"/>
                      <a:pt x="30" y="26"/>
                      <a:pt x="26" y="28"/>
                    </a:cubicBezTo>
                    <a:cubicBezTo>
                      <a:pt x="23" y="29"/>
                      <a:pt x="21" y="25"/>
                      <a:pt x="20" y="25"/>
                    </a:cubicBezTo>
                    <a:cubicBezTo>
                      <a:pt x="18" y="25"/>
                      <a:pt x="17" y="22"/>
                      <a:pt x="15" y="22"/>
                    </a:cubicBezTo>
                    <a:cubicBezTo>
                      <a:pt x="12" y="20"/>
                      <a:pt x="12" y="23"/>
                      <a:pt x="7" y="25"/>
                    </a:cubicBezTo>
                    <a:cubicBezTo>
                      <a:pt x="9" y="18"/>
                      <a:pt x="10" y="15"/>
                      <a:pt x="7" y="18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69" name="Freeform 163"/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4736517" y="2346807"/>
                <a:ext cx="136850" cy="72517"/>
              </a:xfrm>
              <a:custGeom>
                <a:avLst/>
                <a:gdLst/>
                <a:ahLst/>
                <a:cxnLst>
                  <a:cxn ang="0">
                    <a:pos x="0" y="27"/>
                  </a:cxn>
                  <a:cxn ang="0">
                    <a:pos x="15" y="24"/>
                  </a:cxn>
                  <a:cxn ang="0">
                    <a:pos x="26" y="24"/>
                  </a:cxn>
                  <a:cxn ang="0">
                    <a:pos x="32" y="22"/>
                  </a:cxn>
                  <a:cxn ang="0">
                    <a:pos x="35" y="26"/>
                  </a:cxn>
                  <a:cxn ang="0">
                    <a:pos x="46" y="32"/>
                  </a:cxn>
                  <a:cxn ang="0">
                    <a:pos x="53" y="30"/>
                  </a:cxn>
                  <a:cxn ang="0">
                    <a:pos x="58" y="27"/>
                  </a:cxn>
                  <a:cxn ang="0">
                    <a:pos x="56" y="21"/>
                  </a:cxn>
                  <a:cxn ang="0">
                    <a:pos x="55" y="18"/>
                  </a:cxn>
                  <a:cxn ang="0">
                    <a:pos x="55" y="13"/>
                  </a:cxn>
                  <a:cxn ang="0">
                    <a:pos x="52" y="8"/>
                  </a:cxn>
                  <a:cxn ang="0">
                    <a:pos x="46" y="8"/>
                  </a:cxn>
                  <a:cxn ang="0">
                    <a:pos x="40" y="5"/>
                  </a:cxn>
                  <a:cxn ang="0">
                    <a:pos x="35" y="2"/>
                  </a:cxn>
                  <a:cxn ang="0">
                    <a:pos x="27" y="5"/>
                  </a:cxn>
                  <a:cxn ang="0">
                    <a:pos x="24" y="15"/>
                  </a:cxn>
                  <a:cxn ang="0">
                    <a:pos x="15" y="10"/>
                  </a:cxn>
                  <a:cxn ang="0">
                    <a:pos x="12" y="7"/>
                  </a:cxn>
                  <a:cxn ang="0">
                    <a:pos x="4" y="10"/>
                  </a:cxn>
                  <a:cxn ang="0">
                    <a:pos x="4" y="13"/>
                  </a:cxn>
                  <a:cxn ang="0">
                    <a:pos x="1" y="19"/>
                  </a:cxn>
                  <a:cxn ang="0">
                    <a:pos x="0" y="27"/>
                  </a:cxn>
                </a:cxnLst>
                <a:rect l="0" t="0" r="r" b="b"/>
                <a:pathLst>
                  <a:path w="60" h="32">
                    <a:moveTo>
                      <a:pt x="0" y="27"/>
                    </a:moveTo>
                    <a:cubicBezTo>
                      <a:pt x="7" y="22"/>
                      <a:pt x="9" y="22"/>
                      <a:pt x="15" y="24"/>
                    </a:cubicBezTo>
                    <a:cubicBezTo>
                      <a:pt x="21" y="24"/>
                      <a:pt x="23" y="22"/>
                      <a:pt x="26" y="24"/>
                    </a:cubicBezTo>
                    <a:cubicBezTo>
                      <a:pt x="30" y="26"/>
                      <a:pt x="30" y="22"/>
                      <a:pt x="32" y="22"/>
                    </a:cubicBezTo>
                    <a:cubicBezTo>
                      <a:pt x="33" y="24"/>
                      <a:pt x="30" y="26"/>
                      <a:pt x="35" y="26"/>
                    </a:cubicBezTo>
                    <a:cubicBezTo>
                      <a:pt x="40" y="26"/>
                      <a:pt x="41" y="30"/>
                      <a:pt x="46" y="32"/>
                    </a:cubicBezTo>
                    <a:cubicBezTo>
                      <a:pt x="50" y="29"/>
                      <a:pt x="52" y="32"/>
                      <a:pt x="53" y="30"/>
                    </a:cubicBezTo>
                    <a:cubicBezTo>
                      <a:pt x="55" y="27"/>
                      <a:pt x="55" y="27"/>
                      <a:pt x="58" y="27"/>
                    </a:cubicBezTo>
                    <a:cubicBezTo>
                      <a:pt x="58" y="27"/>
                      <a:pt x="60" y="24"/>
                      <a:pt x="56" y="21"/>
                    </a:cubicBezTo>
                    <a:cubicBezTo>
                      <a:pt x="55" y="18"/>
                      <a:pt x="56" y="18"/>
                      <a:pt x="55" y="18"/>
                    </a:cubicBezTo>
                    <a:cubicBezTo>
                      <a:pt x="53" y="18"/>
                      <a:pt x="55" y="15"/>
                      <a:pt x="55" y="13"/>
                    </a:cubicBezTo>
                    <a:cubicBezTo>
                      <a:pt x="56" y="11"/>
                      <a:pt x="53" y="11"/>
                      <a:pt x="52" y="8"/>
                    </a:cubicBezTo>
                    <a:cubicBezTo>
                      <a:pt x="49" y="10"/>
                      <a:pt x="50" y="7"/>
                      <a:pt x="46" y="8"/>
                    </a:cubicBezTo>
                    <a:cubicBezTo>
                      <a:pt x="43" y="10"/>
                      <a:pt x="41" y="5"/>
                      <a:pt x="40" y="5"/>
                    </a:cubicBezTo>
                    <a:cubicBezTo>
                      <a:pt x="38" y="5"/>
                      <a:pt x="37" y="2"/>
                      <a:pt x="35" y="2"/>
                    </a:cubicBezTo>
                    <a:cubicBezTo>
                      <a:pt x="32" y="0"/>
                      <a:pt x="32" y="3"/>
                      <a:pt x="27" y="5"/>
                    </a:cubicBezTo>
                    <a:cubicBezTo>
                      <a:pt x="26" y="8"/>
                      <a:pt x="30" y="13"/>
                      <a:pt x="24" y="15"/>
                    </a:cubicBezTo>
                    <a:cubicBezTo>
                      <a:pt x="17" y="18"/>
                      <a:pt x="20" y="11"/>
                      <a:pt x="15" y="10"/>
                    </a:cubicBezTo>
                    <a:cubicBezTo>
                      <a:pt x="10" y="8"/>
                      <a:pt x="15" y="5"/>
                      <a:pt x="12" y="7"/>
                    </a:cubicBezTo>
                    <a:cubicBezTo>
                      <a:pt x="7" y="8"/>
                      <a:pt x="6" y="8"/>
                      <a:pt x="4" y="10"/>
                    </a:cubicBezTo>
                    <a:cubicBezTo>
                      <a:pt x="4" y="11"/>
                      <a:pt x="3" y="11"/>
                      <a:pt x="4" y="13"/>
                    </a:cubicBezTo>
                    <a:cubicBezTo>
                      <a:pt x="4" y="16"/>
                      <a:pt x="1" y="16"/>
                      <a:pt x="1" y="19"/>
                    </a:cubicBezTo>
                    <a:cubicBezTo>
                      <a:pt x="0" y="22"/>
                      <a:pt x="0" y="24"/>
                      <a:pt x="0" y="27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70" name="Freeform 164"/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4736517" y="2397101"/>
                <a:ext cx="107608" cy="79536"/>
              </a:xfrm>
              <a:custGeom>
                <a:avLst/>
                <a:gdLst/>
                <a:ahLst/>
                <a:cxnLst>
                  <a:cxn ang="0">
                    <a:pos x="46" y="10"/>
                  </a:cxn>
                  <a:cxn ang="0">
                    <a:pos x="46" y="16"/>
                  </a:cxn>
                  <a:cxn ang="0">
                    <a:pos x="38" y="22"/>
                  </a:cxn>
                  <a:cxn ang="0">
                    <a:pos x="38" y="29"/>
                  </a:cxn>
                  <a:cxn ang="0">
                    <a:pos x="32" y="30"/>
                  </a:cxn>
                  <a:cxn ang="0">
                    <a:pos x="21" y="32"/>
                  </a:cxn>
                  <a:cxn ang="0">
                    <a:pos x="15" y="27"/>
                  </a:cxn>
                  <a:cxn ang="0">
                    <a:pos x="13" y="19"/>
                  </a:cxn>
                  <a:cxn ang="0">
                    <a:pos x="3" y="16"/>
                  </a:cxn>
                  <a:cxn ang="0">
                    <a:pos x="1" y="10"/>
                  </a:cxn>
                  <a:cxn ang="0">
                    <a:pos x="0" y="5"/>
                  </a:cxn>
                  <a:cxn ang="0">
                    <a:pos x="15" y="2"/>
                  </a:cxn>
                  <a:cxn ang="0">
                    <a:pos x="26" y="2"/>
                  </a:cxn>
                  <a:cxn ang="0">
                    <a:pos x="32" y="0"/>
                  </a:cxn>
                  <a:cxn ang="0">
                    <a:pos x="35" y="3"/>
                  </a:cxn>
                  <a:cxn ang="0">
                    <a:pos x="46" y="10"/>
                  </a:cxn>
                </a:cxnLst>
                <a:rect l="0" t="0" r="r" b="b"/>
                <a:pathLst>
                  <a:path w="47" h="35">
                    <a:moveTo>
                      <a:pt x="46" y="10"/>
                    </a:moveTo>
                    <a:cubicBezTo>
                      <a:pt x="42" y="18"/>
                      <a:pt x="47" y="13"/>
                      <a:pt x="46" y="16"/>
                    </a:cubicBezTo>
                    <a:cubicBezTo>
                      <a:pt x="44" y="19"/>
                      <a:pt x="42" y="16"/>
                      <a:pt x="38" y="22"/>
                    </a:cubicBezTo>
                    <a:cubicBezTo>
                      <a:pt x="35" y="27"/>
                      <a:pt x="41" y="27"/>
                      <a:pt x="38" y="29"/>
                    </a:cubicBezTo>
                    <a:cubicBezTo>
                      <a:pt x="36" y="32"/>
                      <a:pt x="38" y="24"/>
                      <a:pt x="32" y="30"/>
                    </a:cubicBezTo>
                    <a:cubicBezTo>
                      <a:pt x="27" y="35"/>
                      <a:pt x="26" y="30"/>
                      <a:pt x="21" y="32"/>
                    </a:cubicBezTo>
                    <a:cubicBezTo>
                      <a:pt x="21" y="29"/>
                      <a:pt x="16" y="25"/>
                      <a:pt x="15" y="27"/>
                    </a:cubicBezTo>
                    <a:cubicBezTo>
                      <a:pt x="13" y="22"/>
                      <a:pt x="16" y="21"/>
                      <a:pt x="13" y="19"/>
                    </a:cubicBezTo>
                    <a:cubicBezTo>
                      <a:pt x="10" y="16"/>
                      <a:pt x="13" y="21"/>
                      <a:pt x="3" y="16"/>
                    </a:cubicBezTo>
                    <a:cubicBezTo>
                      <a:pt x="3" y="14"/>
                      <a:pt x="3" y="11"/>
                      <a:pt x="1" y="10"/>
                    </a:cubicBezTo>
                    <a:cubicBezTo>
                      <a:pt x="0" y="8"/>
                      <a:pt x="0" y="8"/>
                      <a:pt x="0" y="5"/>
                    </a:cubicBezTo>
                    <a:cubicBezTo>
                      <a:pt x="7" y="0"/>
                      <a:pt x="9" y="0"/>
                      <a:pt x="15" y="2"/>
                    </a:cubicBezTo>
                    <a:cubicBezTo>
                      <a:pt x="21" y="2"/>
                      <a:pt x="23" y="0"/>
                      <a:pt x="26" y="2"/>
                    </a:cubicBezTo>
                    <a:cubicBezTo>
                      <a:pt x="30" y="3"/>
                      <a:pt x="30" y="0"/>
                      <a:pt x="32" y="0"/>
                    </a:cubicBezTo>
                    <a:cubicBezTo>
                      <a:pt x="33" y="2"/>
                      <a:pt x="30" y="3"/>
                      <a:pt x="35" y="3"/>
                    </a:cubicBezTo>
                    <a:cubicBezTo>
                      <a:pt x="39" y="3"/>
                      <a:pt x="41" y="8"/>
                      <a:pt x="46" y="1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71" name="Freeform 165"/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4771607" y="2404119"/>
                <a:ext cx="183637" cy="142696"/>
              </a:xfrm>
              <a:custGeom>
                <a:avLst/>
                <a:gdLst/>
                <a:ahLst/>
                <a:cxnLst>
                  <a:cxn ang="0">
                    <a:pos x="70" y="50"/>
                  </a:cxn>
                  <a:cxn ang="0">
                    <a:pos x="63" y="58"/>
                  </a:cxn>
                  <a:cxn ang="0">
                    <a:pos x="60" y="60"/>
                  </a:cxn>
                  <a:cxn ang="0">
                    <a:pos x="54" y="60"/>
                  </a:cxn>
                  <a:cxn ang="0">
                    <a:pos x="47" y="58"/>
                  </a:cxn>
                  <a:cxn ang="0">
                    <a:pos x="40" y="57"/>
                  </a:cxn>
                  <a:cxn ang="0">
                    <a:pos x="32" y="55"/>
                  </a:cxn>
                  <a:cxn ang="0">
                    <a:pos x="17" y="54"/>
                  </a:cxn>
                  <a:cxn ang="0">
                    <a:pos x="9" y="57"/>
                  </a:cxn>
                  <a:cxn ang="0">
                    <a:pos x="6" y="58"/>
                  </a:cxn>
                  <a:cxn ang="0">
                    <a:pos x="3" y="50"/>
                  </a:cxn>
                  <a:cxn ang="0">
                    <a:pos x="8" y="46"/>
                  </a:cxn>
                  <a:cxn ang="0">
                    <a:pos x="6" y="29"/>
                  </a:cxn>
                  <a:cxn ang="0">
                    <a:pos x="17" y="27"/>
                  </a:cxn>
                  <a:cxn ang="0">
                    <a:pos x="23" y="25"/>
                  </a:cxn>
                  <a:cxn ang="0">
                    <a:pos x="23" y="19"/>
                  </a:cxn>
                  <a:cxn ang="0">
                    <a:pos x="31" y="13"/>
                  </a:cxn>
                  <a:cxn ang="0">
                    <a:pos x="31" y="7"/>
                  </a:cxn>
                  <a:cxn ang="0">
                    <a:pos x="38" y="5"/>
                  </a:cxn>
                  <a:cxn ang="0">
                    <a:pos x="43" y="2"/>
                  </a:cxn>
                  <a:cxn ang="0">
                    <a:pos x="49" y="3"/>
                  </a:cxn>
                  <a:cxn ang="0">
                    <a:pos x="55" y="7"/>
                  </a:cxn>
                  <a:cxn ang="0">
                    <a:pos x="61" y="7"/>
                  </a:cxn>
                  <a:cxn ang="0">
                    <a:pos x="64" y="10"/>
                  </a:cxn>
                  <a:cxn ang="0">
                    <a:pos x="64" y="16"/>
                  </a:cxn>
                  <a:cxn ang="0">
                    <a:pos x="66" y="22"/>
                  </a:cxn>
                  <a:cxn ang="0">
                    <a:pos x="72" y="29"/>
                  </a:cxn>
                  <a:cxn ang="0">
                    <a:pos x="76" y="33"/>
                  </a:cxn>
                  <a:cxn ang="0">
                    <a:pos x="78" y="36"/>
                  </a:cxn>
                  <a:cxn ang="0">
                    <a:pos x="70" y="38"/>
                  </a:cxn>
                  <a:cxn ang="0">
                    <a:pos x="69" y="41"/>
                  </a:cxn>
                  <a:cxn ang="0">
                    <a:pos x="70" y="50"/>
                  </a:cxn>
                </a:cxnLst>
                <a:rect l="0" t="0" r="r" b="b"/>
                <a:pathLst>
                  <a:path w="81" h="63">
                    <a:moveTo>
                      <a:pt x="70" y="50"/>
                    </a:moveTo>
                    <a:cubicBezTo>
                      <a:pt x="64" y="50"/>
                      <a:pt x="63" y="54"/>
                      <a:pt x="63" y="58"/>
                    </a:cubicBezTo>
                    <a:cubicBezTo>
                      <a:pt x="63" y="63"/>
                      <a:pt x="61" y="63"/>
                      <a:pt x="60" y="60"/>
                    </a:cubicBezTo>
                    <a:cubicBezTo>
                      <a:pt x="58" y="60"/>
                      <a:pt x="55" y="60"/>
                      <a:pt x="54" y="60"/>
                    </a:cubicBezTo>
                    <a:cubicBezTo>
                      <a:pt x="50" y="61"/>
                      <a:pt x="52" y="55"/>
                      <a:pt x="47" y="58"/>
                    </a:cubicBezTo>
                    <a:cubicBezTo>
                      <a:pt x="44" y="61"/>
                      <a:pt x="49" y="57"/>
                      <a:pt x="40" y="57"/>
                    </a:cubicBezTo>
                    <a:cubicBezTo>
                      <a:pt x="34" y="57"/>
                      <a:pt x="37" y="55"/>
                      <a:pt x="32" y="55"/>
                    </a:cubicBezTo>
                    <a:cubicBezTo>
                      <a:pt x="29" y="57"/>
                      <a:pt x="28" y="52"/>
                      <a:pt x="17" y="54"/>
                    </a:cubicBezTo>
                    <a:cubicBezTo>
                      <a:pt x="8" y="55"/>
                      <a:pt x="12" y="58"/>
                      <a:pt x="9" y="57"/>
                    </a:cubicBezTo>
                    <a:cubicBezTo>
                      <a:pt x="8" y="57"/>
                      <a:pt x="6" y="58"/>
                      <a:pt x="6" y="58"/>
                    </a:cubicBezTo>
                    <a:cubicBezTo>
                      <a:pt x="5" y="55"/>
                      <a:pt x="9" y="52"/>
                      <a:pt x="3" y="50"/>
                    </a:cubicBezTo>
                    <a:cubicBezTo>
                      <a:pt x="0" y="49"/>
                      <a:pt x="5" y="46"/>
                      <a:pt x="8" y="46"/>
                    </a:cubicBezTo>
                    <a:cubicBezTo>
                      <a:pt x="11" y="44"/>
                      <a:pt x="8" y="38"/>
                      <a:pt x="6" y="29"/>
                    </a:cubicBezTo>
                    <a:cubicBezTo>
                      <a:pt x="11" y="27"/>
                      <a:pt x="12" y="32"/>
                      <a:pt x="17" y="27"/>
                    </a:cubicBezTo>
                    <a:cubicBezTo>
                      <a:pt x="23" y="21"/>
                      <a:pt x="21" y="29"/>
                      <a:pt x="23" y="25"/>
                    </a:cubicBezTo>
                    <a:cubicBezTo>
                      <a:pt x="26" y="24"/>
                      <a:pt x="20" y="24"/>
                      <a:pt x="23" y="19"/>
                    </a:cubicBezTo>
                    <a:cubicBezTo>
                      <a:pt x="28" y="13"/>
                      <a:pt x="29" y="16"/>
                      <a:pt x="31" y="13"/>
                    </a:cubicBezTo>
                    <a:cubicBezTo>
                      <a:pt x="32" y="10"/>
                      <a:pt x="28" y="14"/>
                      <a:pt x="31" y="7"/>
                    </a:cubicBezTo>
                    <a:cubicBezTo>
                      <a:pt x="35" y="3"/>
                      <a:pt x="37" y="7"/>
                      <a:pt x="38" y="5"/>
                    </a:cubicBezTo>
                    <a:cubicBezTo>
                      <a:pt x="40" y="2"/>
                      <a:pt x="40" y="2"/>
                      <a:pt x="43" y="2"/>
                    </a:cubicBezTo>
                    <a:cubicBezTo>
                      <a:pt x="47" y="0"/>
                      <a:pt x="44" y="3"/>
                      <a:pt x="49" y="3"/>
                    </a:cubicBezTo>
                    <a:cubicBezTo>
                      <a:pt x="55" y="2"/>
                      <a:pt x="50" y="8"/>
                      <a:pt x="55" y="7"/>
                    </a:cubicBezTo>
                    <a:cubicBezTo>
                      <a:pt x="58" y="3"/>
                      <a:pt x="61" y="5"/>
                      <a:pt x="61" y="7"/>
                    </a:cubicBezTo>
                    <a:cubicBezTo>
                      <a:pt x="63" y="8"/>
                      <a:pt x="66" y="7"/>
                      <a:pt x="64" y="10"/>
                    </a:cubicBezTo>
                    <a:cubicBezTo>
                      <a:pt x="63" y="14"/>
                      <a:pt x="67" y="14"/>
                      <a:pt x="64" y="16"/>
                    </a:cubicBezTo>
                    <a:cubicBezTo>
                      <a:pt x="61" y="19"/>
                      <a:pt x="66" y="18"/>
                      <a:pt x="66" y="22"/>
                    </a:cubicBezTo>
                    <a:cubicBezTo>
                      <a:pt x="67" y="29"/>
                      <a:pt x="73" y="27"/>
                      <a:pt x="72" y="29"/>
                    </a:cubicBezTo>
                    <a:cubicBezTo>
                      <a:pt x="69" y="33"/>
                      <a:pt x="76" y="29"/>
                      <a:pt x="76" y="33"/>
                    </a:cubicBezTo>
                    <a:cubicBezTo>
                      <a:pt x="76" y="35"/>
                      <a:pt x="81" y="35"/>
                      <a:pt x="78" y="36"/>
                    </a:cubicBezTo>
                    <a:cubicBezTo>
                      <a:pt x="75" y="38"/>
                      <a:pt x="75" y="41"/>
                      <a:pt x="70" y="38"/>
                    </a:cubicBezTo>
                    <a:cubicBezTo>
                      <a:pt x="69" y="36"/>
                      <a:pt x="67" y="39"/>
                      <a:pt x="69" y="41"/>
                    </a:cubicBezTo>
                    <a:cubicBezTo>
                      <a:pt x="72" y="46"/>
                      <a:pt x="67" y="46"/>
                      <a:pt x="70" y="5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72" name="Freeform 166"/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4610194" y="2443887"/>
                <a:ext cx="192994" cy="161410"/>
              </a:xfrm>
              <a:custGeom>
                <a:avLst/>
                <a:gdLst/>
                <a:ahLst/>
                <a:cxnLst>
                  <a:cxn ang="0">
                    <a:pos x="77" y="40"/>
                  </a:cxn>
                  <a:cxn ang="0">
                    <a:pos x="79" y="47"/>
                  </a:cxn>
                  <a:cxn ang="0">
                    <a:pos x="80" y="50"/>
                  </a:cxn>
                  <a:cxn ang="0">
                    <a:pos x="79" y="54"/>
                  </a:cxn>
                  <a:cxn ang="0">
                    <a:pos x="71" y="62"/>
                  </a:cxn>
                  <a:cxn ang="0">
                    <a:pos x="71" y="68"/>
                  </a:cxn>
                  <a:cxn ang="0">
                    <a:pos x="68" y="70"/>
                  </a:cxn>
                  <a:cxn ang="0">
                    <a:pos x="63" y="67"/>
                  </a:cxn>
                  <a:cxn ang="0">
                    <a:pos x="53" y="65"/>
                  </a:cxn>
                  <a:cxn ang="0">
                    <a:pos x="48" y="68"/>
                  </a:cxn>
                  <a:cxn ang="0">
                    <a:pos x="47" y="67"/>
                  </a:cxn>
                  <a:cxn ang="0">
                    <a:pos x="42" y="65"/>
                  </a:cxn>
                  <a:cxn ang="0">
                    <a:pos x="41" y="65"/>
                  </a:cxn>
                  <a:cxn ang="0">
                    <a:pos x="39" y="65"/>
                  </a:cxn>
                  <a:cxn ang="0">
                    <a:pos x="35" y="59"/>
                  </a:cxn>
                  <a:cxn ang="0">
                    <a:pos x="30" y="57"/>
                  </a:cxn>
                  <a:cxn ang="0">
                    <a:pos x="28" y="56"/>
                  </a:cxn>
                  <a:cxn ang="0">
                    <a:pos x="24" y="54"/>
                  </a:cxn>
                  <a:cxn ang="0">
                    <a:pos x="21" y="56"/>
                  </a:cxn>
                  <a:cxn ang="0">
                    <a:pos x="21" y="51"/>
                  </a:cxn>
                  <a:cxn ang="0">
                    <a:pos x="15" y="50"/>
                  </a:cxn>
                  <a:cxn ang="0">
                    <a:pos x="9" y="48"/>
                  </a:cxn>
                  <a:cxn ang="0">
                    <a:pos x="6" y="39"/>
                  </a:cxn>
                  <a:cxn ang="0">
                    <a:pos x="6" y="31"/>
                  </a:cxn>
                  <a:cxn ang="0">
                    <a:pos x="4" y="26"/>
                  </a:cxn>
                  <a:cxn ang="0">
                    <a:pos x="3" y="14"/>
                  </a:cxn>
                  <a:cxn ang="0">
                    <a:pos x="6" y="14"/>
                  </a:cxn>
                  <a:cxn ang="0">
                    <a:pos x="6" y="12"/>
                  </a:cxn>
                  <a:cxn ang="0">
                    <a:pos x="3" y="12"/>
                  </a:cxn>
                  <a:cxn ang="0">
                    <a:pos x="3" y="11"/>
                  </a:cxn>
                  <a:cxn ang="0">
                    <a:pos x="15" y="8"/>
                  </a:cxn>
                  <a:cxn ang="0">
                    <a:pos x="22" y="3"/>
                  </a:cxn>
                  <a:cxn ang="0">
                    <a:pos x="30" y="0"/>
                  </a:cxn>
                  <a:cxn ang="0">
                    <a:pos x="39" y="3"/>
                  </a:cxn>
                  <a:cxn ang="0">
                    <a:pos x="38" y="3"/>
                  </a:cxn>
                  <a:cxn ang="0">
                    <a:pos x="38" y="5"/>
                  </a:cxn>
                  <a:cxn ang="0">
                    <a:pos x="45" y="5"/>
                  </a:cxn>
                  <a:cxn ang="0">
                    <a:pos x="71" y="6"/>
                  </a:cxn>
                  <a:cxn ang="0">
                    <a:pos x="77" y="11"/>
                  </a:cxn>
                  <a:cxn ang="0">
                    <a:pos x="79" y="28"/>
                  </a:cxn>
                  <a:cxn ang="0">
                    <a:pos x="74" y="33"/>
                  </a:cxn>
                  <a:cxn ang="0">
                    <a:pos x="77" y="40"/>
                  </a:cxn>
                </a:cxnLst>
                <a:rect l="0" t="0" r="r" b="b"/>
                <a:pathLst>
                  <a:path w="85" h="71">
                    <a:moveTo>
                      <a:pt x="77" y="40"/>
                    </a:moveTo>
                    <a:cubicBezTo>
                      <a:pt x="79" y="43"/>
                      <a:pt x="76" y="42"/>
                      <a:pt x="79" y="47"/>
                    </a:cubicBezTo>
                    <a:cubicBezTo>
                      <a:pt x="85" y="51"/>
                      <a:pt x="79" y="48"/>
                      <a:pt x="80" y="50"/>
                    </a:cubicBezTo>
                    <a:cubicBezTo>
                      <a:pt x="82" y="51"/>
                      <a:pt x="83" y="53"/>
                      <a:pt x="79" y="54"/>
                    </a:cubicBezTo>
                    <a:cubicBezTo>
                      <a:pt x="77" y="54"/>
                      <a:pt x="72" y="59"/>
                      <a:pt x="71" y="62"/>
                    </a:cubicBezTo>
                    <a:cubicBezTo>
                      <a:pt x="68" y="65"/>
                      <a:pt x="71" y="67"/>
                      <a:pt x="71" y="68"/>
                    </a:cubicBezTo>
                    <a:cubicBezTo>
                      <a:pt x="69" y="70"/>
                      <a:pt x="74" y="71"/>
                      <a:pt x="68" y="70"/>
                    </a:cubicBezTo>
                    <a:cubicBezTo>
                      <a:pt x="63" y="68"/>
                      <a:pt x="65" y="67"/>
                      <a:pt x="63" y="67"/>
                    </a:cubicBezTo>
                    <a:cubicBezTo>
                      <a:pt x="59" y="65"/>
                      <a:pt x="54" y="65"/>
                      <a:pt x="53" y="65"/>
                    </a:cubicBezTo>
                    <a:cubicBezTo>
                      <a:pt x="50" y="65"/>
                      <a:pt x="50" y="70"/>
                      <a:pt x="48" y="68"/>
                    </a:cubicBezTo>
                    <a:cubicBezTo>
                      <a:pt x="48" y="68"/>
                      <a:pt x="47" y="68"/>
                      <a:pt x="47" y="67"/>
                    </a:cubicBezTo>
                    <a:cubicBezTo>
                      <a:pt x="48" y="64"/>
                      <a:pt x="44" y="62"/>
                      <a:pt x="42" y="65"/>
                    </a:cubicBezTo>
                    <a:cubicBezTo>
                      <a:pt x="42" y="67"/>
                      <a:pt x="41" y="67"/>
                      <a:pt x="41" y="65"/>
                    </a:cubicBezTo>
                    <a:cubicBezTo>
                      <a:pt x="41" y="65"/>
                      <a:pt x="41" y="65"/>
                      <a:pt x="39" y="65"/>
                    </a:cubicBezTo>
                    <a:cubicBezTo>
                      <a:pt x="39" y="62"/>
                      <a:pt x="38" y="61"/>
                      <a:pt x="35" y="59"/>
                    </a:cubicBezTo>
                    <a:cubicBezTo>
                      <a:pt x="32" y="57"/>
                      <a:pt x="33" y="59"/>
                      <a:pt x="30" y="57"/>
                    </a:cubicBezTo>
                    <a:cubicBezTo>
                      <a:pt x="28" y="56"/>
                      <a:pt x="32" y="56"/>
                      <a:pt x="28" y="56"/>
                    </a:cubicBezTo>
                    <a:cubicBezTo>
                      <a:pt x="25" y="54"/>
                      <a:pt x="22" y="53"/>
                      <a:pt x="24" y="54"/>
                    </a:cubicBezTo>
                    <a:cubicBezTo>
                      <a:pt x="25" y="56"/>
                      <a:pt x="24" y="59"/>
                      <a:pt x="21" y="56"/>
                    </a:cubicBezTo>
                    <a:cubicBezTo>
                      <a:pt x="16" y="51"/>
                      <a:pt x="21" y="53"/>
                      <a:pt x="21" y="51"/>
                    </a:cubicBezTo>
                    <a:cubicBezTo>
                      <a:pt x="19" y="50"/>
                      <a:pt x="19" y="51"/>
                      <a:pt x="15" y="50"/>
                    </a:cubicBezTo>
                    <a:cubicBezTo>
                      <a:pt x="9" y="47"/>
                      <a:pt x="12" y="45"/>
                      <a:pt x="9" y="48"/>
                    </a:cubicBezTo>
                    <a:cubicBezTo>
                      <a:pt x="10" y="39"/>
                      <a:pt x="7" y="43"/>
                      <a:pt x="6" y="39"/>
                    </a:cubicBezTo>
                    <a:cubicBezTo>
                      <a:pt x="6" y="36"/>
                      <a:pt x="9" y="36"/>
                      <a:pt x="6" y="31"/>
                    </a:cubicBezTo>
                    <a:cubicBezTo>
                      <a:pt x="4" y="29"/>
                      <a:pt x="9" y="29"/>
                      <a:pt x="4" y="26"/>
                    </a:cubicBezTo>
                    <a:cubicBezTo>
                      <a:pt x="0" y="23"/>
                      <a:pt x="6" y="22"/>
                      <a:pt x="3" y="14"/>
                    </a:cubicBezTo>
                    <a:cubicBezTo>
                      <a:pt x="6" y="14"/>
                      <a:pt x="6" y="15"/>
                      <a:pt x="6" y="14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4" y="12"/>
                      <a:pt x="4" y="14"/>
                      <a:pt x="3" y="12"/>
                    </a:cubicBezTo>
                    <a:cubicBezTo>
                      <a:pt x="3" y="11"/>
                      <a:pt x="3" y="11"/>
                      <a:pt x="3" y="11"/>
                    </a:cubicBezTo>
                    <a:cubicBezTo>
                      <a:pt x="7" y="12"/>
                      <a:pt x="7" y="9"/>
                      <a:pt x="15" y="8"/>
                    </a:cubicBezTo>
                    <a:cubicBezTo>
                      <a:pt x="22" y="6"/>
                      <a:pt x="18" y="5"/>
                      <a:pt x="22" y="3"/>
                    </a:cubicBezTo>
                    <a:cubicBezTo>
                      <a:pt x="28" y="1"/>
                      <a:pt x="22" y="1"/>
                      <a:pt x="30" y="0"/>
                    </a:cubicBezTo>
                    <a:cubicBezTo>
                      <a:pt x="36" y="0"/>
                      <a:pt x="35" y="0"/>
                      <a:pt x="39" y="3"/>
                    </a:cubicBezTo>
                    <a:cubicBezTo>
                      <a:pt x="41" y="3"/>
                      <a:pt x="39" y="5"/>
                      <a:pt x="38" y="3"/>
                    </a:cubicBezTo>
                    <a:cubicBezTo>
                      <a:pt x="36" y="0"/>
                      <a:pt x="36" y="1"/>
                      <a:pt x="38" y="5"/>
                    </a:cubicBezTo>
                    <a:cubicBezTo>
                      <a:pt x="38" y="6"/>
                      <a:pt x="44" y="6"/>
                      <a:pt x="45" y="5"/>
                    </a:cubicBezTo>
                    <a:cubicBezTo>
                      <a:pt x="56" y="6"/>
                      <a:pt x="65" y="8"/>
                      <a:pt x="71" y="6"/>
                    </a:cubicBezTo>
                    <a:cubicBezTo>
                      <a:pt x="72" y="5"/>
                      <a:pt x="77" y="8"/>
                      <a:pt x="77" y="11"/>
                    </a:cubicBezTo>
                    <a:cubicBezTo>
                      <a:pt x="79" y="20"/>
                      <a:pt x="82" y="26"/>
                      <a:pt x="79" y="28"/>
                    </a:cubicBezTo>
                    <a:cubicBezTo>
                      <a:pt x="76" y="28"/>
                      <a:pt x="71" y="31"/>
                      <a:pt x="74" y="33"/>
                    </a:cubicBezTo>
                    <a:cubicBezTo>
                      <a:pt x="80" y="34"/>
                      <a:pt x="76" y="37"/>
                      <a:pt x="77" y="4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73" name="Freeform 167"/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4269823" y="2549154"/>
                <a:ext cx="242119" cy="229249"/>
              </a:xfrm>
              <a:custGeom>
                <a:avLst/>
                <a:gdLst/>
                <a:ahLst/>
                <a:cxnLst>
                  <a:cxn ang="0">
                    <a:pos x="96" y="67"/>
                  </a:cxn>
                  <a:cxn ang="0">
                    <a:pos x="95" y="78"/>
                  </a:cxn>
                  <a:cxn ang="0">
                    <a:pos x="99" y="86"/>
                  </a:cxn>
                  <a:cxn ang="0">
                    <a:pos x="85" y="92"/>
                  </a:cxn>
                  <a:cxn ang="0">
                    <a:pos x="78" y="89"/>
                  </a:cxn>
                  <a:cxn ang="0">
                    <a:pos x="69" y="89"/>
                  </a:cxn>
                  <a:cxn ang="0">
                    <a:pos x="64" y="100"/>
                  </a:cxn>
                  <a:cxn ang="0">
                    <a:pos x="54" y="100"/>
                  </a:cxn>
                  <a:cxn ang="0">
                    <a:pos x="44" y="97"/>
                  </a:cxn>
                  <a:cxn ang="0">
                    <a:pos x="35" y="95"/>
                  </a:cxn>
                  <a:cxn ang="0">
                    <a:pos x="26" y="89"/>
                  </a:cxn>
                  <a:cxn ang="0">
                    <a:pos x="31" y="75"/>
                  </a:cxn>
                  <a:cxn ang="0">
                    <a:pos x="31" y="70"/>
                  </a:cxn>
                  <a:cxn ang="0">
                    <a:pos x="35" y="69"/>
                  </a:cxn>
                  <a:cxn ang="0">
                    <a:pos x="31" y="61"/>
                  </a:cxn>
                  <a:cxn ang="0">
                    <a:pos x="28" y="55"/>
                  </a:cxn>
                  <a:cxn ang="0">
                    <a:pos x="23" y="47"/>
                  </a:cxn>
                  <a:cxn ang="0">
                    <a:pos x="20" y="42"/>
                  </a:cxn>
                  <a:cxn ang="0">
                    <a:pos x="17" y="41"/>
                  </a:cxn>
                  <a:cxn ang="0">
                    <a:pos x="6" y="38"/>
                  </a:cxn>
                  <a:cxn ang="0">
                    <a:pos x="6" y="35"/>
                  </a:cxn>
                  <a:cxn ang="0">
                    <a:pos x="5" y="32"/>
                  </a:cxn>
                  <a:cxn ang="0">
                    <a:pos x="6" y="28"/>
                  </a:cxn>
                  <a:cxn ang="0">
                    <a:pos x="12" y="27"/>
                  </a:cxn>
                  <a:cxn ang="0">
                    <a:pos x="19" y="30"/>
                  </a:cxn>
                  <a:cxn ang="0">
                    <a:pos x="23" y="28"/>
                  </a:cxn>
                  <a:cxn ang="0">
                    <a:pos x="28" y="30"/>
                  </a:cxn>
                  <a:cxn ang="0">
                    <a:pos x="26" y="21"/>
                  </a:cxn>
                  <a:cxn ang="0">
                    <a:pos x="29" y="16"/>
                  </a:cxn>
                  <a:cxn ang="0">
                    <a:pos x="40" y="21"/>
                  </a:cxn>
                  <a:cxn ang="0">
                    <a:pos x="44" y="14"/>
                  </a:cxn>
                  <a:cxn ang="0">
                    <a:pos x="52" y="10"/>
                  </a:cxn>
                  <a:cxn ang="0">
                    <a:pos x="52" y="4"/>
                  </a:cxn>
                  <a:cxn ang="0">
                    <a:pos x="66" y="5"/>
                  </a:cxn>
                  <a:cxn ang="0">
                    <a:pos x="73" y="11"/>
                  </a:cxn>
                  <a:cxn ang="0">
                    <a:pos x="81" y="16"/>
                  </a:cxn>
                  <a:cxn ang="0">
                    <a:pos x="90" y="19"/>
                  </a:cxn>
                  <a:cxn ang="0">
                    <a:pos x="98" y="24"/>
                  </a:cxn>
                  <a:cxn ang="0">
                    <a:pos x="99" y="41"/>
                  </a:cxn>
                  <a:cxn ang="0">
                    <a:pos x="95" y="45"/>
                  </a:cxn>
                  <a:cxn ang="0">
                    <a:pos x="90" y="52"/>
                  </a:cxn>
                  <a:cxn ang="0">
                    <a:pos x="88" y="58"/>
                  </a:cxn>
                  <a:cxn ang="0">
                    <a:pos x="93" y="58"/>
                  </a:cxn>
                </a:cxnLst>
                <a:rect l="0" t="0" r="r" b="b"/>
                <a:pathLst>
                  <a:path w="107" h="101">
                    <a:moveTo>
                      <a:pt x="95" y="61"/>
                    </a:moveTo>
                    <a:cubicBezTo>
                      <a:pt x="93" y="64"/>
                      <a:pt x="98" y="66"/>
                      <a:pt x="96" y="67"/>
                    </a:cubicBezTo>
                    <a:cubicBezTo>
                      <a:pt x="95" y="70"/>
                      <a:pt x="90" y="69"/>
                      <a:pt x="95" y="72"/>
                    </a:cubicBezTo>
                    <a:cubicBezTo>
                      <a:pt x="99" y="75"/>
                      <a:pt x="93" y="75"/>
                      <a:pt x="95" y="78"/>
                    </a:cubicBezTo>
                    <a:cubicBezTo>
                      <a:pt x="96" y="83"/>
                      <a:pt x="101" y="80"/>
                      <a:pt x="101" y="80"/>
                    </a:cubicBezTo>
                    <a:cubicBezTo>
                      <a:pt x="102" y="81"/>
                      <a:pt x="99" y="84"/>
                      <a:pt x="99" y="86"/>
                    </a:cubicBezTo>
                    <a:cubicBezTo>
                      <a:pt x="98" y="86"/>
                      <a:pt x="93" y="89"/>
                      <a:pt x="93" y="89"/>
                    </a:cubicBezTo>
                    <a:cubicBezTo>
                      <a:pt x="93" y="92"/>
                      <a:pt x="87" y="94"/>
                      <a:pt x="85" y="92"/>
                    </a:cubicBezTo>
                    <a:cubicBezTo>
                      <a:pt x="84" y="91"/>
                      <a:pt x="84" y="94"/>
                      <a:pt x="82" y="91"/>
                    </a:cubicBezTo>
                    <a:cubicBezTo>
                      <a:pt x="81" y="89"/>
                      <a:pt x="81" y="89"/>
                      <a:pt x="78" y="89"/>
                    </a:cubicBezTo>
                    <a:cubicBezTo>
                      <a:pt x="75" y="91"/>
                      <a:pt x="78" y="89"/>
                      <a:pt x="75" y="89"/>
                    </a:cubicBezTo>
                    <a:cubicBezTo>
                      <a:pt x="72" y="89"/>
                      <a:pt x="75" y="84"/>
                      <a:pt x="69" y="89"/>
                    </a:cubicBezTo>
                    <a:cubicBezTo>
                      <a:pt x="67" y="91"/>
                      <a:pt x="64" y="91"/>
                      <a:pt x="64" y="94"/>
                    </a:cubicBezTo>
                    <a:cubicBezTo>
                      <a:pt x="66" y="97"/>
                      <a:pt x="64" y="95"/>
                      <a:pt x="64" y="100"/>
                    </a:cubicBezTo>
                    <a:cubicBezTo>
                      <a:pt x="61" y="100"/>
                      <a:pt x="63" y="101"/>
                      <a:pt x="60" y="100"/>
                    </a:cubicBezTo>
                    <a:cubicBezTo>
                      <a:pt x="58" y="100"/>
                      <a:pt x="58" y="101"/>
                      <a:pt x="54" y="100"/>
                    </a:cubicBezTo>
                    <a:cubicBezTo>
                      <a:pt x="54" y="98"/>
                      <a:pt x="54" y="97"/>
                      <a:pt x="52" y="98"/>
                    </a:cubicBezTo>
                    <a:cubicBezTo>
                      <a:pt x="43" y="92"/>
                      <a:pt x="47" y="97"/>
                      <a:pt x="44" y="97"/>
                    </a:cubicBezTo>
                    <a:cubicBezTo>
                      <a:pt x="41" y="95"/>
                      <a:pt x="41" y="98"/>
                      <a:pt x="40" y="97"/>
                    </a:cubicBezTo>
                    <a:cubicBezTo>
                      <a:pt x="38" y="95"/>
                      <a:pt x="35" y="97"/>
                      <a:pt x="35" y="95"/>
                    </a:cubicBezTo>
                    <a:cubicBezTo>
                      <a:pt x="34" y="92"/>
                      <a:pt x="29" y="94"/>
                      <a:pt x="29" y="92"/>
                    </a:cubicBezTo>
                    <a:cubicBezTo>
                      <a:pt x="29" y="89"/>
                      <a:pt x="28" y="91"/>
                      <a:pt x="26" y="89"/>
                    </a:cubicBezTo>
                    <a:cubicBezTo>
                      <a:pt x="28" y="89"/>
                      <a:pt x="29" y="87"/>
                      <a:pt x="29" y="81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32" y="75"/>
                      <a:pt x="31" y="73"/>
                      <a:pt x="31" y="73"/>
                    </a:cubicBezTo>
                    <a:cubicBezTo>
                      <a:pt x="29" y="75"/>
                      <a:pt x="29" y="73"/>
                      <a:pt x="31" y="70"/>
                    </a:cubicBezTo>
                    <a:cubicBezTo>
                      <a:pt x="31" y="67"/>
                      <a:pt x="32" y="66"/>
                      <a:pt x="32" y="66"/>
                    </a:cubicBezTo>
                    <a:cubicBezTo>
                      <a:pt x="34" y="66"/>
                      <a:pt x="35" y="72"/>
                      <a:pt x="35" y="69"/>
                    </a:cubicBezTo>
                    <a:cubicBezTo>
                      <a:pt x="34" y="67"/>
                      <a:pt x="35" y="66"/>
                      <a:pt x="31" y="64"/>
                    </a:cubicBezTo>
                    <a:cubicBezTo>
                      <a:pt x="28" y="61"/>
                      <a:pt x="31" y="63"/>
                      <a:pt x="31" y="61"/>
                    </a:cubicBezTo>
                    <a:cubicBezTo>
                      <a:pt x="32" y="58"/>
                      <a:pt x="29" y="58"/>
                      <a:pt x="31" y="56"/>
                    </a:cubicBezTo>
                    <a:cubicBezTo>
                      <a:pt x="31" y="55"/>
                      <a:pt x="31" y="56"/>
                      <a:pt x="28" y="55"/>
                    </a:cubicBezTo>
                    <a:cubicBezTo>
                      <a:pt x="25" y="53"/>
                      <a:pt x="22" y="50"/>
                      <a:pt x="23" y="49"/>
                    </a:cubicBezTo>
                    <a:cubicBezTo>
                      <a:pt x="25" y="49"/>
                      <a:pt x="25" y="47"/>
                      <a:pt x="23" y="47"/>
                    </a:cubicBezTo>
                    <a:cubicBezTo>
                      <a:pt x="22" y="47"/>
                      <a:pt x="25" y="44"/>
                      <a:pt x="22" y="45"/>
                    </a:cubicBezTo>
                    <a:cubicBezTo>
                      <a:pt x="19" y="45"/>
                      <a:pt x="20" y="44"/>
                      <a:pt x="20" y="42"/>
                    </a:cubicBezTo>
                    <a:cubicBezTo>
                      <a:pt x="22" y="42"/>
                      <a:pt x="20" y="42"/>
                      <a:pt x="19" y="42"/>
                    </a:cubicBezTo>
                    <a:cubicBezTo>
                      <a:pt x="16" y="42"/>
                      <a:pt x="19" y="41"/>
                      <a:pt x="17" y="41"/>
                    </a:cubicBezTo>
                    <a:cubicBezTo>
                      <a:pt x="14" y="41"/>
                      <a:pt x="14" y="39"/>
                      <a:pt x="12" y="39"/>
                    </a:cubicBezTo>
                    <a:cubicBezTo>
                      <a:pt x="9" y="38"/>
                      <a:pt x="8" y="38"/>
                      <a:pt x="6" y="38"/>
                    </a:cubicBezTo>
                    <a:cubicBezTo>
                      <a:pt x="5" y="39"/>
                      <a:pt x="6" y="38"/>
                      <a:pt x="3" y="36"/>
                    </a:cubicBezTo>
                    <a:cubicBezTo>
                      <a:pt x="0" y="35"/>
                      <a:pt x="6" y="35"/>
                      <a:pt x="6" y="35"/>
                    </a:cubicBezTo>
                    <a:cubicBezTo>
                      <a:pt x="5" y="33"/>
                      <a:pt x="3" y="35"/>
                      <a:pt x="3" y="33"/>
                    </a:cubicBezTo>
                    <a:cubicBezTo>
                      <a:pt x="3" y="33"/>
                      <a:pt x="6" y="33"/>
                      <a:pt x="5" y="32"/>
                    </a:cubicBezTo>
                    <a:cubicBezTo>
                      <a:pt x="3" y="32"/>
                      <a:pt x="2" y="33"/>
                      <a:pt x="2" y="32"/>
                    </a:cubicBezTo>
                    <a:cubicBezTo>
                      <a:pt x="2" y="30"/>
                      <a:pt x="3" y="28"/>
                      <a:pt x="6" y="28"/>
                    </a:cubicBezTo>
                    <a:cubicBezTo>
                      <a:pt x="9" y="28"/>
                      <a:pt x="6" y="27"/>
                      <a:pt x="9" y="28"/>
                    </a:cubicBezTo>
                    <a:cubicBezTo>
                      <a:pt x="11" y="28"/>
                      <a:pt x="12" y="28"/>
                      <a:pt x="12" y="27"/>
                    </a:cubicBezTo>
                    <a:cubicBezTo>
                      <a:pt x="11" y="25"/>
                      <a:pt x="12" y="27"/>
                      <a:pt x="14" y="25"/>
                    </a:cubicBezTo>
                    <a:cubicBezTo>
                      <a:pt x="16" y="25"/>
                      <a:pt x="17" y="28"/>
                      <a:pt x="19" y="30"/>
                    </a:cubicBezTo>
                    <a:cubicBezTo>
                      <a:pt x="19" y="32"/>
                      <a:pt x="20" y="28"/>
                      <a:pt x="22" y="28"/>
                    </a:cubicBezTo>
                    <a:cubicBezTo>
                      <a:pt x="23" y="27"/>
                      <a:pt x="22" y="30"/>
                      <a:pt x="23" y="28"/>
                    </a:cubicBezTo>
                    <a:cubicBezTo>
                      <a:pt x="25" y="28"/>
                      <a:pt x="23" y="28"/>
                      <a:pt x="25" y="28"/>
                    </a:cubicBezTo>
                    <a:cubicBezTo>
                      <a:pt x="26" y="28"/>
                      <a:pt x="25" y="30"/>
                      <a:pt x="28" y="30"/>
                    </a:cubicBezTo>
                    <a:cubicBezTo>
                      <a:pt x="29" y="28"/>
                      <a:pt x="28" y="28"/>
                      <a:pt x="28" y="25"/>
                    </a:cubicBezTo>
                    <a:cubicBezTo>
                      <a:pt x="28" y="24"/>
                      <a:pt x="28" y="21"/>
                      <a:pt x="26" y="21"/>
                    </a:cubicBezTo>
                    <a:cubicBezTo>
                      <a:pt x="25" y="19"/>
                      <a:pt x="26" y="19"/>
                      <a:pt x="25" y="18"/>
                    </a:cubicBezTo>
                    <a:cubicBezTo>
                      <a:pt x="25" y="14"/>
                      <a:pt x="26" y="18"/>
                      <a:pt x="29" y="16"/>
                    </a:cubicBezTo>
                    <a:cubicBezTo>
                      <a:pt x="31" y="16"/>
                      <a:pt x="29" y="21"/>
                      <a:pt x="31" y="21"/>
                    </a:cubicBezTo>
                    <a:cubicBezTo>
                      <a:pt x="35" y="19"/>
                      <a:pt x="38" y="22"/>
                      <a:pt x="40" y="21"/>
                    </a:cubicBezTo>
                    <a:cubicBezTo>
                      <a:pt x="41" y="19"/>
                      <a:pt x="43" y="19"/>
                      <a:pt x="41" y="19"/>
                    </a:cubicBezTo>
                    <a:cubicBezTo>
                      <a:pt x="41" y="19"/>
                      <a:pt x="38" y="18"/>
                      <a:pt x="44" y="14"/>
                    </a:cubicBezTo>
                    <a:cubicBezTo>
                      <a:pt x="50" y="13"/>
                      <a:pt x="50" y="13"/>
                      <a:pt x="52" y="11"/>
                    </a:cubicBezTo>
                    <a:cubicBezTo>
                      <a:pt x="52" y="10"/>
                      <a:pt x="54" y="11"/>
                      <a:pt x="52" y="10"/>
                    </a:cubicBezTo>
                    <a:cubicBezTo>
                      <a:pt x="52" y="8"/>
                      <a:pt x="54" y="8"/>
                      <a:pt x="52" y="8"/>
                    </a:cubicBezTo>
                    <a:cubicBezTo>
                      <a:pt x="52" y="7"/>
                      <a:pt x="52" y="7"/>
                      <a:pt x="52" y="4"/>
                    </a:cubicBezTo>
                    <a:cubicBezTo>
                      <a:pt x="52" y="2"/>
                      <a:pt x="54" y="0"/>
                      <a:pt x="60" y="0"/>
                    </a:cubicBezTo>
                    <a:cubicBezTo>
                      <a:pt x="63" y="7"/>
                      <a:pt x="64" y="2"/>
                      <a:pt x="66" y="5"/>
                    </a:cubicBezTo>
                    <a:cubicBezTo>
                      <a:pt x="67" y="8"/>
                      <a:pt x="67" y="5"/>
                      <a:pt x="69" y="8"/>
                    </a:cubicBezTo>
                    <a:cubicBezTo>
                      <a:pt x="70" y="10"/>
                      <a:pt x="73" y="8"/>
                      <a:pt x="73" y="11"/>
                    </a:cubicBezTo>
                    <a:cubicBezTo>
                      <a:pt x="75" y="16"/>
                      <a:pt x="76" y="10"/>
                      <a:pt x="78" y="11"/>
                    </a:cubicBezTo>
                    <a:cubicBezTo>
                      <a:pt x="79" y="11"/>
                      <a:pt x="76" y="14"/>
                      <a:pt x="81" y="16"/>
                    </a:cubicBezTo>
                    <a:cubicBezTo>
                      <a:pt x="82" y="16"/>
                      <a:pt x="82" y="19"/>
                      <a:pt x="85" y="19"/>
                    </a:cubicBezTo>
                    <a:cubicBezTo>
                      <a:pt x="88" y="19"/>
                      <a:pt x="88" y="19"/>
                      <a:pt x="90" y="19"/>
                    </a:cubicBezTo>
                    <a:cubicBezTo>
                      <a:pt x="93" y="19"/>
                      <a:pt x="92" y="22"/>
                      <a:pt x="95" y="22"/>
                    </a:cubicBezTo>
                    <a:cubicBezTo>
                      <a:pt x="96" y="22"/>
                      <a:pt x="95" y="24"/>
                      <a:pt x="98" y="24"/>
                    </a:cubicBezTo>
                    <a:cubicBezTo>
                      <a:pt x="101" y="22"/>
                      <a:pt x="102" y="24"/>
                      <a:pt x="104" y="25"/>
                    </a:cubicBezTo>
                    <a:cubicBezTo>
                      <a:pt x="107" y="25"/>
                      <a:pt x="99" y="28"/>
                      <a:pt x="99" y="41"/>
                    </a:cubicBezTo>
                    <a:cubicBezTo>
                      <a:pt x="98" y="44"/>
                      <a:pt x="96" y="41"/>
                      <a:pt x="96" y="42"/>
                    </a:cubicBezTo>
                    <a:cubicBezTo>
                      <a:pt x="95" y="44"/>
                      <a:pt x="96" y="44"/>
                      <a:pt x="95" y="45"/>
                    </a:cubicBezTo>
                    <a:cubicBezTo>
                      <a:pt x="93" y="45"/>
                      <a:pt x="95" y="47"/>
                      <a:pt x="92" y="49"/>
                    </a:cubicBezTo>
                    <a:cubicBezTo>
                      <a:pt x="90" y="49"/>
                      <a:pt x="93" y="50"/>
                      <a:pt x="90" y="52"/>
                    </a:cubicBezTo>
                    <a:cubicBezTo>
                      <a:pt x="87" y="53"/>
                      <a:pt x="90" y="55"/>
                      <a:pt x="88" y="56"/>
                    </a:cubicBezTo>
                    <a:cubicBezTo>
                      <a:pt x="85" y="58"/>
                      <a:pt x="87" y="58"/>
                      <a:pt x="88" y="58"/>
                    </a:cubicBezTo>
                    <a:cubicBezTo>
                      <a:pt x="92" y="56"/>
                      <a:pt x="88" y="55"/>
                      <a:pt x="92" y="55"/>
                    </a:cubicBezTo>
                    <a:cubicBezTo>
                      <a:pt x="95" y="53"/>
                      <a:pt x="93" y="56"/>
                      <a:pt x="93" y="58"/>
                    </a:cubicBezTo>
                    <a:cubicBezTo>
                      <a:pt x="93" y="58"/>
                      <a:pt x="95" y="58"/>
                      <a:pt x="95" y="61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74" name="Freeform 168"/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4183269" y="2781912"/>
                <a:ext cx="72519" cy="134509"/>
              </a:xfrm>
              <a:custGeom>
                <a:avLst/>
                <a:gdLst/>
                <a:ahLst/>
                <a:cxnLst>
                  <a:cxn ang="0">
                    <a:pos x="8" y="3"/>
                  </a:cxn>
                  <a:cxn ang="0">
                    <a:pos x="14" y="0"/>
                  </a:cxn>
                  <a:cxn ang="0">
                    <a:pos x="13" y="3"/>
                  </a:cxn>
                  <a:cxn ang="0">
                    <a:pos x="17" y="3"/>
                  </a:cxn>
                  <a:cxn ang="0">
                    <a:pos x="23" y="2"/>
                  </a:cxn>
                  <a:cxn ang="0">
                    <a:pos x="28" y="6"/>
                  </a:cxn>
                  <a:cxn ang="0">
                    <a:pos x="23" y="14"/>
                  </a:cxn>
                  <a:cxn ang="0">
                    <a:pos x="23" y="23"/>
                  </a:cxn>
                  <a:cxn ang="0">
                    <a:pos x="20" y="28"/>
                  </a:cxn>
                  <a:cxn ang="0">
                    <a:pos x="20" y="33"/>
                  </a:cxn>
                  <a:cxn ang="0">
                    <a:pos x="22" y="37"/>
                  </a:cxn>
                  <a:cxn ang="0">
                    <a:pos x="22" y="43"/>
                  </a:cxn>
                  <a:cxn ang="0">
                    <a:pos x="22" y="47"/>
                  </a:cxn>
                  <a:cxn ang="0">
                    <a:pos x="19" y="54"/>
                  </a:cxn>
                  <a:cxn ang="0">
                    <a:pos x="14" y="57"/>
                  </a:cxn>
                  <a:cxn ang="0">
                    <a:pos x="8" y="57"/>
                  </a:cxn>
                  <a:cxn ang="0">
                    <a:pos x="8" y="54"/>
                  </a:cxn>
                  <a:cxn ang="0">
                    <a:pos x="8" y="45"/>
                  </a:cxn>
                  <a:cxn ang="0">
                    <a:pos x="5" y="42"/>
                  </a:cxn>
                  <a:cxn ang="0">
                    <a:pos x="5" y="40"/>
                  </a:cxn>
                  <a:cxn ang="0">
                    <a:pos x="3" y="39"/>
                  </a:cxn>
                  <a:cxn ang="0">
                    <a:pos x="3" y="33"/>
                  </a:cxn>
                  <a:cxn ang="0">
                    <a:pos x="6" y="28"/>
                  </a:cxn>
                  <a:cxn ang="0">
                    <a:pos x="8" y="22"/>
                  </a:cxn>
                  <a:cxn ang="0">
                    <a:pos x="9" y="11"/>
                  </a:cxn>
                  <a:cxn ang="0">
                    <a:pos x="8" y="6"/>
                  </a:cxn>
                  <a:cxn ang="0">
                    <a:pos x="8" y="3"/>
                  </a:cxn>
                </a:cxnLst>
                <a:rect l="0" t="0" r="r" b="b"/>
                <a:pathLst>
                  <a:path w="32" h="59">
                    <a:moveTo>
                      <a:pt x="8" y="3"/>
                    </a:moveTo>
                    <a:cubicBezTo>
                      <a:pt x="13" y="0"/>
                      <a:pt x="13" y="0"/>
                      <a:pt x="14" y="0"/>
                    </a:cubicBezTo>
                    <a:cubicBezTo>
                      <a:pt x="16" y="2"/>
                      <a:pt x="11" y="3"/>
                      <a:pt x="13" y="3"/>
                    </a:cubicBezTo>
                    <a:cubicBezTo>
                      <a:pt x="14" y="5"/>
                      <a:pt x="14" y="2"/>
                      <a:pt x="17" y="3"/>
                    </a:cubicBezTo>
                    <a:cubicBezTo>
                      <a:pt x="22" y="5"/>
                      <a:pt x="19" y="2"/>
                      <a:pt x="23" y="2"/>
                    </a:cubicBezTo>
                    <a:cubicBezTo>
                      <a:pt x="28" y="3"/>
                      <a:pt x="25" y="5"/>
                      <a:pt x="28" y="6"/>
                    </a:cubicBezTo>
                    <a:cubicBezTo>
                      <a:pt x="32" y="6"/>
                      <a:pt x="23" y="12"/>
                      <a:pt x="23" y="14"/>
                    </a:cubicBezTo>
                    <a:cubicBezTo>
                      <a:pt x="25" y="22"/>
                      <a:pt x="22" y="22"/>
                      <a:pt x="23" y="23"/>
                    </a:cubicBezTo>
                    <a:cubicBezTo>
                      <a:pt x="23" y="26"/>
                      <a:pt x="23" y="28"/>
                      <a:pt x="20" y="28"/>
                    </a:cubicBezTo>
                    <a:cubicBezTo>
                      <a:pt x="17" y="28"/>
                      <a:pt x="20" y="28"/>
                      <a:pt x="20" y="33"/>
                    </a:cubicBezTo>
                    <a:cubicBezTo>
                      <a:pt x="22" y="36"/>
                      <a:pt x="25" y="33"/>
                      <a:pt x="22" y="37"/>
                    </a:cubicBezTo>
                    <a:cubicBezTo>
                      <a:pt x="19" y="42"/>
                      <a:pt x="20" y="43"/>
                      <a:pt x="22" y="43"/>
                    </a:cubicBezTo>
                    <a:cubicBezTo>
                      <a:pt x="23" y="43"/>
                      <a:pt x="25" y="43"/>
                      <a:pt x="22" y="47"/>
                    </a:cubicBezTo>
                    <a:cubicBezTo>
                      <a:pt x="19" y="48"/>
                      <a:pt x="19" y="53"/>
                      <a:pt x="19" y="54"/>
                    </a:cubicBezTo>
                    <a:cubicBezTo>
                      <a:pt x="16" y="56"/>
                      <a:pt x="17" y="59"/>
                      <a:pt x="14" y="57"/>
                    </a:cubicBezTo>
                    <a:cubicBezTo>
                      <a:pt x="9" y="56"/>
                      <a:pt x="8" y="56"/>
                      <a:pt x="8" y="57"/>
                    </a:cubicBezTo>
                    <a:cubicBezTo>
                      <a:pt x="6" y="57"/>
                      <a:pt x="6" y="57"/>
                      <a:pt x="8" y="54"/>
                    </a:cubicBezTo>
                    <a:cubicBezTo>
                      <a:pt x="9" y="47"/>
                      <a:pt x="6" y="48"/>
                      <a:pt x="8" y="45"/>
                    </a:cubicBezTo>
                    <a:cubicBezTo>
                      <a:pt x="9" y="40"/>
                      <a:pt x="6" y="40"/>
                      <a:pt x="5" y="42"/>
                    </a:cubicBezTo>
                    <a:cubicBezTo>
                      <a:pt x="5" y="40"/>
                      <a:pt x="5" y="40"/>
                      <a:pt x="5" y="40"/>
                    </a:cubicBezTo>
                    <a:cubicBezTo>
                      <a:pt x="5" y="39"/>
                      <a:pt x="6" y="39"/>
                      <a:pt x="3" y="39"/>
                    </a:cubicBezTo>
                    <a:cubicBezTo>
                      <a:pt x="0" y="39"/>
                      <a:pt x="5" y="34"/>
                      <a:pt x="3" y="33"/>
                    </a:cubicBezTo>
                    <a:cubicBezTo>
                      <a:pt x="3" y="29"/>
                      <a:pt x="5" y="33"/>
                      <a:pt x="6" y="28"/>
                    </a:cubicBezTo>
                    <a:cubicBezTo>
                      <a:pt x="8" y="23"/>
                      <a:pt x="8" y="23"/>
                      <a:pt x="8" y="22"/>
                    </a:cubicBezTo>
                    <a:cubicBezTo>
                      <a:pt x="8" y="20"/>
                      <a:pt x="11" y="14"/>
                      <a:pt x="9" y="11"/>
                    </a:cubicBezTo>
                    <a:cubicBezTo>
                      <a:pt x="8" y="9"/>
                      <a:pt x="8" y="8"/>
                      <a:pt x="8" y="6"/>
                    </a:cubicBezTo>
                    <a:cubicBezTo>
                      <a:pt x="8" y="5"/>
                      <a:pt x="6" y="5"/>
                      <a:pt x="8" y="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75" name="Freeform 169"/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auto">
              <a:xfrm>
                <a:off x="4514282" y="2762028"/>
                <a:ext cx="18714" cy="40937"/>
              </a:xfrm>
              <a:custGeom>
                <a:avLst/>
                <a:gdLst/>
                <a:ahLst/>
                <a:cxnLst>
                  <a:cxn ang="0">
                    <a:pos x="7" y="0"/>
                  </a:cxn>
                  <a:cxn ang="0">
                    <a:pos x="5" y="3"/>
                  </a:cxn>
                  <a:cxn ang="0">
                    <a:pos x="2" y="4"/>
                  </a:cxn>
                  <a:cxn ang="0">
                    <a:pos x="0" y="12"/>
                  </a:cxn>
                  <a:cxn ang="0">
                    <a:pos x="0" y="13"/>
                  </a:cxn>
                  <a:cxn ang="0">
                    <a:pos x="2" y="13"/>
                  </a:cxn>
                  <a:cxn ang="0">
                    <a:pos x="2" y="16"/>
                  </a:cxn>
                  <a:cxn ang="0">
                    <a:pos x="5" y="18"/>
                  </a:cxn>
                  <a:cxn ang="0">
                    <a:pos x="5" y="16"/>
                  </a:cxn>
                  <a:cxn ang="0">
                    <a:pos x="7" y="12"/>
                  </a:cxn>
                  <a:cxn ang="0">
                    <a:pos x="8" y="7"/>
                  </a:cxn>
                  <a:cxn ang="0">
                    <a:pos x="7" y="3"/>
                  </a:cxn>
                  <a:cxn ang="0">
                    <a:pos x="7" y="0"/>
                  </a:cxn>
                </a:cxnLst>
                <a:rect l="0" t="0" r="r" b="b"/>
                <a:pathLst>
                  <a:path w="8" h="18">
                    <a:moveTo>
                      <a:pt x="7" y="0"/>
                    </a:moveTo>
                    <a:cubicBezTo>
                      <a:pt x="5" y="0"/>
                      <a:pt x="7" y="4"/>
                      <a:pt x="5" y="3"/>
                    </a:cubicBezTo>
                    <a:cubicBezTo>
                      <a:pt x="3" y="3"/>
                      <a:pt x="2" y="4"/>
                      <a:pt x="2" y="4"/>
                    </a:cubicBezTo>
                    <a:cubicBezTo>
                      <a:pt x="0" y="4"/>
                      <a:pt x="0" y="12"/>
                      <a:pt x="0" y="12"/>
                    </a:cubicBezTo>
                    <a:cubicBezTo>
                      <a:pt x="2" y="12"/>
                      <a:pt x="2" y="12"/>
                      <a:pt x="0" y="13"/>
                    </a:cubicBezTo>
                    <a:cubicBezTo>
                      <a:pt x="0" y="13"/>
                      <a:pt x="0" y="13"/>
                      <a:pt x="2" y="13"/>
                    </a:cubicBezTo>
                    <a:cubicBezTo>
                      <a:pt x="3" y="15"/>
                      <a:pt x="0" y="15"/>
                      <a:pt x="2" y="16"/>
                    </a:cubicBezTo>
                    <a:cubicBezTo>
                      <a:pt x="5" y="18"/>
                      <a:pt x="3" y="18"/>
                      <a:pt x="5" y="18"/>
                    </a:cubicBezTo>
                    <a:cubicBezTo>
                      <a:pt x="7" y="18"/>
                      <a:pt x="5" y="16"/>
                      <a:pt x="5" y="16"/>
                    </a:cubicBezTo>
                    <a:cubicBezTo>
                      <a:pt x="7" y="15"/>
                      <a:pt x="7" y="13"/>
                      <a:pt x="7" y="12"/>
                    </a:cubicBezTo>
                    <a:cubicBezTo>
                      <a:pt x="7" y="10"/>
                      <a:pt x="8" y="10"/>
                      <a:pt x="8" y="7"/>
                    </a:cubicBezTo>
                    <a:cubicBezTo>
                      <a:pt x="8" y="3"/>
                      <a:pt x="7" y="4"/>
                      <a:pt x="7" y="3"/>
                    </a:cubicBezTo>
                    <a:cubicBezTo>
                      <a:pt x="8" y="1"/>
                      <a:pt x="8" y="0"/>
                      <a:pt x="7" y="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76" name="Freeform 170"/>
              <p:cNvSpPr>
                <a:spLocks noEditPoints="1"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4473344" y="2655592"/>
                <a:ext cx="223405" cy="267847"/>
              </a:xfrm>
              <a:custGeom>
                <a:avLst/>
                <a:gdLst/>
                <a:ahLst/>
                <a:cxnLst>
                  <a:cxn ang="0">
                    <a:pos x="54" y="15"/>
                  </a:cxn>
                  <a:cxn ang="0">
                    <a:pos x="47" y="22"/>
                  </a:cxn>
                  <a:cxn ang="0">
                    <a:pos x="50" y="36"/>
                  </a:cxn>
                  <a:cxn ang="0">
                    <a:pos x="67" y="57"/>
                  </a:cxn>
                  <a:cxn ang="0">
                    <a:pos x="87" y="68"/>
                  </a:cxn>
                  <a:cxn ang="0">
                    <a:pos x="96" y="79"/>
                  </a:cxn>
                  <a:cxn ang="0">
                    <a:pos x="90" y="76"/>
                  </a:cxn>
                  <a:cxn ang="0">
                    <a:pos x="81" y="81"/>
                  </a:cxn>
                  <a:cxn ang="0">
                    <a:pos x="84" y="92"/>
                  </a:cxn>
                  <a:cxn ang="0">
                    <a:pos x="75" y="102"/>
                  </a:cxn>
                  <a:cxn ang="0">
                    <a:pos x="76" y="95"/>
                  </a:cxn>
                  <a:cxn ang="0">
                    <a:pos x="70" y="79"/>
                  </a:cxn>
                  <a:cxn ang="0">
                    <a:pos x="63" y="71"/>
                  </a:cxn>
                  <a:cxn ang="0">
                    <a:pos x="47" y="61"/>
                  </a:cxn>
                  <a:cxn ang="0">
                    <a:pos x="38" y="53"/>
                  </a:cxn>
                  <a:cxn ang="0">
                    <a:pos x="32" y="42"/>
                  </a:cxn>
                  <a:cxn ang="0">
                    <a:pos x="19" y="31"/>
                  </a:cxn>
                  <a:cxn ang="0">
                    <a:pos x="11" y="33"/>
                  </a:cxn>
                  <a:cxn ang="0">
                    <a:pos x="5" y="25"/>
                  </a:cxn>
                  <a:cxn ang="0">
                    <a:pos x="5" y="14"/>
                  </a:cxn>
                  <a:cxn ang="0">
                    <a:pos x="14" y="12"/>
                  </a:cxn>
                  <a:cxn ang="0">
                    <a:pos x="17" y="8"/>
                  </a:cxn>
                  <a:cxn ang="0">
                    <a:pos x="22" y="14"/>
                  </a:cxn>
                  <a:cxn ang="0">
                    <a:pos x="25" y="6"/>
                  </a:cxn>
                  <a:cxn ang="0">
                    <a:pos x="31" y="9"/>
                  </a:cxn>
                  <a:cxn ang="0">
                    <a:pos x="34" y="6"/>
                  </a:cxn>
                  <a:cxn ang="0">
                    <a:pos x="37" y="3"/>
                  </a:cxn>
                  <a:cxn ang="0">
                    <a:pos x="44" y="0"/>
                  </a:cxn>
                  <a:cxn ang="0">
                    <a:pos x="47" y="3"/>
                  </a:cxn>
                  <a:cxn ang="0">
                    <a:pos x="57" y="9"/>
                  </a:cxn>
                  <a:cxn ang="0">
                    <a:pos x="58" y="14"/>
                  </a:cxn>
                  <a:cxn ang="0">
                    <a:pos x="57" y="15"/>
                  </a:cxn>
                  <a:cxn ang="0">
                    <a:pos x="61" y="112"/>
                  </a:cxn>
                  <a:cxn ang="0">
                    <a:pos x="70" y="115"/>
                  </a:cxn>
                  <a:cxn ang="0">
                    <a:pos x="73" y="99"/>
                  </a:cxn>
                  <a:cxn ang="0">
                    <a:pos x="57" y="101"/>
                  </a:cxn>
                  <a:cxn ang="0">
                    <a:pos x="49" y="104"/>
                  </a:cxn>
                  <a:cxn ang="0">
                    <a:pos x="17" y="79"/>
                  </a:cxn>
                  <a:cxn ang="0">
                    <a:pos x="20" y="92"/>
                  </a:cxn>
                  <a:cxn ang="0">
                    <a:pos x="28" y="84"/>
                  </a:cxn>
                  <a:cxn ang="0">
                    <a:pos x="26" y="68"/>
                  </a:cxn>
                  <a:cxn ang="0">
                    <a:pos x="14" y="71"/>
                  </a:cxn>
                </a:cxnLst>
                <a:rect l="0" t="0" r="r" b="b"/>
                <a:pathLst>
                  <a:path w="98" h="118">
                    <a:moveTo>
                      <a:pt x="57" y="15"/>
                    </a:moveTo>
                    <a:cubicBezTo>
                      <a:pt x="55" y="17"/>
                      <a:pt x="57" y="14"/>
                      <a:pt x="54" y="15"/>
                    </a:cubicBezTo>
                    <a:cubicBezTo>
                      <a:pt x="50" y="17"/>
                      <a:pt x="50" y="20"/>
                      <a:pt x="49" y="19"/>
                    </a:cubicBezTo>
                    <a:cubicBezTo>
                      <a:pt x="47" y="17"/>
                      <a:pt x="46" y="20"/>
                      <a:pt x="47" y="22"/>
                    </a:cubicBezTo>
                    <a:cubicBezTo>
                      <a:pt x="49" y="23"/>
                      <a:pt x="50" y="25"/>
                      <a:pt x="49" y="26"/>
                    </a:cubicBezTo>
                    <a:cubicBezTo>
                      <a:pt x="46" y="26"/>
                      <a:pt x="47" y="33"/>
                      <a:pt x="50" y="36"/>
                    </a:cubicBezTo>
                    <a:cubicBezTo>
                      <a:pt x="54" y="37"/>
                      <a:pt x="55" y="40"/>
                      <a:pt x="57" y="40"/>
                    </a:cubicBezTo>
                    <a:cubicBezTo>
                      <a:pt x="60" y="40"/>
                      <a:pt x="58" y="48"/>
                      <a:pt x="67" y="57"/>
                    </a:cubicBezTo>
                    <a:cubicBezTo>
                      <a:pt x="70" y="61"/>
                      <a:pt x="82" y="57"/>
                      <a:pt x="78" y="62"/>
                    </a:cubicBezTo>
                    <a:cubicBezTo>
                      <a:pt x="73" y="65"/>
                      <a:pt x="85" y="67"/>
                      <a:pt x="87" y="68"/>
                    </a:cubicBezTo>
                    <a:cubicBezTo>
                      <a:pt x="87" y="70"/>
                      <a:pt x="89" y="71"/>
                      <a:pt x="92" y="73"/>
                    </a:cubicBezTo>
                    <a:cubicBezTo>
                      <a:pt x="93" y="75"/>
                      <a:pt x="98" y="76"/>
                      <a:pt x="96" y="79"/>
                    </a:cubicBezTo>
                    <a:cubicBezTo>
                      <a:pt x="96" y="82"/>
                      <a:pt x="98" y="82"/>
                      <a:pt x="95" y="82"/>
                    </a:cubicBezTo>
                    <a:cubicBezTo>
                      <a:pt x="92" y="82"/>
                      <a:pt x="93" y="76"/>
                      <a:pt x="90" y="76"/>
                    </a:cubicBezTo>
                    <a:cubicBezTo>
                      <a:pt x="87" y="76"/>
                      <a:pt x="87" y="75"/>
                      <a:pt x="84" y="76"/>
                    </a:cubicBezTo>
                    <a:cubicBezTo>
                      <a:pt x="81" y="78"/>
                      <a:pt x="82" y="79"/>
                      <a:pt x="81" y="81"/>
                    </a:cubicBezTo>
                    <a:cubicBezTo>
                      <a:pt x="79" y="84"/>
                      <a:pt x="81" y="84"/>
                      <a:pt x="82" y="85"/>
                    </a:cubicBezTo>
                    <a:cubicBezTo>
                      <a:pt x="85" y="85"/>
                      <a:pt x="89" y="90"/>
                      <a:pt x="84" y="92"/>
                    </a:cubicBezTo>
                    <a:cubicBezTo>
                      <a:pt x="81" y="95"/>
                      <a:pt x="82" y="96"/>
                      <a:pt x="81" y="99"/>
                    </a:cubicBezTo>
                    <a:cubicBezTo>
                      <a:pt x="78" y="101"/>
                      <a:pt x="78" y="106"/>
                      <a:pt x="75" y="102"/>
                    </a:cubicBezTo>
                    <a:cubicBezTo>
                      <a:pt x="73" y="102"/>
                      <a:pt x="73" y="101"/>
                      <a:pt x="75" y="98"/>
                    </a:cubicBezTo>
                    <a:cubicBezTo>
                      <a:pt x="76" y="96"/>
                      <a:pt x="75" y="96"/>
                      <a:pt x="76" y="95"/>
                    </a:cubicBezTo>
                    <a:cubicBezTo>
                      <a:pt x="78" y="93"/>
                      <a:pt x="78" y="93"/>
                      <a:pt x="76" y="85"/>
                    </a:cubicBezTo>
                    <a:cubicBezTo>
                      <a:pt x="75" y="79"/>
                      <a:pt x="73" y="81"/>
                      <a:pt x="70" y="79"/>
                    </a:cubicBezTo>
                    <a:cubicBezTo>
                      <a:pt x="66" y="76"/>
                      <a:pt x="70" y="73"/>
                      <a:pt x="66" y="73"/>
                    </a:cubicBezTo>
                    <a:cubicBezTo>
                      <a:pt x="63" y="75"/>
                      <a:pt x="66" y="71"/>
                      <a:pt x="63" y="71"/>
                    </a:cubicBezTo>
                    <a:cubicBezTo>
                      <a:pt x="60" y="71"/>
                      <a:pt x="61" y="67"/>
                      <a:pt x="58" y="67"/>
                    </a:cubicBezTo>
                    <a:cubicBezTo>
                      <a:pt x="55" y="67"/>
                      <a:pt x="50" y="65"/>
                      <a:pt x="47" y="61"/>
                    </a:cubicBezTo>
                    <a:cubicBezTo>
                      <a:pt x="44" y="57"/>
                      <a:pt x="44" y="61"/>
                      <a:pt x="43" y="57"/>
                    </a:cubicBezTo>
                    <a:cubicBezTo>
                      <a:pt x="43" y="53"/>
                      <a:pt x="38" y="54"/>
                      <a:pt x="38" y="53"/>
                    </a:cubicBezTo>
                    <a:cubicBezTo>
                      <a:pt x="38" y="51"/>
                      <a:pt x="38" y="51"/>
                      <a:pt x="35" y="48"/>
                    </a:cubicBezTo>
                    <a:cubicBezTo>
                      <a:pt x="32" y="47"/>
                      <a:pt x="35" y="45"/>
                      <a:pt x="32" y="42"/>
                    </a:cubicBezTo>
                    <a:cubicBezTo>
                      <a:pt x="31" y="40"/>
                      <a:pt x="32" y="34"/>
                      <a:pt x="28" y="34"/>
                    </a:cubicBezTo>
                    <a:cubicBezTo>
                      <a:pt x="25" y="36"/>
                      <a:pt x="23" y="29"/>
                      <a:pt x="19" y="31"/>
                    </a:cubicBezTo>
                    <a:cubicBezTo>
                      <a:pt x="15" y="33"/>
                      <a:pt x="19" y="36"/>
                      <a:pt x="9" y="39"/>
                    </a:cubicBezTo>
                    <a:cubicBezTo>
                      <a:pt x="9" y="37"/>
                      <a:pt x="12" y="34"/>
                      <a:pt x="11" y="33"/>
                    </a:cubicBezTo>
                    <a:cubicBezTo>
                      <a:pt x="11" y="33"/>
                      <a:pt x="6" y="36"/>
                      <a:pt x="5" y="31"/>
                    </a:cubicBezTo>
                    <a:cubicBezTo>
                      <a:pt x="3" y="28"/>
                      <a:pt x="9" y="28"/>
                      <a:pt x="5" y="25"/>
                    </a:cubicBezTo>
                    <a:cubicBezTo>
                      <a:pt x="0" y="22"/>
                      <a:pt x="5" y="23"/>
                      <a:pt x="6" y="20"/>
                    </a:cubicBezTo>
                    <a:cubicBezTo>
                      <a:pt x="8" y="19"/>
                      <a:pt x="3" y="17"/>
                      <a:pt x="5" y="14"/>
                    </a:cubicBezTo>
                    <a:cubicBezTo>
                      <a:pt x="6" y="14"/>
                      <a:pt x="6" y="14"/>
                      <a:pt x="9" y="14"/>
                    </a:cubicBezTo>
                    <a:cubicBezTo>
                      <a:pt x="11" y="12"/>
                      <a:pt x="11" y="14"/>
                      <a:pt x="14" y="12"/>
                    </a:cubicBezTo>
                    <a:cubicBezTo>
                      <a:pt x="17" y="9"/>
                      <a:pt x="14" y="9"/>
                      <a:pt x="15" y="9"/>
                    </a:cubicBezTo>
                    <a:cubicBezTo>
                      <a:pt x="15" y="8"/>
                      <a:pt x="17" y="6"/>
                      <a:pt x="17" y="8"/>
                    </a:cubicBezTo>
                    <a:cubicBezTo>
                      <a:pt x="17" y="8"/>
                      <a:pt x="17" y="9"/>
                      <a:pt x="19" y="11"/>
                    </a:cubicBezTo>
                    <a:cubicBezTo>
                      <a:pt x="20" y="12"/>
                      <a:pt x="20" y="15"/>
                      <a:pt x="22" y="14"/>
                    </a:cubicBezTo>
                    <a:cubicBezTo>
                      <a:pt x="23" y="14"/>
                      <a:pt x="20" y="12"/>
                      <a:pt x="23" y="11"/>
                    </a:cubicBezTo>
                    <a:cubicBezTo>
                      <a:pt x="25" y="9"/>
                      <a:pt x="23" y="6"/>
                      <a:pt x="25" y="6"/>
                    </a:cubicBezTo>
                    <a:cubicBezTo>
                      <a:pt x="26" y="6"/>
                      <a:pt x="26" y="9"/>
                      <a:pt x="28" y="9"/>
                    </a:cubicBezTo>
                    <a:cubicBezTo>
                      <a:pt x="29" y="8"/>
                      <a:pt x="29" y="11"/>
                      <a:pt x="31" y="9"/>
                    </a:cubicBezTo>
                    <a:cubicBezTo>
                      <a:pt x="32" y="9"/>
                      <a:pt x="29" y="6"/>
                      <a:pt x="31" y="6"/>
                    </a:cubicBezTo>
                    <a:cubicBezTo>
                      <a:pt x="31" y="5"/>
                      <a:pt x="32" y="8"/>
                      <a:pt x="34" y="6"/>
                    </a:cubicBezTo>
                    <a:cubicBezTo>
                      <a:pt x="34" y="6"/>
                      <a:pt x="32" y="5"/>
                      <a:pt x="34" y="1"/>
                    </a:cubicBezTo>
                    <a:cubicBezTo>
                      <a:pt x="35" y="1"/>
                      <a:pt x="35" y="5"/>
                      <a:pt x="37" y="3"/>
                    </a:cubicBezTo>
                    <a:cubicBezTo>
                      <a:pt x="38" y="3"/>
                      <a:pt x="38" y="1"/>
                      <a:pt x="40" y="1"/>
                    </a:cubicBezTo>
                    <a:cubicBezTo>
                      <a:pt x="41" y="0"/>
                      <a:pt x="41" y="1"/>
                      <a:pt x="44" y="0"/>
                    </a:cubicBezTo>
                    <a:cubicBezTo>
                      <a:pt x="49" y="0"/>
                      <a:pt x="46" y="0"/>
                      <a:pt x="46" y="1"/>
                    </a:cubicBezTo>
                    <a:cubicBezTo>
                      <a:pt x="47" y="1"/>
                      <a:pt x="47" y="1"/>
                      <a:pt x="47" y="3"/>
                    </a:cubicBezTo>
                    <a:cubicBezTo>
                      <a:pt x="47" y="5"/>
                      <a:pt x="50" y="6"/>
                      <a:pt x="58" y="6"/>
                    </a:cubicBezTo>
                    <a:cubicBezTo>
                      <a:pt x="58" y="8"/>
                      <a:pt x="57" y="8"/>
                      <a:pt x="57" y="9"/>
                    </a:cubicBezTo>
                    <a:cubicBezTo>
                      <a:pt x="57" y="11"/>
                      <a:pt x="60" y="9"/>
                      <a:pt x="58" y="11"/>
                    </a:cubicBezTo>
                    <a:cubicBezTo>
                      <a:pt x="57" y="12"/>
                      <a:pt x="57" y="14"/>
                      <a:pt x="58" y="14"/>
                    </a:cubicBezTo>
                    <a:cubicBezTo>
                      <a:pt x="60" y="15"/>
                      <a:pt x="61" y="17"/>
                      <a:pt x="58" y="17"/>
                    </a:cubicBezTo>
                    <a:cubicBezTo>
                      <a:pt x="58" y="17"/>
                      <a:pt x="60" y="15"/>
                      <a:pt x="57" y="15"/>
                    </a:cubicBezTo>
                    <a:close/>
                    <a:moveTo>
                      <a:pt x="54" y="107"/>
                    </a:moveTo>
                    <a:cubicBezTo>
                      <a:pt x="55" y="109"/>
                      <a:pt x="58" y="112"/>
                      <a:pt x="61" y="112"/>
                    </a:cubicBezTo>
                    <a:cubicBezTo>
                      <a:pt x="64" y="112"/>
                      <a:pt x="64" y="115"/>
                      <a:pt x="67" y="115"/>
                    </a:cubicBezTo>
                    <a:cubicBezTo>
                      <a:pt x="70" y="116"/>
                      <a:pt x="70" y="118"/>
                      <a:pt x="70" y="115"/>
                    </a:cubicBezTo>
                    <a:cubicBezTo>
                      <a:pt x="70" y="113"/>
                      <a:pt x="72" y="110"/>
                      <a:pt x="70" y="109"/>
                    </a:cubicBezTo>
                    <a:cubicBezTo>
                      <a:pt x="69" y="109"/>
                      <a:pt x="73" y="101"/>
                      <a:pt x="73" y="99"/>
                    </a:cubicBezTo>
                    <a:cubicBezTo>
                      <a:pt x="75" y="98"/>
                      <a:pt x="70" y="101"/>
                      <a:pt x="69" y="101"/>
                    </a:cubicBezTo>
                    <a:cubicBezTo>
                      <a:pt x="66" y="99"/>
                      <a:pt x="61" y="104"/>
                      <a:pt x="57" y="101"/>
                    </a:cubicBezTo>
                    <a:cubicBezTo>
                      <a:pt x="54" y="96"/>
                      <a:pt x="54" y="104"/>
                      <a:pt x="52" y="101"/>
                    </a:cubicBezTo>
                    <a:cubicBezTo>
                      <a:pt x="50" y="99"/>
                      <a:pt x="49" y="101"/>
                      <a:pt x="49" y="104"/>
                    </a:cubicBezTo>
                    <a:cubicBezTo>
                      <a:pt x="49" y="107"/>
                      <a:pt x="50" y="107"/>
                      <a:pt x="54" y="107"/>
                    </a:cubicBezTo>
                    <a:close/>
                    <a:moveTo>
                      <a:pt x="17" y="79"/>
                    </a:moveTo>
                    <a:cubicBezTo>
                      <a:pt x="17" y="82"/>
                      <a:pt x="19" y="81"/>
                      <a:pt x="17" y="84"/>
                    </a:cubicBezTo>
                    <a:cubicBezTo>
                      <a:pt x="15" y="88"/>
                      <a:pt x="17" y="93"/>
                      <a:pt x="20" y="92"/>
                    </a:cubicBezTo>
                    <a:cubicBezTo>
                      <a:pt x="23" y="92"/>
                      <a:pt x="22" y="88"/>
                      <a:pt x="23" y="90"/>
                    </a:cubicBezTo>
                    <a:cubicBezTo>
                      <a:pt x="26" y="90"/>
                      <a:pt x="26" y="90"/>
                      <a:pt x="28" y="84"/>
                    </a:cubicBezTo>
                    <a:cubicBezTo>
                      <a:pt x="28" y="78"/>
                      <a:pt x="25" y="78"/>
                      <a:pt x="28" y="76"/>
                    </a:cubicBezTo>
                    <a:cubicBezTo>
                      <a:pt x="29" y="75"/>
                      <a:pt x="28" y="70"/>
                      <a:pt x="26" y="68"/>
                    </a:cubicBezTo>
                    <a:cubicBezTo>
                      <a:pt x="25" y="67"/>
                      <a:pt x="25" y="65"/>
                      <a:pt x="20" y="70"/>
                    </a:cubicBezTo>
                    <a:cubicBezTo>
                      <a:pt x="15" y="73"/>
                      <a:pt x="14" y="67"/>
                      <a:pt x="14" y="71"/>
                    </a:cubicBezTo>
                    <a:cubicBezTo>
                      <a:pt x="14" y="75"/>
                      <a:pt x="17" y="75"/>
                      <a:pt x="17" y="79"/>
                    </a:cubicBezTo>
                    <a:close/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77" name="Freeform 171"/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4465156" y="2632198"/>
                <a:ext cx="85385" cy="57312"/>
              </a:xfrm>
              <a:custGeom>
                <a:avLst/>
                <a:gdLst/>
                <a:ahLst/>
                <a:cxnLst>
                  <a:cxn ang="0">
                    <a:pos x="30" y="5"/>
                  </a:cxn>
                  <a:cxn ang="0">
                    <a:pos x="30" y="10"/>
                  </a:cxn>
                  <a:cxn ang="0">
                    <a:pos x="35" y="13"/>
                  </a:cxn>
                  <a:cxn ang="0">
                    <a:pos x="38" y="11"/>
                  </a:cxn>
                  <a:cxn ang="0">
                    <a:pos x="38" y="16"/>
                  </a:cxn>
                  <a:cxn ang="0">
                    <a:pos x="35" y="16"/>
                  </a:cxn>
                  <a:cxn ang="0">
                    <a:pos x="35" y="19"/>
                  </a:cxn>
                  <a:cxn ang="0">
                    <a:pos x="32" y="19"/>
                  </a:cxn>
                  <a:cxn ang="0">
                    <a:pos x="29" y="16"/>
                  </a:cxn>
                  <a:cxn ang="0">
                    <a:pos x="27" y="21"/>
                  </a:cxn>
                  <a:cxn ang="0">
                    <a:pos x="26" y="24"/>
                  </a:cxn>
                  <a:cxn ang="0">
                    <a:pos x="23" y="21"/>
                  </a:cxn>
                  <a:cxn ang="0">
                    <a:pos x="21" y="18"/>
                  </a:cxn>
                  <a:cxn ang="0">
                    <a:pos x="19" y="19"/>
                  </a:cxn>
                  <a:cxn ang="0">
                    <a:pos x="18" y="22"/>
                  </a:cxn>
                  <a:cxn ang="0">
                    <a:pos x="13" y="24"/>
                  </a:cxn>
                  <a:cxn ang="0">
                    <a:pos x="9" y="24"/>
                  </a:cxn>
                  <a:cxn ang="0">
                    <a:pos x="7" y="21"/>
                  </a:cxn>
                  <a:cxn ang="0">
                    <a:pos x="6" y="18"/>
                  </a:cxn>
                  <a:cxn ang="0">
                    <a:pos x="3" y="21"/>
                  </a:cxn>
                  <a:cxn ang="0">
                    <a:pos x="3" y="19"/>
                  </a:cxn>
                  <a:cxn ang="0">
                    <a:pos x="4" y="14"/>
                  </a:cxn>
                  <a:cxn ang="0">
                    <a:pos x="6" y="11"/>
                  </a:cxn>
                  <a:cxn ang="0">
                    <a:pos x="9" y="8"/>
                  </a:cxn>
                  <a:cxn ang="0">
                    <a:pos x="10" y="5"/>
                  </a:cxn>
                  <a:cxn ang="0">
                    <a:pos x="13" y="4"/>
                  </a:cxn>
                  <a:cxn ang="0">
                    <a:pos x="19" y="4"/>
                  </a:cxn>
                  <a:cxn ang="0">
                    <a:pos x="23" y="2"/>
                  </a:cxn>
                  <a:cxn ang="0">
                    <a:pos x="26" y="4"/>
                  </a:cxn>
                  <a:cxn ang="0">
                    <a:pos x="30" y="5"/>
                  </a:cxn>
                </a:cxnLst>
                <a:rect l="0" t="0" r="r" b="b"/>
                <a:pathLst>
                  <a:path w="38" h="25">
                    <a:moveTo>
                      <a:pt x="30" y="5"/>
                    </a:moveTo>
                    <a:cubicBezTo>
                      <a:pt x="32" y="7"/>
                      <a:pt x="27" y="11"/>
                      <a:pt x="30" y="10"/>
                    </a:cubicBezTo>
                    <a:cubicBezTo>
                      <a:pt x="35" y="10"/>
                      <a:pt x="32" y="13"/>
                      <a:pt x="35" y="13"/>
                    </a:cubicBezTo>
                    <a:cubicBezTo>
                      <a:pt x="36" y="13"/>
                      <a:pt x="36" y="8"/>
                      <a:pt x="38" y="11"/>
                    </a:cubicBezTo>
                    <a:cubicBezTo>
                      <a:pt x="36" y="14"/>
                      <a:pt x="38" y="16"/>
                      <a:pt x="38" y="16"/>
                    </a:cubicBezTo>
                    <a:cubicBezTo>
                      <a:pt x="36" y="18"/>
                      <a:pt x="35" y="14"/>
                      <a:pt x="35" y="16"/>
                    </a:cubicBezTo>
                    <a:cubicBezTo>
                      <a:pt x="33" y="16"/>
                      <a:pt x="36" y="19"/>
                      <a:pt x="35" y="19"/>
                    </a:cubicBezTo>
                    <a:cubicBezTo>
                      <a:pt x="33" y="21"/>
                      <a:pt x="33" y="18"/>
                      <a:pt x="32" y="19"/>
                    </a:cubicBezTo>
                    <a:cubicBezTo>
                      <a:pt x="30" y="19"/>
                      <a:pt x="30" y="16"/>
                      <a:pt x="29" y="16"/>
                    </a:cubicBezTo>
                    <a:cubicBezTo>
                      <a:pt x="27" y="16"/>
                      <a:pt x="29" y="19"/>
                      <a:pt x="27" y="21"/>
                    </a:cubicBezTo>
                    <a:cubicBezTo>
                      <a:pt x="24" y="22"/>
                      <a:pt x="27" y="24"/>
                      <a:pt x="26" y="24"/>
                    </a:cubicBezTo>
                    <a:cubicBezTo>
                      <a:pt x="24" y="25"/>
                      <a:pt x="24" y="22"/>
                      <a:pt x="23" y="21"/>
                    </a:cubicBezTo>
                    <a:cubicBezTo>
                      <a:pt x="21" y="19"/>
                      <a:pt x="21" y="18"/>
                      <a:pt x="21" y="18"/>
                    </a:cubicBezTo>
                    <a:cubicBezTo>
                      <a:pt x="21" y="16"/>
                      <a:pt x="19" y="18"/>
                      <a:pt x="19" y="19"/>
                    </a:cubicBezTo>
                    <a:cubicBezTo>
                      <a:pt x="18" y="19"/>
                      <a:pt x="21" y="19"/>
                      <a:pt x="18" y="22"/>
                    </a:cubicBezTo>
                    <a:cubicBezTo>
                      <a:pt x="15" y="24"/>
                      <a:pt x="15" y="22"/>
                      <a:pt x="13" y="24"/>
                    </a:cubicBezTo>
                    <a:cubicBezTo>
                      <a:pt x="10" y="24"/>
                      <a:pt x="10" y="24"/>
                      <a:pt x="9" y="24"/>
                    </a:cubicBezTo>
                    <a:cubicBezTo>
                      <a:pt x="9" y="21"/>
                      <a:pt x="7" y="21"/>
                      <a:pt x="7" y="21"/>
                    </a:cubicBezTo>
                    <a:cubicBezTo>
                      <a:pt x="7" y="19"/>
                      <a:pt x="9" y="16"/>
                      <a:pt x="6" y="18"/>
                    </a:cubicBezTo>
                    <a:cubicBezTo>
                      <a:pt x="3" y="18"/>
                      <a:pt x="6" y="19"/>
                      <a:pt x="3" y="21"/>
                    </a:cubicBezTo>
                    <a:cubicBezTo>
                      <a:pt x="1" y="21"/>
                      <a:pt x="0" y="21"/>
                      <a:pt x="3" y="19"/>
                    </a:cubicBezTo>
                    <a:cubicBezTo>
                      <a:pt x="4" y="18"/>
                      <a:pt x="1" y="16"/>
                      <a:pt x="4" y="14"/>
                    </a:cubicBezTo>
                    <a:cubicBezTo>
                      <a:pt x="7" y="13"/>
                      <a:pt x="4" y="11"/>
                      <a:pt x="6" y="11"/>
                    </a:cubicBezTo>
                    <a:cubicBezTo>
                      <a:pt x="9" y="10"/>
                      <a:pt x="7" y="8"/>
                      <a:pt x="9" y="8"/>
                    </a:cubicBezTo>
                    <a:cubicBezTo>
                      <a:pt x="10" y="7"/>
                      <a:pt x="9" y="7"/>
                      <a:pt x="10" y="5"/>
                    </a:cubicBezTo>
                    <a:cubicBezTo>
                      <a:pt x="10" y="4"/>
                      <a:pt x="12" y="7"/>
                      <a:pt x="13" y="4"/>
                    </a:cubicBezTo>
                    <a:cubicBezTo>
                      <a:pt x="16" y="5"/>
                      <a:pt x="16" y="4"/>
                      <a:pt x="19" y="4"/>
                    </a:cubicBezTo>
                    <a:cubicBezTo>
                      <a:pt x="23" y="4"/>
                      <a:pt x="19" y="2"/>
                      <a:pt x="23" y="2"/>
                    </a:cubicBezTo>
                    <a:cubicBezTo>
                      <a:pt x="24" y="0"/>
                      <a:pt x="24" y="4"/>
                      <a:pt x="26" y="4"/>
                    </a:cubicBezTo>
                    <a:cubicBezTo>
                      <a:pt x="27" y="2"/>
                      <a:pt x="29" y="4"/>
                      <a:pt x="30" y="5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78" name="Freeform 172"/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4525978" y="2598279"/>
                <a:ext cx="145038" cy="77196"/>
              </a:xfrm>
              <a:custGeom>
                <a:avLst/>
                <a:gdLst/>
                <a:ahLst/>
                <a:cxnLst>
                  <a:cxn ang="0">
                    <a:pos x="3" y="20"/>
                  </a:cxn>
                  <a:cxn ang="0">
                    <a:pos x="9" y="22"/>
                  </a:cxn>
                  <a:cxn ang="0">
                    <a:pos x="10" y="19"/>
                  </a:cxn>
                  <a:cxn ang="0">
                    <a:pos x="13" y="20"/>
                  </a:cxn>
                  <a:cxn ang="0">
                    <a:pos x="20" y="19"/>
                  </a:cxn>
                  <a:cxn ang="0">
                    <a:pos x="24" y="17"/>
                  </a:cxn>
                  <a:cxn ang="0">
                    <a:pos x="27" y="19"/>
                  </a:cxn>
                  <a:cxn ang="0">
                    <a:pos x="30" y="20"/>
                  </a:cxn>
                  <a:cxn ang="0">
                    <a:pos x="30" y="16"/>
                  </a:cxn>
                  <a:cxn ang="0">
                    <a:pos x="29" y="11"/>
                  </a:cxn>
                  <a:cxn ang="0">
                    <a:pos x="33" y="10"/>
                  </a:cxn>
                  <a:cxn ang="0">
                    <a:pos x="37" y="5"/>
                  </a:cxn>
                  <a:cxn ang="0">
                    <a:pos x="40" y="8"/>
                  </a:cxn>
                  <a:cxn ang="0">
                    <a:pos x="46" y="4"/>
                  </a:cxn>
                  <a:cxn ang="0">
                    <a:pos x="49" y="4"/>
                  </a:cxn>
                  <a:cxn ang="0">
                    <a:pos x="56" y="5"/>
                  </a:cxn>
                  <a:cxn ang="0">
                    <a:pos x="63" y="7"/>
                  </a:cxn>
                  <a:cxn ang="0">
                    <a:pos x="63" y="14"/>
                  </a:cxn>
                  <a:cxn ang="0">
                    <a:pos x="63" y="17"/>
                  </a:cxn>
                  <a:cxn ang="0">
                    <a:pos x="58" y="17"/>
                  </a:cxn>
                  <a:cxn ang="0">
                    <a:pos x="60" y="20"/>
                  </a:cxn>
                  <a:cxn ang="0">
                    <a:pos x="58" y="22"/>
                  </a:cxn>
                  <a:cxn ang="0">
                    <a:pos x="58" y="25"/>
                  </a:cxn>
                  <a:cxn ang="0">
                    <a:pos x="55" y="27"/>
                  </a:cxn>
                  <a:cxn ang="0">
                    <a:pos x="55" y="28"/>
                  </a:cxn>
                  <a:cxn ang="0">
                    <a:pos x="52" y="30"/>
                  </a:cxn>
                  <a:cxn ang="0">
                    <a:pos x="49" y="30"/>
                  </a:cxn>
                  <a:cxn ang="0">
                    <a:pos x="44" y="33"/>
                  </a:cxn>
                  <a:cxn ang="0">
                    <a:pos x="41" y="33"/>
                  </a:cxn>
                  <a:cxn ang="0">
                    <a:pos x="35" y="31"/>
                  </a:cxn>
                  <a:cxn ang="0">
                    <a:pos x="24" y="28"/>
                  </a:cxn>
                  <a:cxn ang="0">
                    <a:pos x="23" y="27"/>
                  </a:cxn>
                  <a:cxn ang="0">
                    <a:pos x="21" y="25"/>
                  </a:cxn>
                  <a:cxn ang="0">
                    <a:pos x="17" y="27"/>
                  </a:cxn>
                  <a:cxn ang="0">
                    <a:pos x="13" y="28"/>
                  </a:cxn>
                  <a:cxn ang="0">
                    <a:pos x="10" y="27"/>
                  </a:cxn>
                  <a:cxn ang="0">
                    <a:pos x="7" y="28"/>
                  </a:cxn>
                  <a:cxn ang="0">
                    <a:pos x="3" y="25"/>
                  </a:cxn>
                  <a:cxn ang="0">
                    <a:pos x="3" y="20"/>
                  </a:cxn>
                </a:cxnLst>
                <a:rect l="0" t="0" r="r" b="b"/>
                <a:pathLst>
                  <a:path w="64" h="34">
                    <a:moveTo>
                      <a:pt x="3" y="20"/>
                    </a:moveTo>
                    <a:cubicBezTo>
                      <a:pt x="6" y="17"/>
                      <a:pt x="7" y="22"/>
                      <a:pt x="9" y="22"/>
                    </a:cubicBezTo>
                    <a:cubicBezTo>
                      <a:pt x="10" y="22"/>
                      <a:pt x="9" y="19"/>
                      <a:pt x="10" y="19"/>
                    </a:cubicBezTo>
                    <a:cubicBezTo>
                      <a:pt x="12" y="20"/>
                      <a:pt x="13" y="19"/>
                      <a:pt x="13" y="20"/>
                    </a:cubicBezTo>
                    <a:cubicBezTo>
                      <a:pt x="15" y="22"/>
                      <a:pt x="17" y="20"/>
                      <a:pt x="20" y="19"/>
                    </a:cubicBezTo>
                    <a:cubicBezTo>
                      <a:pt x="21" y="17"/>
                      <a:pt x="23" y="20"/>
                      <a:pt x="24" y="17"/>
                    </a:cubicBezTo>
                    <a:cubicBezTo>
                      <a:pt x="24" y="16"/>
                      <a:pt x="26" y="19"/>
                      <a:pt x="27" y="19"/>
                    </a:cubicBezTo>
                    <a:cubicBezTo>
                      <a:pt x="29" y="17"/>
                      <a:pt x="29" y="22"/>
                      <a:pt x="30" y="20"/>
                    </a:cubicBezTo>
                    <a:cubicBezTo>
                      <a:pt x="32" y="19"/>
                      <a:pt x="27" y="17"/>
                      <a:pt x="30" y="16"/>
                    </a:cubicBezTo>
                    <a:cubicBezTo>
                      <a:pt x="32" y="16"/>
                      <a:pt x="27" y="14"/>
                      <a:pt x="29" y="11"/>
                    </a:cubicBezTo>
                    <a:cubicBezTo>
                      <a:pt x="32" y="10"/>
                      <a:pt x="33" y="11"/>
                      <a:pt x="33" y="10"/>
                    </a:cubicBezTo>
                    <a:cubicBezTo>
                      <a:pt x="33" y="7"/>
                      <a:pt x="37" y="10"/>
                      <a:pt x="37" y="5"/>
                    </a:cubicBezTo>
                    <a:cubicBezTo>
                      <a:pt x="40" y="7"/>
                      <a:pt x="37" y="8"/>
                      <a:pt x="40" y="8"/>
                    </a:cubicBezTo>
                    <a:cubicBezTo>
                      <a:pt x="43" y="7"/>
                      <a:pt x="46" y="7"/>
                      <a:pt x="46" y="4"/>
                    </a:cubicBezTo>
                    <a:cubicBezTo>
                      <a:pt x="46" y="0"/>
                      <a:pt x="47" y="4"/>
                      <a:pt x="49" y="4"/>
                    </a:cubicBezTo>
                    <a:cubicBezTo>
                      <a:pt x="50" y="4"/>
                      <a:pt x="55" y="7"/>
                      <a:pt x="56" y="5"/>
                    </a:cubicBezTo>
                    <a:cubicBezTo>
                      <a:pt x="60" y="4"/>
                      <a:pt x="61" y="7"/>
                      <a:pt x="63" y="7"/>
                    </a:cubicBezTo>
                    <a:cubicBezTo>
                      <a:pt x="61" y="10"/>
                      <a:pt x="60" y="10"/>
                      <a:pt x="63" y="14"/>
                    </a:cubicBezTo>
                    <a:cubicBezTo>
                      <a:pt x="63" y="16"/>
                      <a:pt x="64" y="17"/>
                      <a:pt x="63" y="17"/>
                    </a:cubicBezTo>
                    <a:cubicBezTo>
                      <a:pt x="61" y="17"/>
                      <a:pt x="58" y="17"/>
                      <a:pt x="58" y="17"/>
                    </a:cubicBezTo>
                    <a:cubicBezTo>
                      <a:pt x="58" y="19"/>
                      <a:pt x="60" y="19"/>
                      <a:pt x="60" y="20"/>
                    </a:cubicBezTo>
                    <a:cubicBezTo>
                      <a:pt x="60" y="22"/>
                      <a:pt x="58" y="20"/>
                      <a:pt x="58" y="22"/>
                    </a:cubicBezTo>
                    <a:cubicBezTo>
                      <a:pt x="58" y="25"/>
                      <a:pt x="58" y="25"/>
                      <a:pt x="58" y="25"/>
                    </a:cubicBezTo>
                    <a:cubicBezTo>
                      <a:pt x="58" y="25"/>
                      <a:pt x="56" y="27"/>
                      <a:pt x="55" y="27"/>
                    </a:cubicBezTo>
                    <a:cubicBezTo>
                      <a:pt x="55" y="28"/>
                      <a:pt x="53" y="27"/>
                      <a:pt x="55" y="28"/>
                    </a:cubicBezTo>
                    <a:cubicBezTo>
                      <a:pt x="55" y="30"/>
                      <a:pt x="55" y="30"/>
                      <a:pt x="52" y="30"/>
                    </a:cubicBezTo>
                    <a:cubicBezTo>
                      <a:pt x="50" y="30"/>
                      <a:pt x="52" y="31"/>
                      <a:pt x="49" y="30"/>
                    </a:cubicBezTo>
                    <a:cubicBezTo>
                      <a:pt x="46" y="30"/>
                      <a:pt x="46" y="30"/>
                      <a:pt x="44" y="33"/>
                    </a:cubicBezTo>
                    <a:cubicBezTo>
                      <a:pt x="41" y="34"/>
                      <a:pt x="43" y="31"/>
                      <a:pt x="41" y="33"/>
                    </a:cubicBezTo>
                    <a:cubicBezTo>
                      <a:pt x="38" y="33"/>
                      <a:pt x="40" y="31"/>
                      <a:pt x="35" y="31"/>
                    </a:cubicBezTo>
                    <a:cubicBezTo>
                      <a:pt x="27" y="31"/>
                      <a:pt x="24" y="30"/>
                      <a:pt x="24" y="28"/>
                    </a:cubicBezTo>
                    <a:cubicBezTo>
                      <a:pt x="24" y="27"/>
                      <a:pt x="24" y="27"/>
                      <a:pt x="23" y="27"/>
                    </a:cubicBezTo>
                    <a:cubicBezTo>
                      <a:pt x="23" y="25"/>
                      <a:pt x="26" y="25"/>
                      <a:pt x="21" y="25"/>
                    </a:cubicBezTo>
                    <a:cubicBezTo>
                      <a:pt x="18" y="27"/>
                      <a:pt x="18" y="25"/>
                      <a:pt x="17" y="27"/>
                    </a:cubicBezTo>
                    <a:cubicBezTo>
                      <a:pt x="15" y="27"/>
                      <a:pt x="15" y="28"/>
                      <a:pt x="13" y="28"/>
                    </a:cubicBezTo>
                    <a:cubicBezTo>
                      <a:pt x="12" y="30"/>
                      <a:pt x="12" y="27"/>
                      <a:pt x="10" y="27"/>
                    </a:cubicBezTo>
                    <a:cubicBezTo>
                      <a:pt x="9" y="24"/>
                      <a:pt x="9" y="28"/>
                      <a:pt x="7" y="28"/>
                    </a:cubicBezTo>
                    <a:cubicBezTo>
                      <a:pt x="4" y="28"/>
                      <a:pt x="7" y="25"/>
                      <a:pt x="3" y="25"/>
                    </a:cubicBezTo>
                    <a:cubicBezTo>
                      <a:pt x="0" y="27"/>
                      <a:pt x="4" y="22"/>
                      <a:pt x="3" y="2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79" name="Freeform 173"/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4578613" y="2546815"/>
                <a:ext cx="119305" cy="70178"/>
              </a:xfrm>
              <a:custGeom>
                <a:avLst/>
                <a:gdLst/>
                <a:ahLst/>
                <a:cxnLst>
                  <a:cxn ang="0">
                    <a:pos x="13" y="28"/>
                  </a:cxn>
                  <a:cxn ang="0">
                    <a:pos x="17" y="31"/>
                  </a:cxn>
                  <a:cxn ang="0">
                    <a:pos x="23" y="26"/>
                  </a:cxn>
                  <a:cxn ang="0">
                    <a:pos x="26" y="26"/>
                  </a:cxn>
                  <a:cxn ang="0">
                    <a:pos x="33" y="28"/>
                  </a:cxn>
                  <a:cxn ang="0">
                    <a:pos x="39" y="29"/>
                  </a:cxn>
                  <a:cxn ang="0">
                    <a:pos x="46" y="26"/>
                  </a:cxn>
                  <a:cxn ang="0">
                    <a:pos x="53" y="20"/>
                  </a:cxn>
                  <a:cxn ang="0">
                    <a:pos x="49" y="14"/>
                  </a:cxn>
                  <a:cxn ang="0">
                    <a:pos x="44" y="12"/>
                  </a:cxn>
                  <a:cxn ang="0">
                    <a:pos x="42" y="11"/>
                  </a:cxn>
                  <a:cxn ang="0">
                    <a:pos x="38" y="9"/>
                  </a:cxn>
                  <a:cxn ang="0">
                    <a:pos x="35" y="11"/>
                  </a:cxn>
                  <a:cxn ang="0">
                    <a:pos x="35" y="6"/>
                  </a:cxn>
                  <a:cxn ang="0">
                    <a:pos x="29" y="5"/>
                  </a:cxn>
                  <a:cxn ang="0">
                    <a:pos x="23" y="3"/>
                  </a:cxn>
                  <a:cxn ang="0">
                    <a:pos x="18" y="1"/>
                  </a:cxn>
                  <a:cxn ang="0">
                    <a:pos x="15" y="5"/>
                  </a:cxn>
                  <a:cxn ang="0">
                    <a:pos x="4" y="9"/>
                  </a:cxn>
                  <a:cxn ang="0">
                    <a:pos x="1" y="14"/>
                  </a:cxn>
                  <a:cxn ang="0">
                    <a:pos x="6" y="20"/>
                  </a:cxn>
                  <a:cxn ang="0">
                    <a:pos x="13" y="28"/>
                  </a:cxn>
                </a:cxnLst>
                <a:rect l="0" t="0" r="r" b="b"/>
                <a:pathLst>
                  <a:path w="53" h="31">
                    <a:moveTo>
                      <a:pt x="13" y="28"/>
                    </a:moveTo>
                    <a:cubicBezTo>
                      <a:pt x="17" y="29"/>
                      <a:pt x="13" y="31"/>
                      <a:pt x="17" y="31"/>
                    </a:cubicBezTo>
                    <a:cubicBezTo>
                      <a:pt x="20" y="29"/>
                      <a:pt x="23" y="29"/>
                      <a:pt x="23" y="26"/>
                    </a:cubicBezTo>
                    <a:cubicBezTo>
                      <a:pt x="23" y="23"/>
                      <a:pt x="24" y="26"/>
                      <a:pt x="26" y="26"/>
                    </a:cubicBezTo>
                    <a:cubicBezTo>
                      <a:pt x="27" y="26"/>
                      <a:pt x="32" y="29"/>
                      <a:pt x="33" y="28"/>
                    </a:cubicBezTo>
                    <a:cubicBezTo>
                      <a:pt x="36" y="26"/>
                      <a:pt x="38" y="29"/>
                      <a:pt x="39" y="29"/>
                    </a:cubicBezTo>
                    <a:cubicBezTo>
                      <a:pt x="41" y="25"/>
                      <a:pt x="42" y="28"/>
                      <a:pt x="46" y="26"/>
                    </a:cubicBezTo>
                    <a:cubicBezTo>
                      <a:pt x="50" y="25"/>
                      <a:pt x="46" y="23"/>
                      <a:pt x="53" y="20"/>
                    </a:cubicBezTo>
                    <a:cubicBezTo>
                      <a:pt x="53" y="17"/>
                      <a:pt x="52" y="15"/>
                      <a:pt x="49" y="14"/>
                    </a:cubicBezTo>
                    <a:cubicBezTo>
                      <a:pt x="46" y="12"/>
                      <a:pt x="47" y="14"/>
                      <a:pt x="44" y="12"/>
                    </a:cubicBezTo>
                    <a:cubicBezTo>
                      <a:pt x="42" y="11"/>
                      <a:pt x="46" y="11"/>
                      <a:pt x="42" y="11"/>
                    </a:cubicBezTo>
                    <a:cubicBezTo>
                      <a:pt x="39" y="9"/>
                      <a:pt x="36" y="8"/>
                      <a:pt x="38" y="9"/>
                    </a:cubicBezTo>
                    <a:cubicBezTo>
                      <a:pt x="39" y="11"/>
                      <a:pt x="38" y="14"/>
                      <a:pt x="35" y="11"/>
                    </a:cubicBezTo>
                    <a:cubicBezTo>
                      <a:pt x="30" y="6"/>
                      <a:pt x="35" y="8"/>
                      <a:pt x="35" y="6"/>
                    </a:cubicBezTo>
                    <a:cubicBezTo>
                      <a:pt x="33" y="5"/>
                      <a:pt x="33" y="6"/>
                      <a:pt x="29" y="5"/>
                    </a:cubicBezTo>
                    <a:cubicBezTo>
                      <a:pt x="23" y="1"/>
                      <a:pt x="26" y="0"/>
                      <a:pt x="23" y="3"/>
                    </a:cubicBezTo>
                    <a:cubicBezTo>
                      <a:pt x="20" y="5"/>
                      <a:pt x="18" y="1"/>
                      <a:pt x="18" y="1"/>
                    </a:cubicBezTo>
                    <a:cubicBezTo>
                      <a:pt x="17" y="1"/>
                      <a:pt x="20" y="3"/>
                      <a:pt x="15" y="5"/>
                    </a:cubicBezTo>
                    <a:cubicBezTo>
                      <a:pt x="10" y="5"/>
                      <a:pt x="9" y="8"/>
                      <a:pt x="4" y="9"/>
                    </a:cubicBezTo>
                    <a:cubicBezTo>
                      <a:pt x="1" y="11"/>
                      <a:pt x="0" y="11"/>
                      <a:pt x="1" y="14"/>
                    </a:cubicBezTo>
                    <a:cubicBezTo>
                      <a:pt x="4" y="17"/>
                      <a:pt x="0" y="19"/>
                      <a:pt x="6" y="20"/>
                    </a:cubicBezTo>
                    <a:cubicBezTo>
                      <a:pt x="9" y="22"/>
                      <a:pt x="9" y="25"/>
                      <a:pt x="13" y="28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80" name="Freeform 174"/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auto">
              <a:xfrm>
                <a:off x="4762250" y="2728109"/>
                <a:ext cx="113457" cy="81875"/>
              </a:xfrm>
              <a:custGeom>
                <a:avLst/>
                <a:gdLst/>
                <a:ahLst/>
                <a:cxnLst>
                  <a:cxn ang="0">
                    <a:pos x="1" y="22"/>
                  </a:cxn>
                  <a:cxn ang="0">
                    <a:pos x="4" y="27"/>
                  </a:cxn>
                  <a:cxn ang="0">
                    <a:pos x="6" y="33"/>
                  </a:cxn>
                  <a:cxn ang="0">
                    <a:pos x="10" y="33"/>
                  </a:cxn>
                  <a:cxn ang="0">
                    <a:pos x="16" y="31"/>
                  </a:cxn>
                  <a:cxn ang="0">
                    <a:pos x="19" y="31"/>
                  </a:cxn>
                  <a:cxn ang="0">
                    <a:pos x="23" y="33"/>
                  </a:cxn>
                  <a:cxn ang="0">
                    <a:pos x="29" y="33"/>
                  </a:cxn>
                  <a:cxn ang="0">
                    <a:pos x="32" y="28"/>
                  </a:cxn>
                  <a:cxn ang="0">
                    <a:pos x="35" y="27"/>
                  </a:cxn>
                  <a:cxn ang="0">
                    <a:pos x="38" y="25"/>
                  </a:cxn>
                  <a:cxn ang="0">
                    <a:pos x="42" y="27"/>
                  </a:cxn>
                  <a:cxn ang="0">
                    <a:pos x="45" y="25"/>
                  </a:cxn>
                  <a:cxn ang="0">
                    <a:pos x="44" y="22"/>
                  </a:cxn>
                  <a:cxn ang="0">
                    <a:pos x="42" y="19"/>
                  </a:cxn>
                  <a:cxn ang="0">
                    <a:pos x="45" y="11"/>
                  </a:cxn>
                  <a:cxn ang="0">
                    <a:pos x="50" y="7"/>
                  </a:cxn>
                  <a:cxn ang="0">
                    <a:pos x="45" y="4"/>
                  </a:cxn>
                  <a:cxn ang="0">
                    <a:pos x="39" y="2"/>
                  </a:cxn>
                  <a:cxn ang="0">
                    <a:pos x="29" y="5"/>
                  </a:cxn>
                  <a:cxn ang="0">
                    <a:pos x="19" y="5"/>
                  </a:cxn>
                  <a:cxn ang="0">
                    <a:pos x="12" y="5"/>
                  </a:cxn>
                  <a:cxn ang="0">
                    <a:pos x="4" y="5"/>
                  </a:cxn>
                  <a:cxn ang="0">
                    <a:pos x="3" y="0"/>
                  </a:cxn>
                  <a:cxn ang="0">
                    <a:pos x="1" y="7"/>
                  </a:cxn>
                  <a:cxn ang="0">
                    <a:pos x="4" y="14"/>
                  </a:cxn>
                  <a:cxn ang="0">
                    <a:pos x="1" y="17"/>
                  </a:cxn>
                  <a:cxn ang="0">
                    <a:pos x="1" y="22"/>
                  </a:cxn>
                </a:cxnLst>
                <a:rect l="0" t="0" r="r" b="b"/>
                <a:pathLst>
                  <a:path w="50" h="36">
                    <a:moveTo>
                      <a:pt x="1" y="22"/>
                    </a:moveTo>
                    <a:cubicBezTo>
                      <a:pt x="1" y="25"/>
                      <a:pt x="4" y="24"/>
                      <a:pt x="4" y="27"/>
                    </a:cubicBezTo>
                    <a:cubicBezTo>
                      <a:pt x="6" y="30"/>
                      <a:pt x="4" y="31"/>
                      <a:pt x="6" y="33"/>
                    </a:cubicBezTo>
                    <a:cubicBezTo>
                      <a:pt x="7" y="34"/>
                      <a:pt x="6" y="31"/>
                      <a:pt x="10" y="33"/>
                    </a:cubicBezTo>
                    <a:cubicBezTo>
                      <a:pt x="13" y="33"/>
                      <a:pt x="15" y="30"/>
                      <a:pt x="16" y="31"/>
                    </a:cubicBezTo>
                    <a:cubicBezTo>
                      <a:pt x="18" y="31"/>
                      <a:pt x="16" y="28"/>
                      <a:pt x="19" y="31"/>
                    </a:cubicBezTo>
                    <a:cubicBezTo>
                      <a:pt x="21" y="34"/>
                      <a:pt x="21" y="30"/>
                      <a:pt x="23" y="33"/>
                    </a:cubicBezTo>
                    <a:cubicBezTo>
                      <a:pt x="24" y="36"/>
                      <a:pt x="26" y="33"/>
                      <a:pt x="29" y="33"/>
                    </a:cubicBezTo>
                    <a:cubicBezTo>
                      <a:pt x="33" y="33"/>
                      <a:pt x="27" y="27"/>
                      <a:pt x="32" y="28"/>
                    </a:cubicBezTo>
                    <a:cubicBezTo>
                      <a:pt x="32" y="27"/>
                      <a:pt x="33" y="28"/>
                      <a:pt x="35" y="27"/>
                    </a:cubicBezTo>
                    <a:cubicBezTo>
                      <a:pt x="35" y="24"/>
                      <a:pt x="36" y="27"/>
                      <a:pt x="38" y="25"/>
                    </a:cubicBezTo>
                    <a:cubicBezTo>
                      <a:pt x="39" y="24"/>
                      <a:pt x="41" y="27"/>
                      <a:pt x="42" y="27"/>
                    </a:cubicBezTo>
                    <a:cubicBezTo>
                      <a:pt x="44" y="27"/>
                      <a:pt x="44" y="25"/>
                      <a:pt x="45" y="25"/>
                    </a:cubicBezTo>
                    <a:cubicBezTo>
                      <a:pt x="45" y="24"/>
                      <a:pt x="42" y="25"/>
                      <a:pt x="44" y="22"/>
                    </a:cubicBezTo>
                    <a:cubicBezTo>
                      <a:pt x="44" y="19"/>
                      <a:pt x="38" y="22"/>
                      <a:pt x="42" y="19"/>
                    </a:cubicBezTo>
                    <a:cubicBezTo>
                      <a:pt x="47" y="16"/>
                      <a:pt x="42" y="16"/>
                      <a:pt x="45" y="11"/>
                    </a:cubicBezTo>
                    <a:cubicBezTo>
                      <a:pt x="47" y="7"/>
                      <a:pt x="50" y="14"/>
                      <a:pt x="50" y="7"/>
                    </a:cubicBezTo>
                    <a:cubicBezTo>
                      <a:pt x="49" y="5"/>
                      <a:pt x="47" y="7"/>
                      <a:pt x="45" y="4"/>
                    </a:cubicBezTo>
                    <a:cubicBezTo>
                      <a:pt x="42" y="0"/>
                      <a:pt x="41" y="5"/>
                      <a:pt x="39" y="2"/>
                    </a:cubicBezTo>
                    <a:cubicBezTo>
                      <a:pt x="38" y="0"/>
                      <a:pt x="32" y="4"/>
                      <a:pt x="29" y="5"/>
                    </a:cubicBezTo>
                    <a:cubicBezTo>
                      <a:pt x="24" y="8"/>
                      <a:pt x="21" y="7"/>
                      <a:pt x="19" y="5"/>
                    </a:cubicBezTo>
                    <a:cubicBezTo>
                      <a:pt x="16" y="5"/>
                      <a:pt x="15" y="8"/>
                      <a:pt x="12" y="5"/>
                    </a:cubicBezTo>
                    <a:cubicBezTo>
                      <a:pt x="7" y="4"/>
                      <a:pt x="7" y="7"/>
                      <a:pt x="4" y="5"/>
                    </a:cubicBezTo>
                    <a:cubicBezTo>
                      <a:pt x="3" y="4"/>
                      <a:pt x="9" y="4"/>
                      <a:pt x="3" y="0"/>
                    </a:cubicBezTo>
                    <a:cubicBezTo>
                      <a:pt x="3" y="4"/>
                      <a:pt x="0" y="2"/>
                      <a:pt x="1" y="7"/>
                    </a:cubicBezTo>
                    <a:cubicBezTo>
                      <a:pt x="3" y="13"/>
                      <a:pt x="7" y="11"/>
                      <a:pt x="4" y="14"/>
                    </a:cubicBezTo>
                    <a:cubicBezTo>
                      <a:pt x="3" y="17"/>
                      <a:pt x="1" y="14"/>
                      <a:pt x="1" y="17"/>
                    </a:cubicBezTo>
                    <a:cubicBezTo>
                      <a:pt x="1" y="19"/>
                      <a:pt x="4" y="21"/>
                      <a:pt x="1" y="22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81" name="Freeform 175"/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4697918" y="2680153"/>
                <a:ext cx="79537" cy="108776"/>
              </a:xfrm>
              <a:custGeom>
                <a:avLst/>
                <a:gdLst/>
                <a:ahLst/>
                <a:cxnLst>
                  <a:cxn ang="0">
                    <a:pos x="11" y="40"/>
                  </a:cxn>
                  <a:cxn ang="0">
                    <a:pos x="12" y="43"/>
                  </a:cxn>
                  <a:cxn ang="0">
                    <a:pos x="14" y="48"/>
                  </a:cxn>
                  <a:cxn ang="0">
                    <a:pos x="17" y="45"/>
                  </a:cxn>
                  <a:cxn ang="0">
                    <a:pos x="23" y="43"/>
                  </a:cxn>
                  <a:cxn ang="0">
                    <a:pos x="29" y="43"/>
                  </a:cxn>
                  <a:cxn ang="0">
                    <a:pos x="29" y="39"/>
                  </a:cxn>
                  <a:cxn ang="0">
                    <a:pos x="32" y="36"/>
                  </a:cxn>
                  <a:cxn ang="0">
                    <a:pos x="29" y="28"/>
                  </a:cxn>
                  <a:cxn ang="0">
                    <a:pos x="31" y="22"/>
                  </a:cxn>
                  <a:cxn ang="0">
                    <a:pos x="29" y="17"/>
                  </a:cxn>
                  <a:cxn ang="0">
                    <a:pos x="26" y="19"/>
                  </a:cxn>
                  <a:cxn ang="0">
                    <a:pos x="21" y="12"/>
                  </a:cxn>
                  <a:cxn ang="0">
                    <a:pos x="15" y="6"/>
                  </a:cxn>
                  <a:cxn ang="0">
                    <a:pos x="12" y="0"/>
                  </a:cxn>
                  <a:cxn ang="0">
                    <a:pos x="6" y="0"/>
                  </a:cxn>
                  <a:cxn ang="0">
                    <a:pos x="0" y="3"/>
                  </a:cxn>
                  <a:cxn ang="0">
                    <a:pos x="2" y="9"/>
                  </a:cxn>
                  <a:cxn ang="0">
                    <a:pos x="5" y="11"/>
                  </a:cxn>
                  <a:cxn ang="0">
                    <a:pos x="2" y="14"/>
                  </a:cxn>
                  <a:cxn ang="0">
                    <a:pos x="3" y="19"/>
                  </a:cxn>
                  <a:cxn ang="0">
                    <a:pos x="6" y="25"/>
                  </a:cxn>
                  <a:cxn ang="0">
                    <a:pos x="3" y="25"/>
                  </a:cxn>
                  <a:cxn ang="0">
                    <a:pos x="6" y="29"/>
                  </a:cxn>
                  <a:cxn ang="0">
                    <a:pos x="3" y="29"/>
                  </a:cxn>
                  <a:cxn ang="0">
                    <a:pos x="12" y="37"/>
                  </a:cxn>
                  <a:cxn ang="0">
                    <a:pos x="9" y="39"/>
                  </a:cxn>
                  <a:cxn ang="0">
                    <a:pos x="11" y="40"/>
                  </a:cxn>
                </a:cxnLst>
                <a:rect l="0" t="0" r="r" b="b"/>
                <a:pathLst>
                  <a:path w="35" h="48">
                    <a:moveTo>
                      <a:pt x="11" y="40"/>
                    </a:moveTo>
                    <a:cubicBezTo>
                      <a:pt x="12" y="42"/>
                      <a:pt x="11" y="43"/>
                      <a:pt x="12" y="43"/>
                    </a:cubicBezTo>
                    <a:cubicBezTo>
                      <a:pt x="15" y="45"/>
                      <a:pt x="14" y="46"/>
                      <a:pt x="14" y="48"/>
                    </a:cubicBezTo>
                    <a:cubicBezTo>
                      <a:pt x="17" y="48"/>
                      <a:pt x="14" y="46"/>
                      <a:pt x="17" y="45"/>
                    </a:cubicBezTo>
                    <a:cubicBezTo>
                      <a:pt x="21" y="45"/>
                      <a:pt x="20" y="43"/>
                      <a:pt x="23" y="43"/>
                    </a:cubicBezTo>
                    <a:cubicBezTo>
                      <a:pt x="26" y="45"/>
                      <a:pt x="26" y="42"/>
                      <a:pt x="29" y="43"/>
                    </a:cubicBezTo>
                    <a:cubicBezTo>
                      <a:pt x="32" y="42"/>
                      <a:pt x="29" y="40"/>
                      <a:pt x="29" y="39"/>
                    </a:cubicBezTo>
                    <a:cubicBezTo>
                      <a:pt x="29" y="36"/>
                      <a:pt x="31" y="39"/>
                      <a:pt x="32" y="36"/>
                    </a:cubicBezTo>
                    <a:cubicBezTo>
                      <a:pt x="35" y="32"/>
                      <a:pt x="31" y="34"/>
                      <a:pt x="29" y="28"/>
                    </a:cubicBezTo>
                    <a:cubicBezTo>
                      <a:pt x="28" y="23"/>
                      <a:pt x="31" y="25"/>
                      <a:pt x="31" y="22"/>
                    </a:cubicBezTo>
                    <a:cubicBezTo>
                      <a:pt x="26" y="17"/>
                      <a:pt x="35" y="20"/>
                      <a:pt x="29" y="17"/>
                    </a:cubicBezTo>
                    <a:cubicBezTo>
                      <a:pt x="28" y="15"/>
                      <a:pt x="29" y="19"/>
                      <a:pt x="26" y="19"/>
                    </a:cubicBezTo>
                    <a:cubicBezTo>
                      <a:pt x="21" y="17"/>
                      <a:pt x="20" y="14"/>
                      <a:pt x="21" y="12"/>
                    </a:cubicBezTo>
                    <a:cubicBezTo>
                      <a:pt x="23" y="9"/>
                      <a:pt x="15" y="11"/>
                      <a:pt x="15" y="6"/>
                    </a:cubicBezTo>
                    <a:cubicBezTo>
                      <a:pt x="17" y="3"/>
                      <a:pt x="14" y="3"/>
                      <a:pt x="12" y="0"/>
                    </a:cubicBezTo>
                    <a:cubicBezTo>
                      <a:pt x="9" y="0"/>
                      <a:pt x="8" y="0"/>
                      <a:pt x="6" y="0"/>
                    </a:cubicBezTo>
                    <a:cubicBezTo>
                      <a:pt x="5" y="0"/>
                      <a:pt x="5" y="1"/>
                      <a:pt x="0" y="3"/>
                    </a:cubicBezTo>
                    <a:cubicBezTo>
                      <a:pt x="2" y="5"/>
                      <a:pt x="2" y="8"/>
                      <a:pt x="2" y="9"/>
                    </a:cubicBezTo>
                    <a:cubicBezTo>
                      <a:pt x="5" y="11"/>
                      <a:pt x="6" y="9"/>
                      <a:pt x="5" y="11"/>
                    </a:cubicBezTo>
                    <a:cubicBezTo>
                      <a:pt x="5" y="12"/>
                      <a:pt x="3" y="11"/>
                      <a:pt x="2" y="14"/>
                    </a:cubicBezTo>
                    <a:cubicBezTo>
                      <a:pt x="6" y="14"/>
                      <a:pt x="5" y="14"/>
                      <a:pt x="3" y="19"/>
                    </a:cubicBezTo>
                    <a:cubicBezTo>
                      <a:pt x="2" y="22"/>
                      <a:pt x="8" y="23"/>
                      <a:pt x="6" y="25"/>
                    </a:cubicBezTo>
                    <a:cubicBezTo>
                      <a:pt x="5" y="26"/>
                      <a:pt x="5" y="23"/>
                      <a:pt x="3" y="25"/>
                    </a:cubicBezTo>
                    <a:cubicBezTo>
                      <a:pt x="3" y="25"/>
                      <a:pt x="6" y="28"/>
                      <a:pt x="6" y="29"/>
                    </a:cubicBezTo>
                    <a:cubicBezTo>
                      <a:pt x="5" y="29"/>
                      <a:pt x="5" y="28"/>
                      <a:pt x="3" y="29"/>
                    </a:cubicBezTo>
                    <a:cubicBezTo>
                      <a:pt x="6" y="34"/>
                      <a:pt x="12" y="36"/>
                      <a:pt x="12" y="37"/>
                    </a:cubicBezTo>
                    <a:cubicBezTo>
                      <a:pt x="12" y="39"/>
                      <a:pt x="8" y="39"/>
                      <a:pt x="9" y="39"/>
                    </a:cubicBezTo>
                    <a:cubicBezTo>
                      <a:pt x="11" y="40"/>
                      <a:pt x="9" y="40"/>
                      <a:pt x="11" y="4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82" name="Freeform 176"/>
              <p:cNvSpPr>
                <a:spLocks/>
              </p:cNvSpPr>
              <p:nvPr>
                <p:custDataLst>
                  <p:tags r:id="rId202"/>
                </p:custDataLst>
              </p:nvPr>
            </p:nvSpPr>
            <p:spPr bwMode="auto">
              <a:xfrm>
                <a:off x="4728330" y="2776064"/>
                <a:ext cx="46786" cy="40937"/>
              </a:xfrm>
              <a:custGeom>
                <a:avLst/>
                <a:gdLst/>
                <a:ahLst/>
                <a:cxnLst>
                  <a:cxn ang="0">
                    <a:pos x="1" y="6"/>
                  </a:cxn>
                  <a:cxn ang="0">
                    <a:pos x="1" y="9"/>
                  </a:cxn>
                  <a:cxn ang="0">
                    <a:pos x="1" y="12"/>
                  </a:cxn>
                  <a:cxn ang="0">
                    <a:pos x="4" y="17"/>
                  </a:cxn>
                  <a:cxn ang="0">
                    <a:pos x="4" y="18"/>
                  </a:cxn>
                  <a:cxn ang="0">
                    <a:pos x="15" y="14"/>
                  </a:cxn>
                  <a:cxn ang="0">
                    <a:pos x="21" y="12"/>
                  </a:cxn>
                  <a:cxn ang="0">
                    <a:pos x="19" y="6"/>
                  </a:cxn>
                  <a:cxn ang="0">
                    <a:pos x="16" y="2"/>
                  </a:cxn>
                  <a:cxn ang="0">
                    <a:pos x="10" y="2"/>
                  </a:cxn>
                  <a:cxn ang="0">
                    <a:pos x="4" y="3"/>
                  </a:cxn>
                  <a:cxn ang="0">
                    <a:pos x="1" y="6"/>
                  </a:cxn>
                </a:cxnLst>
                <a:rect l="0" t="0" r="r" b="b"/>
                <a:pathLst>
                  <a:path w="21" h="18">
                    <a:moveTo>
                      <a:pt x="1" y="6"/>
                    </a:moveTo>
                    <a:cubicBezTo>
                      <a:pt x="1" y="9"/>
                      <a:pt x="1" y="9"/>
                      <a:pt x="1" y="9"/>
                    </a:cubicBezTo>
                    <a:cubicBezTo>
                      <a:pt x="0" y="11"/>
                      <a:pt x="1" y="11"/>
                      <a:pt x="1" y="12"/>
                    </a:cubicBezTo>
                    <a:cubicBezTo>
                      <a:pt x="1" y="14"/>
                      <a:pt x="3" y="17"/>
                      <a:pt x="4" y="17"/>
                    </a:cubicBezTo>
                    <a:cubicBezTo>
                      <a:pt x="4" y="15"/>
                      <a:pt x="4" y="17"/>
                      <a:pt x="4" y="18"/>
                    </a:cubicBezTo>
                    <a:cubicBezTo>
                      <a:pt x="16" y="17"/>
                      <a:pt x="10" y="12"/>
                      <a:pt x="15" y="14"/>
                    </a:cubicBezTo>
                    <a:cubicBezTo>
                      <a:pt x="19" y="17"/>
                      <a:pt x="18" y="12"/>
                      <a:pt x="21" y="12"/>
                    </a:cubicBezTo>
                    <a:cubicBezTo>
                      <a:pt x="19" y="11"/>
                      <a:pt x="21" y="9"/>
                      <a:pt x="19" y="6"/>
                    </a:cubicBezTo>
                    <a:cubicBezTo>
                      <a:pt x="19" y="3"/>
                      <a:pt x="16" y="5"/>
                      <a:pt x="16" y="2"/>
                    </a:cubicBezTo>
                    <a:cubicBezTo>
                      <a:pt x="13" y="0"/>
                      <a:pt x="13" y="3"/>
                      <a:pt x="10" y="2"/>
                    </a:cubicBezTo>
                    <a:cubicBezTo>
                      <a:pt x="7" y="2"/>
                      <a:pt x="9" y="3"/>
                      <a:pt x="4" y="3"/>
                    </a:cubicBezTo>
                    <a:cubicBezTo>
                      <a:pt x="1" y="5"/>
                      <a:pt x="4" y="6"/>
                      <a:pt x="1" y="6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83" name="Freeform 177"/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4707276" y="2764368"/>
                <a:ext cx="31581" cy="81875"/>
              </a:xfrm>
              <a:custGeom>
                <a:avLst/>
                <a:gdLst/>
                <a:ahLst/>
                <a:cxnLst>
                  <a:cxn ang="0">
                    <a:pos x="1" y="11"/>
                  </a:cxn>
                  <a:cxn ang="0">
                    <a:pos x="1" y="21"/>
                  </a:cxn>
                  <a:cxn ang="0">
                    <a:pos x="1" y="27"/>
                  </a:cxn>
                  <a:cxn ang="0">
                    <a:pos x="3" y="30"/>
                  </a:cxn>
                  <a:cxn ang="0">
                    <a:pos x="7" y="36"/>
                  </a:cxn>
                  <a:cxn ang="0">
                    <a:pos x="8" y="34"/>
                  </a:cxn>
                  <a:cxn ang="0">
                    <a:pos x="8" y="33"/>
                  </a:cxn>
                  <a:cxn ang="0">
                    <a:pos x="11" y="30"/>
                  </a:cxn>
                  <a:cxn ang="0">
                    <a:pos x="14" y="27"/>
                  </a:cxn>
                  <a:cxn ang="0">
                    <a:pos x="13" y="24"/>
                  </a:cxn>
                  <a:cxn ang="0">
                    <a:pos x="13" y="22"/>
                  </a:cxn>
                  <a:cxn ang="0">
                    <a:pos x="10" y="17"/>
                  </a:cxn>
                  <a:cxn ang="0">
                    <a:pos x="10" y="14"/>
                  </a:cxn>
                  <a:cxn ang="0">
                    <a:pos x="10" y="11"/>
                  </a:cxn>
                  <a:cxn ang="0">
                    <a:pos x="8" y="7"/>
                  </a:cxn>
                  <a:cxn ang="0">
                    <a:pos x="7" y="4"/>
                  </a:cxn>
                  <a:cxn ang="0">
                    <a:pos x="4" y="4"/>
                  </a:cxn>
                  <a:cxn ang="0">
                    <a:pos x="1" y="7"/>
                  </a:cxn>
                  <a:cxn ang="0">
                    <a:pos x="1" y="11"/>
                  </a:cxn>
                </a:cxnLst>
                <a:rect l="0" t="0" r="r" b="b"/>
                <a:pathLst>
                  <a:path w="14" h="36">
                    <a:moveTo>
                      <a:pt x="1" y="11"/>
                    </a:moveTo>
                    <a:cubicBezTo>
                      <a:pt x="4" y="11"/>
                      <a:pt x="1" y="21"/>
                      <a:pt x="1" y="21"/>
                    </a:cubicBezTo>
                    <a:cubicBezTo>
                      <a:pt x="3" y="22"/>
                      <a:pt x="0" y="22"/>
                      <a:pt x="1" y="27"/>
                    </a:cubicBezTo>
                    <a:cubicBezTo>
                      <a:pt x="3" y="30"/>
                      <a:pt x="0" y="27"/>
                      <a:pt x="3" y="30"/>
                    </a:cubicBezTo>
                    <a:cubicBezTo>
                      <a:pt x="7" y="33"/>
                      <a:pt x="4" y="34"/>
                      <a:pt x="7" y="36"/>
                    </a:cubicBezTo>
                    <a:cubicBezTo>
                      <a:pt x="7" y="36"/>
                      <a:pt x="8" y="36"/>
                      <a:pt x="8" y="34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8" y="31"/>
                      <a:pt x="11" y="33"/>
                      <a:pt x="11" y="30"/>
                    </a:cubicBezTo>
                    <a:cubicBezTo>
                      <a:pt x="11" y="25"/>
                      <a:pt x="13" y="28"/>
                      <a:pt x="14" y="27"/>
                    </a:cubicBezTo>
                    <a:cubicBezTo>
                      <a:pt x="14" y="24"/>
                      <a:pt x="13" y="24"/>
                      <a:pt x="13" y="24"/>
                    </a:cubicBezTo>
                    <a:cubicBezTo>
                      <a:pt x="13" y="22"/>
                      <a:pt x="13" y="21"/>
                      <a:pt x="13" y="22"/>
                    </a:cubicBezTo>
                    <a:cubicBezTo>
                      <a:pt x="11" y="22"/>
                      <a:pt x="10" y="19"/>
                      <a:pt x="10" y="17"/>
                    </a:cubicBezTo>
                    <a:cubicBezTo>
                      <a:pt x="10" y="16"/>
                      <a:pt x="8" y="16"/>
                      <a:pt x="10" y="14"/>
                    </a:cubicBezTo>
                    <a:cubicBezTo>
                      <a:pt x="10" y="14"/>
                      <a:pt x="10" y="14"/>
                      <a:pt x="10" y="11"/>
                    </a:cubicBezTo>
                    <a:cubicBezTo>
                      <a:pt x="10" y="10"/>
                      <a:pt x="11" y="8"/>
                      <a:pt x="8" y="7"/>
                    </a:cubicBezTo>
                    <a:cubicBezTo>
                      <a:pt x="7" y="7"/>
                      <a:pt x="8" y="5"/>
                      <a:pt x="7" y="4"/>
                    </a:cubicBezTo>
                    <a:cubicBezTo>
                      <a:pt x="4" y="5"/>
                      <a:pt x="4" y="5"/>
                      <a:pt x="4" y="4"/>
                    </a:cubicBezTo>
                    <a:cubicBezTo>
                      <a:pt x="4" y="0"/>
                      <a:pt x="3" y="5"/>
                      <a:pt x="1" y="7"/>
                    </a:cubicBezTo>
                    <a:cubicBezTo>
                      <a:pt x="0" y="10"/>
                      <a:pt x="3" y="8"/>
                      <a:pt x="1" y="11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84" name="Freeform 178"/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4651132" y="2612315"/>
                <a:ext cx="120475" cy="77196"/>
              </a:xfrm>
              <a:custGeom>
                <a:avLst/>
                <a:gdLst/>
                <a:ahLst/>
                <a:cxnLst>
                  <a:cxn ang="0">
                    <a:pos x="21" y="33"/>
                  </a:cxn>
                  <a:cxn ang="0">
                    <a:pos x="27" y="30"/>
                  </a:cxn>
                  <a:cxn ang="0">
                    <a:pos x="33" y="30"/>
                  </a:cxn>
                  <a:cxn ang="0">
                    <a:pos x="36" y="30"/>
                  </a:cxn>
                  <a:cxn ang="0">
                    <a:pos x="36" y="28"/>
                  </a:cxn>
                  <a:cxn ang="0">
                    <a:pos x="39" y="28"/>
                  </a:cxn>
                  <a:cxn ang="0">
                    <a:pos x="44" y="22"/>
                  </a:cxn>
                  <a:cxn ang="0">
                    <a:pos x="46" y="17"/>
                  </a:cxn>
                  <a:cxn ang="0">
                    <a:pos x="49" y="11"/>
                  </a:cxn>
                  <a:cxn ang="0">
                    <a:pos x="53" y="8"/>
                  </a:cxn>
                  <a:cxn ang="0">
                    <a:pos x="53" y="8"/>
                  </a:cxn>
                  <a:cxn ang="0">
                    <a:pos x="52" y="7"/>
                  </a:cxn>
                  <a:cxn ang="0">
                    <a:pos x="47" y="4"/>
                  </a:cxn>
                  <a:cxn ang="0">
                    <a:pos x="44" y="4"/>
                  </a:cxn>
                  <a:cxn ang="0">
                    <a:pos x="41" y="2"/>
                  </a:cxn>
                  <a:cxn ang="0">
                    <a:pos x="36" y="2"/>
                  </a:cxn>
                  <a:cxn ang="0">
                    <a:pos x="33" y="5"/>
                  </a:cxn>
                  <a:cxn ang="0">
                    <a:pos x="30" y="7"/>
                  </a:cxn>
                  <a:cxn ang="0">
                    <a:pos x="27" y="7"/>
                  </a:cxn>
                  <a:cxn ang="0">
                    <a:pos x="21" y="8"/>
                  </a:cxn>
                  <a:cxn ang="0">
                    <a:pos x="21" y="10"/>
                  </a:cxn>
                  <a:cxn ang="0">
                    <a:pos x="15" y="11"/>
                  </a:cxn>
                  <a:cxn ang="0">
                    <a:pos x="8" y="8"/>
                  </a:cxn>
                  <a:cxn ang="0">
                    <a:pos x="8" y="11"/>
                  </a:cxn>
                  <a:cxn ang="0">
                    <a:pos x="3" y="11"/>
                  </a:cxn>
                  <a:cxn ang="0">
                    <a:pos x="5" y="14"/>
                  </a:cxn>
                  <a:cxn ang="0">
                    <a:pos x="3" y="16"/>
                  </a:cxn>
                  <a:cxn ang="0">
                    <a:pos x="3" y="19"/>
                  </a:cxn>
                  <a:cxn ang="0">
                    <a:pos x="0" y="20"/>
                  </a:cxn>
                  <a:cxn ang="0">
                    <a:pos x="3" y="25"/>
                  </a:cxn>
                  <a:cxn ang="0">
                    <a:pos x="11" y="31"/>
                  </a:cxn>
                  <a:cxn ang="0">
                    <a:pos x="18" y="34"/>
                  </a:cxn>
                  <a:cxn ang="0">
                    <a:pos x="21" y="33"/>
                  </a:cxn>
                </a:cxnLst>
                <a:rect l="0" t="0" r="r" b="b"/>
                <a:pathLst>
                  <a:path w="53" h="34">
                    <a:moveTo>
                      <a:pt x="21" y="33"/>
                    </a:moveTo>
                    <a:cubicBezTo>
                      <a:pt x="26" y="31"/>
                      <a:pt x="26" y="30"/>
                      <a:pt x="27" y="30"/>
                    </a:cubicBezTo>
                    <a:cubicBezTo>
                      <a:pt x="29" y="30"/>
                      <a:pt x="30" y="30"/>
                      <a:pt x="33" y="30"/>
                    </a:cubicBezTo>
                    <a:cubicBezTo>
                      <a:pt x="33" y="30"/>
                      <a:pt x="35" y="30"/>
                      <a:pt x="36" y="30"/>
                    </a:cubicBezTo>
                    <a:cubicBezTo>
                      <a:pt x="38" y="28"/>
                      <a:pt x="36" y="28"/>
                      <a:pt x="36" y="28"/>
                    </a:cubicBezTo>
                    <a:cubicBezTo>
                      <a:pt x="38" y="28"/>
                      <a:pt x="38" y="28"/>
                      <a:pt x="39" y="28"/>
                    </a:cubicBezTo>
                    <a:cubicBezTo>
                      <a:pt x="39" y="28"/>
                      <a:pt x="43" y="24"/>
                      <a:pt x="44" y="22"/>
                    </a:cubicBezTo>
                    <a:cubicBezTo>
                      <a:pt x="44" y="19"/>
                      <a:pt x="43" y="19"/>
                      <a:pt x="46" y="17"/>
                    </a:cubicBezTo>
                    <a:cubicBezTo>
                      <a:pt x="49" y="14"/>
                      <a:pt x="47" y="14"/>
                      <a:pt x="49" y="11"/>
                    </a:cubicBezTo>
                    <a:cubicBezTo>
                      <a:pt x="50" y="10"/>
                      <a:pt x="50" y="13"/>
                      <a:pt x="53" y="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8"/>
                      <a:pt x="53" y="7"/>
                      <a:pt x="52" y="7"/>
                    </a:cubicBezTo>
                    <a:cubicBezTo>
                      <a:pt x="50" y="8"/>
                      <a:pt x="52" y="5"/>
                      <a:pt x="47" y="4"/>
                    </a:cubicBezTo>
                    <a:cubicBezTo>
                      <a:pt x="47" y="4"/>
                      <a:pt x="44" y="5"/>
                      <a:pt x="44" y="4"/>
                    </a:cubicBezTo>
                    <a:cubicBezTo>
                      <a:pt x="44" y="4"/>
                      <a:pt x="43" y="0"/>
                      <a:pt x="41" y="2"/>
                    </a:cubicBezTo>
                    <a:cubicBezTo>
                      <a:pt x="39" y="4"/>
                      <a:pt x="38" y="2"/>
                      <a:pt x="36" y="2"/>
                    </a:cubicBezTo>
                    <a:cubicBezTo>
                      <a:pt x="33" y="2"/>
                      <a:pt x="35" y="5"/>
                      <a:pt x="33" y="5"/>
                    </a:cubicBezTo>
                    <a:cubicBezTo>
                      <a:pt x="33" y="5"/>
                      <a:pt x="32" y="7"/>
                      <a:pt x="30" y="7"/>
                    </a:cubicBezTo>
                    <a:cubicBezTo>
                      <a:pt x="29" y="7"/>
                      <a:pt x="27" y="4"/>
                      <a:pt x="27" y="7"/>
                    </a:cubicBezTo>
                    <a:cubicBezTo>
                      <a:pt x="26" y="8"/>
                      <a:pt x="24" y="7"/>
                      <a:pt x="21" y="8"/>
                    </a:cubicBezTo>
                    <a:cubicBezTo>
                      <a:pt x="20" y="8"/>
                      <a:pt x="21" y="10"/>
                      <a:pt x="21" y="10"/>
                    </a:cubicBezTo>
                    <a:cubicBezTo>
                      <a:pt x="21" y="11"/>
                      <a:pt x="20" y="11"/>
                      <a:pt x="15" y="11"/>
                    </a:cubicBezTo>
                    <a:cubicBezTo>
                      <a:pt x="12" y="13"/>
                      <a:pt x="11" y="8"/>
                      <a:pt x="8" y="8"/>
                    </a:cubicBezTo>
                    <a:cubicBezTo>
                      <a:pt x="8" y="10"/>
                      <a:pt x="9" y="11"/>
                      <a:pt x="8" y="11"/>
                    </a:cubicBezTo>
                    <a:cubicBezTo>
                      <a:pt x="6" y="11"/>
                      <a:pt x="3" y="11"/>
                      <a:pt x="3" y="11"/>
                    </a:cubicBezTo>
                    <a:cubicBezTo>
                      <a:pt x="3" y="13"/>
                      <a:pt x="5" y="13"/>
                      <a:pt x="5" y="14"/>
                    </a:cubicBezTo>
                    <a:cubicBezTo>
                      <a:pt x="5" y="16"/>
                      <a:pt x="3" y="14"/>
                      <a:pt x="3" y="16"/>
                    </a:cubicBezTo>
                    <a:cubicBezTo>
                      <a:pt x="3" y="19"/>
                      <a:pt x="3" y="19"/>
                      <a:pt x="3" y="19"/>
                    </a:cubicBezTo>
                    <a:cubicBezTo>
                      <a:pt x="3" y="19"/>
                      <a:pt x="2" y="20"/>
                      <a:pt x="0" y="20"/>
                    </a:cubicBezTo>
                    <a:cubicBezTo>
                      <a:pt x="3" y="22"/>
                      <a:pt x="2" y="25"/>
                      <a:pt x="3" y="25"/>
                    </a:cubicBezTo>
                    <a:cubicBezTo>
                      <a:pt x="11" y="30"/>
                      <a:pt x="9" y="31"/>
                      <a:pt x="11" y="31"/>
                    </a:cubicBezTo>
                    <a:cubicBezTo>
                      <a:pt x="12" y="31"/>
                      <a:pt x="15" y="34"/>
                      <a:pt x="18" y="34"/>
                    </a:cubicBezTo>
                    <a:cubicBezTo>
                      <a:pt x="20" y="34"/>
                      <a:pt x="20" y="31"/>
                      <a:pt x="21" y="3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85" name="Freeform 179"/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4661659" y="2583073"/>
                <a:ext cx="107608" cy="56142"/>
              </a:xfrm>
              <a:custGeom>
                <a:avLst/>
                <a:gdLst/>
                <a:ahLst/>
                <a:cxnLst>
                  <a:cxn ang="0">
                    <a:pos x="45" y="8"/>
                  </a:cxn>
                  <a:cxn ang="0">
                    <a:pos x="41" y="5"/>
                  </a:cxn>
                  <a:cxn ang="0">
                    <a:pos x="30" y="4"/>
                  </a:cxn>
                  <a:cxn ang="0">
                    <a:pos x="25" y="7"/>
                  </a:cxn>
                  <a:cxn ang="0">
                    <a:pos x="24" y="5"/>
                  </a:cxn>
                  <a:cxn ang="0">
                    <a:pos x="19" y="4"/>
                  </a:cxn>
                  <a:cxn ang="0">
                    <a:pos x="18" y="4"/>
                  </a:cxn>
                  <a:cxn ang="0">
                    <a:pos x="16" y="4"/>
                  </a:cxn>
                  <a:cxn ang="0">
                    <a:pos x="9" y="10"/>
                  </a:cxn>
                  <a:cxn ang="0">
                    <a:pos x="3" y="13"/>
                  </a:cxn>
                  <a:cxn ang="0">
                    <a:pos x="3" y="21"/>
                  </a:cxn>
                  <a:cxn ang="0">
                    <a:pos x="10" y="24"/>
                  </a:cxn>
                  <a:cxn ang="0">
                    <a:pos x="16" y="22"/>
                  </a:cxn>
                  <a:cxn ang="0">
                    <a:pos x="16" y="21"/>
                  </a:cxn>
                  <a:cxn ang="0">
                    <a:pos x="22" y="19"/>
                  </a:cxn>
                  <a:cxn ang="0">
                    <a:pos x="25" y="19"/>
                  </a:cxn>
                  <a:cxn ang="0">
                    <a:pos x="28" y="18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9" y="16"/>
                  </a:cxn>
                  <a:cxn ang="0">
                    <a:pos x="42" y="16"/>
                  </a:cxn>
                  <a:cxn ang="0">
                    <a:pos x="45" y="11"/>
                  </a:cxn>
                  <a:cxn ang="0">
                    <a:pos x="45" y="8"/>
                  </a:cxn>
                </a:cxnLst>
                <a:rect l="0" t="0" r="r" b="b"/>
                <a:pathLst>
                  <a:path w="47" h="25">
                    <a:moveTo>
                      <a:pt x="45" y="8"/>
                    </a:moveTo>
                    <a:cubicBezTo>
                      <a:pt x="41" y="7"/>
                      <a:pt x="42" y="5"/>
                      <a:pt x="41" y="5"/>
                    </a:cubicBezTo>
                    <a:cubicBezTo>
                      <a:pt x="36" y="4"/>
                      <a:pt x="31" y="4"/>
                      <a:pt x="30" y="4"/>
                    </a:cubicBezTo>
                    <a:cubicBezTo>
                      <a:pt x="27" y="4"/>
                      <a:pt x="27" y="8"/>
                      <a:pt x="25" y="7"/>
                    </a:cubicBezTo>
                    <a:cubicBezTo>
                      <a:pt x="25" y="7"/>
                      <a:pt x="24" y="7"/>
                      <a:pt x="24" y="5"/>
                    </a:cubicBezTo>
                    <a:cubicBezTo>
                      <a:pt x="25" y="2"/>
                      <a:pt x="21" y="0"/>
                      <a:pt x="19" y="4"/>
                    </a:cubicBezTo>
                    <a:cubicBezTo>
                      <a:pt x="19" y="5"/>
                      <a:pt x="18" y="5"/>
                      <a:pt x="18" y="4"/>
                    </a:cubicBezTo>
                    <a:cubicBezTo>
                      <a:pt x="18" y="4"/>
                      <a:pt x="18" y="4"/>
                      <a:pt x="16" y="4"/>
                    </a:cubicBezTo>
                    <a:cubicBezTo>
                      <a:pt x="9" y="7"/>
                      <a:pt x="13" y="8"/>
                      <a:pt x="9" y="10"/>
                    </a:cubicBezTo>
                    <a:cubicBezTo>
                      <a:pt x="6" y="11"/>
                      <a:pt x="4" y="8"/>
                      <a:pt x="3" y="13"/>
                    </a:cubicBezTo>
                    <a:cubicBezTo>
                      <a:pt x="1" y="16"/>
                      <a:pt x="0" y="16"/>
                      <a:pt x="3" y="21"/>
                    </a:cubicBezTo>
                    <a:cubicBezTo>
                      <a:pt x="6" y="21"/>
                      <a:pt x="7" y="25"/>
                      <a:pt x="10" y="24"/>
                    </a:cubicBezTo>
                    <a:cubicBezTo>
                      <a:pt x="15" y="24"/>
                      <a:pt x="16" y="24"/>
                      <a:pt x="16" y="22"/>
                    </a:cubicBezTo>
                    <a:cubicBezTo>
                      <a:pt x="16" y="22"/>
                      <a:pt x="15" y="21"/>
                      <a:pt x="16" y="21"/>
                    </a:cubicBezTo>
                    <a:cubicBezTo>
                      <a:pt x="19" y="19"/>
                      <a:pt x="21" y="21"/>
                      <a:pt x="22" y="19"/>
                    </a:cubicBezTo>
                    <a:cubicBezTo>
                      <a:pt x="22" y="16"/>
                      <a:pt x="24" y="19"/>
                      <a:pt x="25" y="19"/>
                    </a:cubicBezTo>
                    <a:cubicBezTo>
                      <a:pt x="27" y="19"/>
                      <a:pt x="28" y="18"/>
                      <a:pt x="28" y="18"/>
                    </a:cubicBezTo>
                    <a:cubicBezTo>
                      <a:pt x="30" y="18"/>
                      <a:pt x="28" y="14"/>
                      <a:pt x="31" y="14"/>
                    </a:cubicBezTo>
                    <a:cubicBezTo>
                      <a:pt x="33" y="14"/>
                      <a:pt x="34" y="16"/>
                      <a:pt x="36" y="14"/>
                    </a:cubicBezTo>
                    <a:cubicBezTo>
                      <a:pt x="38" y="13"/>
                      <a:pt x="39" y="16"/>
                      <a:pt x="39" y="16"/>
                    </a:cubicBezTo>
                    <a:cubicBezTo>
                      <a:pt x="39" y="18"/>
                      <a:pt x="42" y="16"/>
                      <a:pt x="42" y="16"/>
                    </a:cubicBezTo>
                    <a:cubicBezTo>
                      <a:pt x="44" y="11"/>
                      <a:pt x="45" y="13"/>
                      <a:pt x="45" y="11"/>
                    </a:cubicBezTo>
                    <a:cubicBezTo>
                      <a:pt x="45" y="10"/>
                      <a:pt x="47" y="10"/>
                      <a:pt x="45" y="8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86" name="Freeform 180"/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4603176" y="2657930"/>
                <a:ext cx="54974" cy="43277"/>
              </a:xfrm>
              <a:custGeom>
                <a:avLst/>
                <a:gdLst/>
                <a:ahLst/>
                <a:cxnLst>
                  <a:cxn ang="0">
                    <a:pos x="21" y="0"/>
                  </a:cxn>
                  <a:cxn ang="0">
                    <a:pos x="24" y="5"/>
                  </a:cxn>
                  <a:cxn ang="0">
                    <a:pos x="23" y="5"/>
                  </a:cxn>
                  <a:cxn ang="0">
                    <a:pos x="23" y="7"/>
                  </a:cxn>
                  <a:cxn ang="0">
                    <a:pos x="17" y="10"/>
                  </a:cxn>
                  <a:cxn ang="0">
                    <a:pos x="18" y="13"/>
                  </a:cxn>
                  <a:cxn ang="0">
                    <a:pos x="15" y="17"/>
                  </a:cxn>
                  <a:cxn ang="0">
                    <a:pos x="12" y="17"/>
                  </a:cxn>
                  <a:cxn ang="0">
                    <a:pos x="9" y="16"/>
                  </a:cxn>
                  <a:cxn ang="0">
                    <a:pos x="1" y="17"/>
                  </a:cxn>
                  <a:cxn ang="0">
                    <a:pos x="1" y="16"/>
                  </a:cxn>
                  <a:cxn ang="0">
                    <a:pos x="1" y="13"/>
                  </a:cxn>
                  <a:cxn ang="0">
                    <a:pos x="1" y="10"/>
                  </a:cxn>
                  <a:cxn ang="0">
                    <a:pos x="0" y="8"/>
                  </a:cxn>
                  <a:cxn ang="0">
                    <a:pos x="1" y="5"/>
                  </a:cxn>
                  <a:cxn ang="0">
                    <a:pos x="7" y="7"/>
                  </a:cxn>
                  <a:cxn ang="0">
                    <a:pos x="10" y="7"/>
                  </a:cxn>
                  <a:cxn ang="0">
                    <a:pos x="15" y="3"/>
                  </a:cxn>
                  <a:cxn ang="0">
                    <a:pos x="18" y="3"/>
                  </a:cxn>
                  <a:cxn ang="0">
                    <a:pos x="21" y="2"/>
                  </a:cxn>
                  <a:cxn ang="0">
                    <a:pos x="21" y="0"/>
                  </a:cxn>
                </a:cxnLst>
                <a:rect l="0" t="0" r="r" b="b"/>
                <a:pathLst>
                  <a:path w="24" h="19">
                    <a:moveTo>
                      <a:pt x="21" y="0"/>
                    </a:moveTo>
                    <a:cubicBezTo>
                      <a:pt x="24" y="2"/>
                      <a:pt x="23" y="5"/>
                      <a:pt x="24" y="5"/>
                    </a:cubicBezTo>
                    <a:cubicBezTo>
                      <a:pt x="23" y="5"/>
                      <a:pt x="23" y="5"/>
                      <a:pt x="23" y="5"/>
                    </a:cubicBezTo>
                    <a:cubicBezTo>
                      <a:pt x="21" y="5"/>
                      <a:pt x="23" y="7"/>
                      <a:pt x="23" y="7"/>
                    </a:cubicBezTo>
                    <a:cubicBezTo>
                      <a:pt x="21" y="8"/>
                      <a:pt x="18" y="8"/>
                      <a:pt x="17" y="10"/>
                    </a:cubicBezTo>
                    <a:cubicBezTo>
                      <a:pt x="17" y="10"/>
                      <a:pt x="18" y="11"/>
                      <a:pt x="18" y="13"/>
                    </a:cubicBezTo>
                    <a:cubicBezTo>
                      <a:pt x="18" y="14"/>
                      <a:pt x="15" y="14"/>
                      <a:pt x="15" y="17"/>
                    </a:cubicBezTo>
                    <a:cubicBezTo>
                      <a:pt x="15" y="19"/>
                      <a:pt x="13" y="17"/>
                      <a:pt x="12" y="17"/>
                    </a:cubicBezTo>
                    <a:cubicBezTo>
                      <a:pt x="10" y="16"/>
                      <a:pt x="12" y="19"/>
                      <a:pt x="9" y="16"/>
                    </a:cubicBezTo>
                    <a:cubicBezTo>
                      <a:pt x="7" y="14"/>
                      <a:pt x="10" y="17"/>
                      <a:pt x="1" y="17"/>
                    </a:cubicBezTo>
                    <a:cubicBezTo>
                      <a:pt x="1" y="16"/>
                      <a:pt x="1" y="17"/>
                      <a:pt x="1" y="16"/>
                    </a:cubicBezTo>
                    <a:cubicBezTo>
                      <a:pt x="4" y="16"/>
                      <a:pt x="3" y="14"/>
                      <a:pt x="1" y="13"/>
                    </a:cubicBezTo>
                    <a:cubicBezTo>
                      <a:pt x="0" y="13"/>
                      <a:pt x="0" y="11"/>
                      <a:pt x="1" y="10"/>
                    </a:cubicBezTo>
                    <a:cubicBezTo>
                      <a:pt x="3" y="8"/>
                      <a:pt x="0" y="10"/>
                      <a:pt x="0" y="8"/>
                    </a:cubicBezTo>
                    <a:cubicBezTo>
                      <a:pt x="0" y="7"/>
                      <a:pt x="1" y="7"/>
                      <a:pt x="1" y="5"/>
                    </a:cubicBezTo>
                    <a:cubicBezTo>
                      <a:pt x="6" y="5"/>
                      <a:pt x="4" y="7"/>
                      <a:pt x="7" y="7"/>
                    </a:cubicBezTo>
                    <a:cubicBezTo>
                      <a:pt x="9" y="5"/>
                      <a:pt x="7" y="8"/>
                      <a:pt x="10" y="7"/>
                    </a:cubicBezTo>
                    <a:cubicBezTo>
                      <a:pt x="12" y="3"/>
                      <a:pt x="12" y="3"/>
                      <a:pt x="15" y="3"/>
                    </a:cubicBezTo>
                    <a:cubicBezTo>
                      <a:pt x="18" y="5"/>
                      <a:pt x="17" y="3"/>
                      <a:pt x="18" y="3"/>
                    </a:cubicBezTo>
                    <a:cubicBezTo>
                      <a:pt x="21" y="3"/>
                      <a:pt x="21" y="3"/>
                      <a:pt x="21" y="2"/>
                    </a:cubicBezTo>
                    <a:cubicBezTo>
                      <a:pt x="20" y="0"/>
                      <a:pt x="21" y="2"/>
                      <a:pt x="21" y="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87" name="Freeform 181"/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4603176" y="2668457"/>
                <a:ext cx="111118" cy="109946"/>
              </a:xfrm>
              <a:custGeom>
                <a:avLst/>
                <a:gdLst/>
                <a:ahLst/>
                <a:cxnLst>
                  <a:cxn ang="0">
                    <a:pos x="44" y="19"/>
                  </a:cxn>
                  <a:cxn ang="0">
                    <a:pos x="41" y="17"/>
                  </a:cxn>
                  <a:cxn ang="0">
                    <a:pos x="36" y="17"/>
                  </a:cxn>
                  <a:cxn ang="0">
                    <a:pos x="30" y="16"/>
                  </a:cxn>
                  <a:cxn ang="0">
                    <a:pos x="24" y="16"/>
                  </a:cxn>
                  <a:cxn ang="0">
                    <a:pos x="21" y="17"/>
                  </a:cxn>
                  <a:cxn ang="0">
                    <a:pos x="20" y="21"/>
                  </a:cxn>
                  <a:cxn ang="0">
                    <a:pos x="21" y="25"/>
                  </a:cxn>
                  <a:cxn ang="0">
                    <a:pos x="21" y="27"/>
                  </a:cxn>
                  <a:cxn ang="0">
                    <a:pos x="29" y="35"/>
                  </a:cxn>
                  <a:cxn ang="0">
                    <a:pos x="32" y="38"/>
                  </a:cxn>
                  <a:cxn ang="0">
                    <a:pos x="33" y="41"/>
                  </a:cxn>
                  <a:cxn ang="0">
                    <a:pos x="35" y="42"/>
                  </a:cxn>
                  <a:cxn ang="0">
                    <a:pos x="39" y="45"/>
                  </a:cxn>
                  <a:cxn ang="0">
                    <a:pos x="42" y="48"/>
                  </a:cxn>
                  <a:cxn ang="0">
                    <a:pos x="39" y="47"/>
                  </a:cxn>
                  <a:cxn ang="0">
                    <a:pos x="33" y="44"/>
                  </a:cxn>
                  <a:cxn ang="0">
                    <a:pos x="32" y="41"/>
                  </a:cxn>
                  <a:cxn ang="0">
                    <a:pos x="23" y="35"/>
                  </a:cxn>
                  <a:cxn ang="0">
                    <a:pos x="17" y="30"/>
                  </a:cxn>
                  <a:cxn ang="0">
                    <a:pos x="13" y="24"/>
                  </a:cxn>
                  <a:cxn ang="0">
                    <a:pos x="9" y="14"/>
                  </a:cxn>
                  <a:cxn ang="0">
                    <a:pos x="4" y="21"/>
                  </a:cxn>
                  <a:cxn ang="0">
                    <a:pos x="1" y="13"/>
                  </a:cxn>
                  <a:cxn ang="0">
                    <a:pos x="1" y="13"/>
                  </a:cxn>
                  <a:cxn ang="0">
                    <a:pos x="9" y="11"/>
                  </a:cxn>
                  <a:cxn ang="0">
                    <a:pos x="12" y="13"/>
                  </a:cxn>
                  <a:cxn ang="0">
                    <a:pos x="15" y="13"/>
                  </a:cxn>
                  <a:cxn ang="0">
                    <a:pos x="18" y="8"/>
                  </a:cxn>
                  <a:cxn ang="0">
                    <a:pos x="17" y="5"/>
                  </a:cxn>
                  <a:cxn ang="0">
                    <a:pos x="23" y="2"/>
                  </a:cxn>
                  <a:cxn ang="0">
                    <a:pos x="23" y="0"/>
                  </a:cxn>
                  <a:cxn ang="0">
                    <a:pos x="24" y="0"/>
                  </a:cxn>
                  <a:cxn ang="0">
                    <a:pos x="32" y="7"/>
                  </a:cxn>
                  <a:cxn ang="0">
                    <a:pos x="39" y="10"/>
                  </a:cxn>
                  <a:cxn ang="0">
                    <a:pos x="42" y="8"/>
                  </a:cxn>
                  <a:cxn ang="0">
                    <a:pos x="44" y="14"/>
                  </a:cxn>
                  <a:cxn ang="0">
                    <a:pos x="47" y="16"/>
                  </a:cxn>
                  <a:cxn ang="0">
                    <a:pos x="44" y="19"/>
                  </a:cxn>
                </a:cxnLst>
                <a:rect l="0" t="0" r="r" b="b"/>
                <a:pathLst>
                  <a:path w="49" h="48">
                    <a:moveTo>
                      <a:pt x="44" y="19"/>
                    </a:moveTo>
                    <a:cubicBezTo>
                      <a:pt x="41" y="21"/>
                      <a:pt x="42" y="16"/>
                      <a:pt x="41" y="17"/>
                    </a:cubicBezTo>
                    <a:cubicBezTo>
                      <a:pt x="39" y="17"/>
                      <a:pt x="38" y="16"/>
                      <a:pt x="36" y="17"/>
                    </a:cubicBezTo>
                    <a:cubicBezTo>
                      <a:pt x="33" y="19"/>
                      <a:pt x="32" y="16"/>
                      <a:pt x="30" y="16"/>
                    </a:cubicBezTo>
                    <a:cubicBezTo>
                      <a:pt x="29" y="17"/>
                      <a:pt x="26" y="14"/>
                      <a:pt x="24" y="16"/>
                    </a:cubicBezTo>
                    <a:cubicBezTo>
                      <a:pt x="23" y="17"/>
                      <a:pt x="23" y="19"/>
                      <a:pt x="21" y="17"/>
                    </a:cubicBezTo>
                    <a:cubicBezTo>
                      <a:pt x="18" y="13"/>
                      <a:pt x="17" y="21"/>
                      <a:pt x="20" y="21"/>
                    </a:cubicBezTo>
                    <a:cubicBezTo>
                      <a:pt x="21" y="22"/>
                      <a:pt x="21" y="24"/>
                      <a:pt x="21" y="25"/>
                    </a:cubicBezTo>
                    <a:cubicBezTo>
                      <a:pt x="23" y="25"/>
                      <a:pt x="20" y="27"/>
                      <a:pt x="21" y="27"/>
                    </a:cubicBezTo>
                    <a:cubicBezTo>
                      <a:pt x="23" y="27"/>
                      <a:pt x="27" y="35"/>
                      <a:pt x="29" y="35"/>
                    </a:cubicBezTo>
                    <a:cubicBezTo>
                      <a:pt x="30" y="36"/>
                      <a:pt x="29" y="38"/>
                      <a:pt x="32" y="38"/>
                    </a:cubicBezTo>
                    <a:cubicBezTo>
                      <a:pt x="33" y="39"/>
                      <a:pt x="33" y="41"/>
                      <a:pt x="33" y="41"/>
                    </a:cubicBezTo>
                    <a:cubicBezTo>
                      <a:pt x="33" y="42"/>
                      <a:pt x="35" y="41"/>
                      <a:pt x="35" y="42"/>
                    </a:cubicBezTo>
                    <a:cubicBezTo>
                      <a:pt x="36" y="44"/>
                      <a:pt x="38" y="45"/>
                      <a:pt x="39" y="45"/>
                    </a:cubicBezTo>
                    <a:cubicBezTo>
                      <a:pt x="39" y="47"/>
                      <a:pt x="44" y="47"/>
                      <a:pt x="42" y="48"/>
                    </a:cubicBezTo>
                    <a:cubicBezTo>
                      <a:pt x="41" y="47"/>
                      <a:pt x="41" y="47"/>
                      <a:pt x="39" y="47"/>
                    </a:cubicBezTo>
                    <a:cubicBezTo>
                      <a:pt x="38" y="48"/>
                      <a:pt x="39" y="45"/>
                      <a:pt x="33" y="44"/>
                    </a:cubicBezTo>
                    <a:cubicBezTo>
                      <a:pt x="27" y="41"/>
                      <a:pt x="27" y="39"/>
                      <a:pt x="32" y="41"/>
                    </a:cubicBezTo>
                    <a:cubicBezTo>
                      <a:pt x="29" y="38"/>
                      <a:pt x="26" y="35"/>
                      <a:pt x="23" y="35"/>
                    </a:cubicBezTo>
                    <a:cubicBezTo>
                      <a:pt x="18" y="36"/>
                      <a:pt x="23" y="35"/>
                      <a:pt x="17" y="30"/>
                    </a:cubicBezTo>
                    <a:cubicBezTo>
                      <a:pt x="10" y="25"/>
                      <a:pt x="17" y="28"/>
                      <a:pt x="13" y="24"/>
                    </a:cubicBezTo>
                    <a:cubicBezTo>
                      <a:pt x="9" y="21"/>
                      <a:pt x="13" y="19"/>
                      <a:pt x="9" y="14"/>
                    </a:cubicBezTo>
                    <a:cubicBezTo>
                      <a:pt x="6" y="13"/>
                      <a:pt x="6" y="17"/>
                      <a:pt x="4" y="21"/>
                    </a:cubicBezTo>
                    <a:cubicBezTo>
                      <a:pt x="4" y="24"/>
                      <a:pt x="0" y="14"/>
                      <a:pt x="1" y="13"/>
                    </a:cubicBezTo>
                    <a:cubicBezTo>
                      <a:pt x="1" y="13"/>
                      <a:pt x="1" y="13"/>
                      <a:pt x="1" y="13"/>
                    </a:cubicBezTo>
                    <a:cubicBezTo>
                      <a:pt x="10" y="13"/>
                      <a:pt x="7" y="10"/>
                      <a:pt x="9" y="11"/>
                    </a:cubicBezTo>
                    <a:cubicBezTo>
                      <a:pt x="12" y="14"/>
                      <a:pt x="10" y="11"/>
                      <a:pt x="12" y="13"/>
                    </a:cubicBezTo>
                    <a:cubicBezTo>
                      <a:pt x="13" y="13"/>
                      <a:pt x="15" y="14"/>
                      <a:pt x="15" y="13"/>
                    </a:cubicBezTo>
                    <a:cubicBezTo>
                      <a:pt x="15" y="10"/>
                      <a:pt x="18" y="10"/>
                      <a:pt x="18" y="8"/>
                    </a:cubicBezTo>
                    <a:cubicBezTo>
                      <a:pt x="18" y="7"/>
                      <a:pt x="17" y="5"/>
                      <a:pt x="17" y="5"/>
                    </a:cubicBezTo>
                    <a:cubicBezTo>
                      <a:pt x="18" y="4"/>
                      <a:pt x="21" y="4"/>
                      <a:pt x="23" y="2"/>
                    </a:cubicBezTo>
                    <a:cubicBezTo>
                      <a:pt x="23" y="2"/>
                      <a:pt x="21" y="0"/>
                      <a:pt x="23" y="0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32" y="5"/>
                      <a:pt x="30" y="7"/>
                      <a:pt x="32" y="7"/>
                    </a:cubicBezTo>
                    <a:cubicBezTo>
                      <a:pt x="33" y="7"/>
                      <a:pt x="36" y="10"/>
                      <a:pt x="39" y="10"/>
                    </a:cubicBezTo>
                    <a:cubicBezTo>
                      <a:pt x="41" y="10"/>
                      <a:pt x="41" y="7"/>
                      <a:pt x="42" y="8"/>
                    </a:cubicBezTo>
                    <a:cubicBezTo>
                      <a:pt x="44" y="10"/>
                      <a:pt x="44" y="13"/>
                      <a:pt x="44" y="14"/>
                    </a:cubicBezTo>
                    <a:cubicBezTo>
                      <a:pt x="47" y="16"/>
                      <a:pt x="49" y="14"/>
                      <a:pt x="47" y="16"/>
                    </a:cubicBezTo>
                    <a:cubicBezTo>
                      <a:pt x="47" y="17"/>
                      <a:pt x="46" y="16"/>
                      <a:pt x="44" y="19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88" name="Freeform 182"/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4639436" y="2696528"/>
                <a:ext cx="77198" cy="74857"/>
              </a:xfrm>
              <a:custGeom>
                <a:avLst/>
                <a:gdLst/>
                <a:ahLst/>
                <a:cxnLst>
                  <a:cxn ang="0">
                    <a:pos x="29" y="22"/>
                  </a:cxn>
                  <a:cxn ang="0">
                    <a:pos x="33" y="22"/>
                  </a:cxn>
                  <a:cxn ang="0">
                    <a:pos x="29" y="18"/>
                  </a:cxn>
                  <a:cxn ang="0">
                    <a:pos x="33" y="18"/>
                  </a:cxn>
                  <a:cxn ang="0">
                    <a:pos x="29" y="11"/>
                  </a:cxn>
                  <a:cxn ang="0">
                    <a:pos x="28" y="7"/>
                  </a:cxn>
                  <a:cxn ang="0">
                    <a:pos x="25" y="5"/>
                  </a:cxn>
                  <a:cxn ang="0">
                    <a:pos x="20" y="5"/>
                  </a:cxn>
                  <a:cxn ang="0">
                    <a:pos x="14" y="4"/>
                  </a:cxn>
                  <a:cxn ang="0">
                    <a:pos x="8" y="4"/>
                  </a:cxn>
                  <a:cxn ang="0">
                    <a:pos x="5" y="5"/>
                  </a:cxn>
                  <a:cxn ang="0">
                    <a:pos x="3" y="8"/>
                  </a:cxn>
                  <a:cxn ang="0">
                    <a:pos x="5" y="13"/>
                  </a:cxn>
                  <a:cxn ang="0">
                    <a:pos x="5" y="15"/>
                  </a:cxn>
                  <a:cxn ang="0">
                    <a:pos x="13" y="22"/>
                  </a:cxn>
                  <a:cxn ang="0">
                    <a:pos x="16" y="26"/>
                  </a:cxn>
                  <a:cxn ang="0">
                    <a:pos x="17" y="29"/>
                  </a:cxn>
                  <a:cxn ang="0">
                    <a:pos x="19" y="30"/>
                  </a:cxn>
                  <a:cxn ang="0">
                    <a:pos x="23" y="33"/>
                  </a:cxn>
                  <a:cxn ang="0">
                    <a:pos x="25" y="29"/>
                  </a:cxn>
                  <a:cxn ang="0">
                    <a:pos x="26" y="26"/>
                  </a:cxn>
                  <a:cxn ang="0">
                    <a:pos x="28" y="26"/>
                  </a:cxn>
                  <a:cxn ang="0">
                    <a:pos x="29" y="22"/>
                  </a:cxn>
                </a:cxnLst>
                <a:rect l="0" t="0" r="r" b="b"/>
                <a:pathLst>
                  <a:path w="34" h="33">
                    <a:moveTo>
                      <a:pt x="29" y="22"/>
                    </a:moveTo>
                    <a:cubicBezTo>
                      <a:pt x="31" y="21"/>
                      <a:pt x="31" y="22"/>
                      <a:pt x="33" y="22"/>
                    </a:cubicBezTo>
                    <a:cubicBezTo>
                      <a:pt x="33" y="21"/>
                      <a:pt x="29" y="18"/>
                      <a:pt x="29" y="18"/>
                    </a:cubicBezTo>
                    <a:cubicBezTo>
                      <a:pt x="31" y="16"/>
                      <a:pt x="31" y="19"/>
                      <a:pt x="33" y="18"/>
                    </a:cubicBezTo>
                    <a:cubicBezTo>
                      <a:pt x="34" y="16"/>
                      <a:pt x="28" y="15"/>
                      <a:pt x="29" y="11"/>
                    </a:cubicBezTo>
                    <a:cubicBezTo>
                      <a:pt x="31" y="7"/>
                      <a:pt x="33" y="7"/>
                      <a:pt x="28" y="7"/>
                    </a:cubicBezTo>
                    <a:cubicBezTo>
                      <a:pt x="25" y="8"/>
                      <a:pt x="26" y="4"/>
                      <a:pt x="25" y="5"/>
                    </a:cubicBezTo>
                    <a:cubicBezTo>
                      <a:pt x="23" y="5"/>
                      <a:pt x="22" y="4"/>
                      <a:pt x="20" y="5"/>
                    </a:cubicBezTo>
                    <a:cubicBezTo>
                      <a:pt x="17" y="7"/>
                      <a:pt x="16" y="4"/>
                      <a:pt x="14" y="4"/>
                    </a:cubicBezTo>
                    <a:cubicBezTo>
                      <a:pt x="13" y="5"/>
                      <a:pt x="9" y="2"/>
                      <a:pt x="8" y="4"/>
                    </a:cubicBezTo>
                    <a:cubicBezTo>
                      <a:pt x="6" y="5"/>
                      <a:pt x="6" y="7"/>
                      <a:pt x="5" y="5"/>
                    </a:cubicBezTo>
                    <a:cubicBezTo>
                      <a:pt x="2" y="0"/>
                      <a:pt x="0" y="8"/>
                      <a:pt x="3" y="8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6" y="13"/>
                      <a:pt x="3" y="15"/>
                      <a:pt x="5" y="15"/>
                    </a:cubicBezTo>
                    <a:cubicBezTo>
                      <a:pt x="6" y="15"/>
                      <a:pt x="11" y="22"/>
                      <a:pt x="13" y="22"/>
                    </a:cubicBezTo>
                    <a:cubicBezTo>
                      <a:pt x="14" y="24"/>
                      <a:pt x="13" y="26"/>
                      <a:pt x="16" y="26"/>
                    </a:cubicBezTo>
                    <a:cubicBezTo>
                      <a:pt x="17" y="27"/>
                      <a:pt x="17" y="29"/>
                      <a:pt x="17" y="29"/>
                    </a:cubicBezTo>
                    <a:cubicBezTo>
                      <a:pt x="17" y="30"/>
                      <a:pt x="19" y="29"/>
                      <a:pt x="19" y="30"/>
                    </a:cubicBezTo>
                    <a:cubicBezTo>
                      <a:pt x="20" y="32"/>
                      <a:pt x="22" y="33"/>
                      <a:pt x="23" y="33"/>
                    </a:cubicBezTo>
                    <a:cubicBezTo>
                      <a:pt x="26" y="32"/>
                      <a:pt x="22" y="30"/>
                      <a:pt x="25" y="29"/>
                    </a:cubicBezTo>
                    <a:cubicBezTo>
                      <a:pt x="26" y="27"/>
                      <a:pt x="25" y="26"/>
                      <a:pt x="26" y="26"/>
                    </a:cubicBezTo>
                    <a:cubicBezTo>
                      <a:pt x="28" y="24"/>
                      <a:pt x="28" y="27"/>
                      <a:pt x="28" y="26"/>
                    </a:cubicBezTo>
                    <a:cubicBezTo>
                      <a:pt x="29" y="26"/>
                      <a:pt x="25" y="21"/>
                      <a:pt x="29" y="22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89" name="Freeform 183"/>
              <p:cNvSpPr>
                <a:spLocks/>
              </p:cNvSpPr>
              <p:nvPr>
                <p:custDataLst>
                  <p:tags r:id="rId209"/>
                </p:custDataLst>
              </p:nvPr>
            </p:nvSpPr>
            <p:spPr bwMode="auto">
              <a:xfrm>
                <a:off x="4689731" y="2743314"/>
                <a:ext cx="38599" cy="45615"/>
              </a:xfrm>
              <a:custGeom>
                <a:avLst/>
                <a:gdLst/>
                <a:ahLst/>
                <a:cxnLst>
                  <a:cxn ang="0">
                    <a:pos x="7" y="1"/>
                  </a:cxn>
                  <a:cxn ang="0">
                    <a:pos x="17" y="9"/>
                  </a:cxn>
                  <a:cxn ang="0">
                    <a:pos x="14" y="11"/>
                  </a:cxn>
                  <a:cxn ang="0">
                    <a:pos x="15" y="12"/>
                  </a:cxn>
                  <a:cxn ang="0">
                    <a:pos x="12" y="12"/>
                  </a:cxn>
                  <a:cxn ang="0">
                    <a:pos x="9" y="15"/>
                  </a:cxn>
                  <a:cxn ang="0">
                    <a:pos x="9" y="20"/>
                  </a:cxn>
                  <a:cxn ang="0">
                    <a:pos x="6" y="17"/>
                  </a:cxn>
                  <a:cxn ang="0">
                    <a:pos x="4" y="15"/>
                  </a:cxn>
                  <a:cxn ang="0">
                    <a:pos x="1" y="12"/>
                  </a:cxn>
                  <a:cxn ang="0">
                    <a:pos x="3" y="8"/>
                  </a:cxn>
                  <a:cxn ang="0">
                    <a:pos x="4" y="5"/>
                  </a:cxn>
                  <a:cxn ang="0">
                    <a:pos x="6" y="5"/>
                  </a:cxn>
                  <a:cxn ang="0">
                    <a:pos x="7" y="1"/>
                  </a:cxn>
                </a:cxnLst>
                <a:rect l="0" t="0" r="r" b="b"/>
                <a:pathLst>
                  <a:path w="17" h="20">
                    <a:moveTo>
                      <a:pt x="7" y="1"/>
                    </a:moveTo>
                    <a:cubicBezTo>
                      <a:pt x="10" y="6"/>
                      <a:pt x="17" y="8"/>
                      <a:pt x="17" y="9"/>
                    </a:cubicBezTo>
                    <a:cubicBezTo>
                      <a:pt x="17" y="11"/>
                      <a:pt x="12" y="11"/>
                      <a:pt x="14" y="11"/>
                    </a:cubicBezTo>
                    <a:cubicBezTo>
                      <a:pt x="15" y="12"/>
                      <a:pt x="14" y="12"/>
                      <a:pt x="15" y="12"/>
                    </a:cubicBezTo>
                    <a:cubicBezTo>
                      <a:pt x="12" y="14"/>
                      <a:pt x="12" y="14"/>
                      <a:pt x="12" y="12"/>
                    </a:cubicBezTo>
                    <a:cubicBezTo>
                      <a:pt x="12" y="9"/>
                      <a:pt x="10" y="14"/>
                      <a:pt x="9" y="15"/>
                    </a:cubicBezTo>
                    <a:cubicBezTo>
                      <a:pt x="7" y="18"/>
                      <a:pt x="10" y="17"/>
                      <a:pt x="9" y="20"/>
                    </a:cubicBezTo>
                    <a:cubicBezTo>
                      <a:pt x="6" y="20"/>
                      <a:pt x="7" y="20"/>
                      <a:pt x="6" y="17"/>
                    </a:cubicBezTo>
                    <a:cubicBezTo>
                      <a:pt x="6" y="15"/>
                      <a:pt x="4" y="15"/>
                      <a:pt x="4" y="15"/>
                    </a:cubicBezTo>
                    <a:cubicBezTo>
                      <a:pt x="6" y="14"/>
                      <a:pt x="1" y="14"/>
                      <a:pt x="1" y="12"/>
                    </a:cubicBezTo>
                    <a:cubicBezTo>
                      <a:pt x="4" y="11"/>
                      <a:pt x="0" y="9"/>
                      <a:pt x="3" y="8"/>
                    </a:cubicBezTo>
                    <a:cubicBezTo>
                      <a:pt x="4" y="6"/>
                      <a:pt x="3" y="5"/>
                      <a:pt x="4" y="5"/>
                    </a:cubicBezTo>
                    <a:cubicBezTo>
                      <a:pt x="6" y="3"/>
                      <a:pt x="6" y="6"/>
                      <a:pt x="6" y="5"/>
                    </a:cubicBezTo>
                    <a:cubicBezTo>
                      <a:pt x="7" y="5"/>
                      <a:pt x="3" y="0"/>
                      <a:pt x="7" y="1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90" name="Freeform 184"/>
              <p:cNvSpPr>
                <a:spLocks noEditPoints="1"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4506094" y="2358503"/>
                <a:ext cx="131002" cy="94740"/>
              </a:xfrm>
              <a:custGeom>
                <a:avLst/>
                <a:gdLst/>
                <a:ahLst/>
                <a:cxnLst>
                  <a:cxn ang="0">
                    <a:pos x="4" y="33"/>
                  </a:cxn>
                  <a:cxn ang="0">
                    <a:pos x="1" y="30"/>
                  </a:cxn>
                  <a:cxn ang="0">
                    <a:pos x="0" y="19"/>
                  </a:cxn>
                  <a:cxn ang="0">
                    <a:pos x="16" y="3"/>
                  </a:cxn>
                  <a:cxn ang="0">
                    <a:pos x="20" y="5"/>
                  </a:cxn>
                  <a:cxn ang="0">
                    <a:pos x="18" y="11"/>
                  </a:cxn>
                  <a:cxn ang="0">
                    <a:pos x="20" y="17"/>
                  </a:cxn>
                  <a:cxn ang="0">
                    <a:pos x="21" y="21"/>
                  </a:cxn>
                  <a:cxn ang="0">
                    <a:pos x="18" y="19"/>
                  </a:cxn>
                  <a:cxn ang="0">
                    <a:pos x="15" y="25"/>
                  </a:cxn>
                  <a:cxn ang="0">
                    <a:pos x="12" y="30"/>
                  </a:cxn>
                  <a:cxn ang="0">
                    <a:pos x="12" y="35"/>
                  </a:cxn>
                  <a:cxn ang="0">
                    <a:pos x="15" y="38"/>
                  </a:cxn>
                  <a:cxn ang="0">
                    <a:pos x="10" y="38"/>
                  </a:cxn>
                  <a:cxn ang="0">
                    <a:pos x="4" y="38"/>
                  </a:cxn>
                  <a:cxn ang="0">
                    <a:pos x="53" y="31"/>
                  </a:cxn>
                  <a:cxn ang="0">
                    <a:pos x="53" y="31"/>
                  </a:cxn>
                  <a:cxn ang="0">
                    <a:pos x="24" y="7"/>
                  </a:cxn>
                  <a:cxn ang="0">
                    <a:pos x="21" y="30"/>
                  </a:cxn>
                  <a:cxn ang="0">
                    <a:pos x="18" y="28"/>
                  </a:cxn>
                  <a:cxn ang="0">
                    <a:pos x="13" y="30"/>
                  </a:cxn>
                  <a:cxn ang="0">
                    <a:pos x="16" y="33"/>
                  </a:cxn>
                  <a:cxn ang="0">
                    <a:pos x="21" y="35"/>
                  </a:cxn>
                  <a:cxn ang="0">
                    <a:pos x="20" y="27"/>
                  </a:cxn>
                  <a:cxn ang="0">
                    <a:pos x="20" y="27"/>
                  </a:cxn>
                  <a:cxn ang="0">
                    <a:pos x="21" y="36"/>
                  </a:cxn>
                  <a:cxn ang="0">
                    <a:pos x="23" y="35"/>
                  </a:cxn>
                  <a:cxn ang="0">
                    <a:pos x="30" y="39"/>
                  </a:cxn>
                  <a:cxn ang="0">
                    <a:pos x="26" y="36"/>
                  </a:cxn>
                  <a:cxn ang="0">
                    <a:pos x="29" y="41"/>
                  </a:cxn>
                  <a:cxn ang="0">
                    <a:pos x="32" y="38"/>
                  </a:cxn>
                  <a:cxn ang="0">
                    <a:pos x="32" y="35"/>
                  </a:cxn>
                  <a:cxn ang="0">
                    <a:pos x="33" y="31"/>
                  </a:cxn>
                  <a:cxn ang="0">
                    <a:pos x="36" y="24"/>
                  </a:cxn>
                  <a:cxn ang="0">
                    <a:pos x="30" y="24"/>
                  </a:cxn>
                  <a:cxn ang="0">
                    <a:pos x="29" y="25"/>
                  </a:cxn>
                  <a:cxn ang="0">
                    <a:pos x="26" y="24"/>
                  </a:cxn>
                  <a:cxn ang="0">
                    <a:pos x="23" y="27"/>
                  </a:cxn>
                  <a:cxn ang="0">
                    <a:pos x="24" y="31"/>
                  </a:cxn>
                  <a:cxn ang="0">
                    <a:pos x="27" y="33"/>
                  </a:cxn>
                  <a:cxn ang="0">
                    <a:pos x="29" y="35"/>
                  </a:cxn>
                  <a:cxn ang="0">
                    <a:pos x="30" y="38"/>
                  </a:cxn>
                  <a:cxn ang="0">
                    <a:pos x="32" y="39"/>
                  </a:cxn>
                  <a:cxn ang="0">
                    <a:pos x="35" y="36"/>
                  </a:cxn>
                </a:cxnLst>
                <a:rect l="0" t="0" r="r" b="b"/>
                <a:pathLst>
                  <a:path w="58" h="42">
                    <a:moveTo>
                      <a:pt x="3" y="35"/>
                    </a:moveTo>
                    <a:cubicBezTo>
                      <a:pt x="3" y="31"/>
                      <a:pt x="4" y="36"/>
                      <a:pt x="4" y="33"/>
                    </a:cubicBezTo>
                    <a:cubicBezTo>
                      <a:pt x="4" y="30"/>
                      <a:pt x="3" y="31"/>
                      <a:pt x="3" y="30"/>
                    </a:cubicBezTo>
                    <a:cubicBezTo>
                      <a:pt x="1" y="28"/>
                      <a:pt x="3" y="31"/>
                      <a:pt x="1" y="30"/>
                    </a:cubicBezTo>
                    <a:cubicBezTo>
                      <a:pt x="0" y="28"/>
                      <a:pt x="0" y="30"/>
                      <a:pt x="0" y="28"/>
                    </a:cubicBezTo>
                    <a:cubicBezTo>
                      <a:pt x="1" y="25"/>
                      <a:pt x="0" y="24"/>
                      <a:pt x="0" y="19"/>
                    </a:cubicBezTo>
                    <a:cubicBezTo>
                      <a:pt x="1" y="14"/>
                      <a:pt x="1" y="8"/>
                      <a:pt x="7" y="8"/>
                    </a:cubicBezTo>
                    <a:cubicBezTo>
                      <a:pt x="13" y="10"/>
                      <a:pt x="13" y="3"/>
                      <a:pt x="16" y="3"/>
                    </a:cubicBezTo>
                    <a:cubicBezTo>
                      <a:pt x="20" y="3"/>
                      <a:pt x="20" y="0"/>
                      <a:pt x="20" y="0"/>
                    </a:cubicBezTo>
                    <a:cubicBezTo>
                      <a:pt x="21" y="2"/>
                      <a:pt x="18" y="2"/>
                      <a:pt x="20" y="5"/>
                    </a:cubicBezTo>
                    <a:cubicBezTo>
                      <a:pt x="20" y="7"/>
                      <a:pt x="20" y="8"/>
                      <a:pt x="20" y="8"/>
                    </a:cubicBezTo>
                    <a:cubicBezTo>
                      <a:pt x="18" y="10"/>
                      <a:pt x="18" y="10"/>
                      <a:pt x="18" y="11"/>
                    </a:cubicBezTo>
                    <a:cubicBezTo>
                      <a:pt x="16" y="13"/>
                      <a:pt x="20" y="14"/>
                      <a:pt x="18" y="16"/>
                    </a:cubicBezTo>
                    <a:cubicBezTo>
                      <a:pt x="16" y="17"/>
                      <a:pt x="18" y="16"/>
                      <a:pt x="20" y="17"/>
                    </a:cubicBezTo>
                    <a:cubicBezTo>
                      <a:pt x="20" y="17"/>
                      <a:pt x="24" y="16"/>
                      <a:pt x="23" y="19"/>
                    </a:cubicBezTo>
                    <a:cubicBezTo>
                      <a:pt x="23" y="21"/>
                      <a:pt x="21" y="22"/>
                      <a:pt x="21" y="21"/>
                    </a:cubicBezTo>
                    <a:cubicBezTo>
                      <a:pt x="20" y="21"/>
                      <a:pt x="20" y="22"/>
                      <a:pt x="20" y="22"/>
                    </a:cubicBezTo>
                    <a:cubicBezTo>
                      <a:pt x="18" y="21"/>
                      <a:pt x="20" y="19"/>
                      <a:pt x="18" y="19"/>
                    </a:cubicBezTo>
                    <a:cubicBezTo>
                      <a:pt x="16" y="19"/>
                      <a:pt x="18" y="24"/>
                      <a:pt x="16" y="25"/>
                    </a:cubicBezTo>
                    <a:cubicBezTo>
                      <a:pt x="16" y="27"/>
                      <a:pt x="13" y="24"/>
                      <a:pt x="15" y="25"/>
                    </a:cubicBezTo>
                    <a:cubicBezTo>
                      <a:pt x="16" y="27"/>
                      <a:pt x="13" y="27"/>
                      <a:pt x="13" y="28"/>
                    </a:cubicBezTo>
                    <a:cubicBezTo>
                      <a:pt x="15" y="28"/>
                      <a:pt x="10" y="28"/>
                      <a:pt x="12" y="3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3" y="33"/>
                      <a:pt x="10" y="33"/>
                      <a:pt x="12" y="35"/>
                    </a:cubicBezTo>
                    <a:cubicBezTo>
                      <a:pt x="12" y="36"/>
                      <a:pt x="12" y="35"/>
                      <a:pt x="15" y="36"/>
                    </a:cubicBezTo>
                    <a:cubicBezTo>
                      <a:pt x="16" y="38"/>
                      <a:pt x="15" y="38"/>
                      <a:pt x="15" y="38"/>
                    </a:cubicBezTo>
                    <a:cubicBezTo>
                      <a:pt x="13" y="36"/>
                      <a:pt x="13" y="38"/>
                      <a:pt x="13" y="38"/>
                    </a:cubicBezTo>
                    <a:cubicBezTo>
                      <a:pt x="12" y="38"/>
                      <a:pt x="12" y="36"/>
                      <a:pt x="10" y="38"/>
                    </a:cubicBezTo>
                    <a:cubicBezTo>
                      <a:pt x="10" y="38"/>
                      <a:pt x="9" y="38"/>
                      <a:pt x="7" y="38"/>
                    </a:cubicBezTo>
                    <a:cubicBezTo>
                      <a:pt x="6" y="36"/>
                      <a:pt x="6" y="38"/>
                      <a:pt x="4" y="38"/>
                    </a:cubicBezTo>
                    <a:cubicBezTo>
                      <a:pt x="4" y="31"/>
                      <a:pt x="3" y="36"/>
                      <a:pt x="3" y="35"/>
                    </a:cubicBezTo>
                    <a:close/>
                    <a:moveTo>
                      <a:pt x="53" y="31"/>
                    </a:moveTo>
                    <a:cubicBezTo>
                      <a:pt x="55" y="31"/>
                      <a:pt x="58" y="35"/>
                      <a:pt x="56" y="36"/>
                    </a:cubicBezTo>
                    <a:cubicBezTo>
                      <a:pt x="53" y="36"/>
                      <a:pt x="52" y="33"/>
                      <a:pt x="53" y="31"/>
                    </a:cubicBezTo>
                    <a:close/>
                    <a:moveTo>
                      <a:pt x="23" y="7"/>
                    </a:moveTo>
                    <a:cubicBezTo>
                      <a:pt x="23" y="7"/>
                      <a:pt x="26" y="7"/>
                      <a:pt x="24" y="7"/>
                    </a:cubicBezTo>
                    <a:cubicBezTo>
                      <a:pt x="24" y="8"/>
                      <a:pt x="23" y="8"/>
                      <a:pt x="23" y="7"/>
                    </a:cubicBezTo>
                    <a:close/>
                    <a:moveTo>
                      <a:pt x="21" y="30"/>
                    </a:moveTo>
                    <a:cubicBezTo>
                      <a:pt x="20" y="28"/>
                      <a:pt x="20" y="28"/>
                      <a:pt x="20" y="28"/>
                    </a:cubicBezTo>
                    <a:cubicBezTo>
                      <a:pt x="20" y="30"/>
                      <a:pt x="20" y="30"/>
                      <a:pt x="18" y="28"/>
                    </a:cubicBezTo>
                    <a:cubicBezTo>
                      <a:pt x="18" y="28"/>
                      <a:pt x="15" y="30"/>
                      <a:pt x="13" y="30"/>
                    </a:cubicBezTo>
                    <a:cubicBezTo>
                      <a:pt x="13" y="28"/>
                      <a:pt x="12" y="30"/>
                      <a:pt x="13" y="30"/>
                    </a:cubicBezTo>
                    <a:cubicBezTo>
                      <a:pt x="15" y="31"/>
                      <a:pt x="15" y="31"/>
                      <a:pt x="15" y="33"/>
                    </a:cubicBezTo>
                    <a:cubicBezTo>
                      <a:pt x="15" y="35"/>
                      <a:pt x="15" y="33"/>
                      <a:pt x="16" y="33"/>
                    </a:cubicBezTo>
                    <a:cubicBezTo>
                      <a:pt x="16" y="35"/>
                      <a:pt x="15" y="35"/>
                      <a:pt x="16" y="35"/>
                    </a:cubicBezTo>
                    <a:cubicBezTo>
                      <a:pt x="20" y="35"/>
                      <a:pt x="20" y="36"/>
                      <a:pt x="21" y="35"/>
                    </a:cubicBezTo>
                    <a:cubicBezTo>
                      <a:pt x="23" y="33"/>
                      <a:pt x="21" y="31"/>
                      <a:pt x="21" y="30"/>
                    </a:cubicBezTo>
                    <a:close/>
                    <a:moveTo>
                      <a:pt x="20" y="27"/>
                    </a:moveTo>
                    <a:cubicBezTo>
                      <a:pt x="20" y="25"/>
                      <a:pt x="20" y="24"/>
                      <a:pt x="20" y="24"/>
                    </a:cubicBezTo>
                    <a:cubicBezTo>
                      <a:pt x="21" y="25"/>
                      <a:pt x="20" y="27"/>
                      <a:pt x="20" y="27"/>
                    </a:cubicBezTo>
                    <a:close/>
                    <a:moveTo>
                      <a:pt x="23" y="35"/>
                    </a:moveTo>
                    <a:cubicBezTo>
                      <a:pt x="23" y="35"/>
                      <a:pt x="21" y="35"/>
                      <a:pt x="21" y="36"/>
                    </a:cubicBezTo>
                    <a:cubicBezTo>
                      <a:pt x="21" y="36"/>
                      <a:pt x="20" y="38"/>
                      <a:pt x="20" y="39"/>
                    </a:cubicBezTo>
                    <a:cubicBezTo>
                      <a:pt x="21" y="41"/>
                      <a:pt x="21" y="36"/>
                      <a:pt x="23" y="35"/>
                    </a:cubicBezTo>
                    <a:close/>
                    <a:moveTo>
                      <a:pt x="29" y="41"/>
                    </a:moveTo>
                    <a:cubicBezTo>
                      <a:pt x="30" y="41"/>
                      <a:pt x="30" y="39"/>
                      <a:pt x="30" y="39"/>
                    </a:cubicBezTo>
                    <a:cubicBezTo>
                      <a:pt x="29" y="38"/>
                      <a:pt x="29" y="36"/>
                      <a:pt x="29" y="38"/>
                    </a:cubicBezTo>
                    <a:cubicBezTo>
                      <a:pt x="29" y="38"/>
                      <a:pt x="27" y="38"/>
                      <a:pt x="26" y="36"/>
                    </a:cubicBezTo>
                    <a:cubicBezTo>
                      <a:pt x="24" y="36"/>
                      <a:pt x="24" y="38"/>
                      <a:pt x="24" y="38"/>
                    </a:cubicBezTo>
                    <a:cubicBezTo>
                      <a:pt x="23" y="39"/>
                      <a:pt x="27" y="41"/>
                      <a:pt x="29" y="41"/>
                    </a:cubicBezTo>
                    <a:close/>
                    <a:moveTo>
                      <a:pt x="32" y="39"/>
                    </a:moveTo>
                    <a:cubicBezTo>
                      <a:pt x="33" y="38"/>
                      <a:pt x="32" y="38"/>
                      <a:pt x="32" y="38"/>
                    </a:cubicBezTo>
                    <a:cubicBezTo>
                      <a:pt x="30" y="36"/>
                      <a:pt x="30" y="36"/>
                      <a:pt x="32" y="36"/>
                    </a:cubicBezTo>
                    <a:cubicBezTo>
                      <a:pt x="32" y="36"/>
                      <a:pt x="33" y="36"/>
                      <a:pt x="32" y="35"/>
                    </a:cubicBezTo>
                    <a:cubicBezTo>
                      <a:pt x="32" y="33"/>
                      <a:pt x="32" y="33"/>
                      <a:pt x="33" y="33"/>
                    </a:cubicBezTo>
                    <a:cubicBezTo>
                      <a:pt x="35" y="33"/>
                      <a:pt x="35" y="31"/>
                      <a:pt x="33" y="31"/>
                    </a:cubicBezTo>
                    <a:cubicBezTo>
                      <a:pt x="32" y="30"/>
                      <a:pt x="33" y="28"/>
                      <a:pt x="35" y="28"/>
                    </a:cubicBezTo>
                    <a:cubicBezTo>
                      <a:pt x="36" y="28"/>
                      <a:pt x="35" y="25"/>
                      <a:pt x="36" y="24"/>
                    </a:cubicBezTo>
                    <a:cubicBezTo>
                      <a:pt x="36" y="22"/>
                      <a:pt x="35" y="22"/>
                      <a:pt x="33" y="22"/>
                    </a:cubicBezTo>
                    <a:cubicBezTo>
                      <a:pt x="32" y="21"/>
                      <a:pt x="30" y="24"/>
                      <a:pt x="30" y="24"/>
                    </a:cubicBezTo>
                    <a:cubicBezTo>
                      <a:pt x="30" y="25"/>
                      <a:pt x="30" y="25"/>
                      <a:pt x="30" y="27"/>
                    </a:cubicBezTo>
                    <a:cubicBezTo>
                      <a:pt x="30" y="28"/>
                      <a:pt x="29" y="27"/>
                      <a:pt x="29" y="25"/>
                    </a:cubicBezTo>
                    <a:cubicBezTo>
                      <a:pt x="29" y="25"/>
                      <a:pt x="30" y="24"/>
                      <a:pt x="29" y="24"/>
                    </a:cubicBezTo>
                    <a:cubicBezTo>
                      <a:pt x="27" y="25"/>
                      <a:pt x="26" y="24"/>
                      <a:pt x="26" y="24"/>
                    </a:cubicBezTo>
                    <a:cubicBezTo>
                      <a:pt x="24" y="24"/>
                      <a:pt x="29" y="24"/>
                      <a:pt x="26" y="27"/>
                    </a:cubicBezTo>
                    <a:cubicBezTo>
                      <a:pt x="24" y="27"/>
                      <a:pt x="23" y="27"/>
                      <a:pt x="23" y="27"/>
                    </a:cubicBezTo>
                    <a:cubicBezTo>
                      <a:pt x="21" y="27"/>
                      <a:pt x="24" y="28"/>
                      <a:pt x="24" y="28"/>
                    </a:cubicBezTo>
                    <a:cubicBezTo>
                      <a:pt x="24" y="30"/>
                      <a:pt x="26" y="30"/>
                      <a:pt x="24" y="31"/>
                    </a:cubicBezTo>
                    <a:cubicBezTo>
                      <a:pt x="23" y="31"/>
                      <a:pt x="26" y="31"/>
                      <a:pt x="26" y="33"/>
                    </a:cubicBezTo>
                    <a:cubicBezTo>
                      <a:pt x="26" y="35"/>
                      <a:pt x="26" y="33"/>
                      <a:pt x="27" y="33"/>
                    </a:cubicBezTo>
                    <a:cubicBezTo>
                      <a:pt x="29" y="35"/>
                      <a:pt x="29" y="33"/>
                      <a:pt x="29" y="35"/>
                    </a:cubicBezTo>
                    <a:cubicBezTo>
                      <a:pt x="29" y="36"/>
                      <a:pt x="29" y="35"/>
                      <a:pt x="29" y="35"/>
                    </a:cubicBezTo>
                    <a:cubicBezTo>
                      <a:pt x="27" y="36"/>
                      <a:pt x="30" y="36"/>
                      <a:pt x="29" y="36"/>
                    </a:cubicBezTo>
                    <a:cubicBezTo>
                      <a:pt x="29" y="36"/>
                      <a:pt x="29" y="38"/>
                      <a:pt x="30" y="38"/>
                    </a:cubicBezTo>
                    <a:cubicBezTo>
                      <a:pt x="30" y="39"/>
                      <a:pt x="30" y="41"/>
                      <a:pt x="32" y="41"/>
                    </a:cubicBezTo>
                    <a:cubicBezTo>
                      <a:pt x="32" y="42"/>
                      <a:pt x="32" y="39"/>
                      <a:pt x="32" y="39"/>
                    </a:cubicBezTo>
                    <a:close/>
                    <a:moveTo>
                      <a:pt x="33" y="36"/>
                    </a:moveTo>
                    <a:cubicBezTo>
                      <a:pt x="33" y="36"/>
                      <a:pt x="33" y="35"/>
                      <a:pt x="35" y="36"/>
                    </a:cubicBezTo>
                    <a:cubicBezTo>
                      <a:pt x="36" y="36"/>
                      <a:pt x="32" y="38"/>
                      <a:pt x="33" y="36"/>
                    </a:cubicBezTo>
                    <a:close/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91" name="Freeform 185"/>
              <p:cNvSpPr>
                <a:spLocks noEditPoints="1"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4465156" y="2440378"/>
                <a:ext cx="167261" cy="208195"/>
              </a:xfrm>
              <a:custGeom>
                <a:avLst/>
                <a:gdLst/>
                <a:ahLst/>
                <a:cxnLst>
                  <a:cxn ang="0">
                    <a:pos x="56" y="81"/>
                  </a:cxn>
                  <a:cxn ang="0">
                    <a:pos x="57" y="90"/>
                  </a:cxn>
                  <a:cxn ang="0">
                    <a:pos x="51" y="87"/>
                  </a:cxn>
                  <a:cxn ang="0">
                    <a:pos x="41" y="90"/>
                  </a:cxn>
                  <a:cxn ang="0">
                    <a:pos x="36" y="92"/>
                  </a:cxn>
                  <a:cxn ang="0">
                    <a:pos x="26" y="89"/>
                  </a:cxn>
                  <a:cxn ang="0">
                    <a:pos x="20" y="89"/>
                  </a:cxn>
                  <a:cxn ang="0">
                    <a:pos x="18" y="73"/>
                  </a:cxn>
                  <a:cxn ang="0">
                    <a:pos x="9" y="70"/>
                  </a:cxn>
                  <a:cxn ang="0">
                    <a:pos x="6" y="62"/>
                  </a:cxn>
                  <a:cxn ang="0">
                    <a:pos x="4" y="55"/>
                  </a:cxn>
                  <a:cxn ang="0">
                    <a:pos x="1" y="48"/>
                  </a:cxn>
                  <a:cxn ang="0">
                    <a:pos x="3" y="42"/>
                  </a:cxn>
                  <a:cxn ang="0">
                    <a:pos x="7" y="36"/>
                  </a:cxn>
                  <a:cxn ang="0">
                    <a:pos x="7" y="30"/>
                  </a:cxn>
                  <a:cxn ang="0">
                    <a:pos x="12" y="22"/>
                  </a:cxn>
                  <a:cxn ang="0">
                    <a:pos x="15" y="16"/>
                  </a:cxn>
                  <a:cxn ang="0">
                    <a:pos x="21" y="17"/>
                  </a:cxn>
                  <a:cxn ang="0">
                    <a:pos x="23" y="14"/>
                  </a:cxn>
                  <a:cxn ang="0">
                    <a:pos x="26" y="13"/>
                  </a:cxn>
                  <a:cxn ang="0">
                    <a:pos x="24" y="10"/>
                  </a:cxn>
                  <a:cxn ang="0">
                    <a:pos x="26" y="5"/>
                  </a:cxn>
                  <a:cxn ang="0">
                    <a:pos x="26" y="2"/>
                  </a:cxn>
                  <a:cxn ang="0">
                    <a:pos x="32" y="2"/>
                  </a:cxn>
                  <a:cxn ang="0">
                    <a:pos x="33" y="7"/>
                  </a:cxn>
                  <a:cxn ang="0">
                    <a:pos x="41" y="8"/>
                  </a:cxn>
                  <a:cxn ang="0">
                    <a:pos x="39" y="13"/>
                  </a:cxn>
                  <a:cxn ang="0">
                    <a:pos x="48" y="10"/>
                  </a:cxn>
                  <a:cxn ang="0">
                    <a:pos x="56" y="7"/>
                  </a:cxn>
                  <a:cxn ang="0">
                    <a:pos x="64" y="11"/>
                  </a:cxn>
                  <a:cxn ang="0">
                    <a:pos x="67" y="16"/>
                  </a:cxn>
                  <a:cxn ang="0">
                    <a:pos x="68" y="28"/>
                  </a:cxn>
                  <a:cxn ang="0">
                    <a:pos x="70" y="41"/>
                  </a:cxn>
                  <a:cxn ang="0">
                    <a:pos x="68" y="48"/>
                  </a:cxn>
                  <a:cxn ang="0">
                    <a:pos x="54" y="56"/>
                  </a:cxn>
                  <a:cxn ang="0">
                    <a:pos x="56" y="67"/>
                  </a:cxn>
                  <a:cxn ang="0">
                    <a:pos x="61" y="80"/>
                  </a:cxn>
                  <a:cxn ang="0">
                    <a:pos x="64" y="11"/>
                  </a:cxn>
                  <a:cxn ang="0">
                    <a:pos x="64" y="14"/>
                  </a:cxn>
                  <a:cxn ang="0">
                    <a:pos x="67" y="13"/>
                  </a:cxn>
                  <a:cxn ang="0">
                    <a:pos x="44" y="7"/>
                  </a:cxn>
                  <a:cxn ang="0">
                    <a:pos x="61" y="10"/>
                  </a:cxn>
                  <a:cxn ang="0">
                    <a:pos x="62" y="8"/>
                  </a:cxn>
                  <a:cxn ang="0">
                    <a:pos x="59" y="3"/>
                  </a:cxn>
                  <a:cxn ang="0">
                    <a:pos x="59" y="5"/>
                  </a:cxn>
                  <a:cxn ang="0">
                    <a:pos x="59" y="10"/>
                  </a:cxn>
                </a:cxnLst>
                <a:rect l="0" t="0" r="r" b="b"/>
                <a:pathLst>
                  <a:path w="74" h="92">
                    <a:moveTo>
                      <a:pt x="61" y="80"/>
                    </a:moveTo>
                    <a:cubicBezTo>
                      <a:pt x="61" y="81"/>
                      <a:pt x="59" y="80"/>
                      <a:pt x="56" y="81"/>
                    </a:cubicBezTo>
                    <a:cubicBezTo>
                      <a:pt x="54" y="84"/>
                      <a:pt x="59" y="86"/>
                      <a:pt x="57" y="86"/>
                    </a:cubicBezTo>
                    <a:cubicBezTo>
                      <a:pt x="54" y="87"/>
                      <a:pt x="59" y="89"/>
                      <a:pt x="57" y="90"/>
                    </a:cubicBezTo>
                    <a:cubicBezTo>
                      <a:pt x="56" y="92"/>
                      <a:pt x="56" y="87"/>
                      <a:pt x="54" y="89"/>
                    </a:cubicBezTo>
                    <a:cubicBezTo>
                      <a:pt x="53" y="89"/>
                      <a:pt x="51" y="86"/>
                      <a:pt x="51" y="87"/>
                    </a:cubicBezTo>
                    <a:cubicBezTo>
                      <a:pt x="50" y="90"/>
                      <a:pt x="48" y="87"/>
                      <a:pt x="47" y="89"/>
                    </a:cubicBezTo>
                    <a:cubicBezTo>
                      <a:pt x="44" y="90"/>
                      <a:pt x="42" y="92"/>
                      <a:pt x="41" y="90"/>
                    </a:cubicBezTo>
                    <a:cubicBezTo>
                      <a:pt x="41" y="89"/>
                      <a:pt x="39" y="90"/>
                      <a:pt x="38" y="89"/>
                    </a:cubicBezTo>
                    <a:cubicBezTo>
                      <a:pt x="36" y="89"/>
                      <a:pt x="38" y="92"/>
                      <a:pt x="36" y="92"/>
                    </a:cubicBezTo>
                    <a:cubicBezTo>
                      <a:pt x="35" y="92"/>
                      <a:pt x="33" y="87"/>
                      <a:pt x="30" y="90"/>
                    </a:cubicBezTo>
                    <a:cubicBezTo>
                      <a:pt x="29" y="89"/>
                      <a:pt x="27" y="87"/>
                      <a:pt x="26" y="89"/>
                    </a:cubicBezTo>
                    <a:cubicBezTo>
                      <a:pt x="24" y="89"/>
                      <a:pt x="24" y="86"/>
                      <a:pt x="23" y="87"/>
                    </a:cubicBezTo>
                    <a:cubicBezTo>
                      <a:pt x="20" y="87"/>
                      <a:pt x="23" y="89"/>
                      <a:pt x="20" y="89"/>
                    </a:cubicBezTo>
                    <a:cubicBezTo>
                      <a:pt x="16" y="89"/>
                      <a:pt x="16" y="90"/>
                      <a:pt x="13" y="89"/>
                    </a:cubicBezTo>
                    <a:cubicBezTo>
                      <a:pt x="13" y="76"/>
                      <a:pt x="21" y="73"/>
                      <a:pt x="18" y="73"/>
                    </a:cubicBezTo>
                    <a:cubicBezTo>
                      <a:pt x="16" y="72"/>
                      <a:pt x="15" y="70"/>
                      <a:pt x="12" y="72"/>
                    </a:cubicBezTo>
                    <a:cubicBezTo>
                      <a:pt x="9" y="72"/>
                      <a:pt x="10" y="70"/>
                      <a:pt x="9" y="70"/>
                    </a:cubicBezTo>
                    <a:cubicBezTo>
                      <a:pt x="6" y="70"/>
                      <a:pt x="7" y="67"/>
                      <a:pt x="4" y="67"/>
                    </a:cubicBezTo>
                    <a:cubicBezTo>
                      <a:pt x="4" y="64"/>
                      <a:pt x="7" y="64"/>
                      <a:pt x="6" y="62"/>
                    </a:cubicBezTo>
                    <a:cubicBezTo>
                      <a:pt x="6" y="62"/>
                      <a:pt x="3" y="62"/>
                      <a:pt x="3" y="58"/>
                    </a:cubicBezTo>
                    <a:cubicBezTo>
                      <a:pt x="7" y="55"/>
                      <a:pt x="3" y="56"/>
                      <a:pt x="4" y="55"/>
                    </a:cubicBezTo>
                    <a:cubicBezTo>
                      <a:pt x="4" y="53"/>
                      <a:pt x="3" y="53"/>
                      <a:pt x="1" y="52"/>
                    </a:cubicBezTo>
                    <a:cubicBezTo>
                      <a:pt x="1" y="52"/>
                      <a:pt x="4" y="50"/>
                      <a:pt x="1" y="48"/>
                    </a:cubicBezTo>
                    <a:cubicBezTo>
                      <a:pt x="0" y="48"/>
                      <a:pt x="3" y="48"/>
                      <a:pt x="3" y="47"/>
                    </a:cubicBezTo>
                    <a:cubicBezTo>
                      <a:pt x="3" y="45"/>
                      <a:pt x="4" y="45"/>
                      <a:pt x="3" y="42"/>
                    </a:cubicBezTo>
                    <a:cubicBezTo>
                      <a:pt x="1" y="39"/>
                      <a:pt x="1" y="38"/>
                      <a:pt x="4" y="39"/>
                    </a:cubicBezTo>
                    <a:cubicBezTo>
                      <a:pt x="6" y="39"/>
                      <a:pt x="9" y="38"/>
                      <a:pt x="7" y="36"/>
                    </a:cubicBezTo>
                    <a:cubicBezTo>
                      <a:pt x="6" y="36"/>
                      <a:pt x="10" y="34"/>
                      <a:pt x="10" y="33"/>
                    </a:cubicBezTo>
                    <a:cubicBezTo>
                      <a:pt x="10" y="30"/>
                      <a:pt x="7" y="33"/>
                      <a:pt x="7" y="30"/>
                    </a:cubicBezTo>
                    <a:cubicBezTo>
                      <a:pt x="7" y="28"/>
                      <a:pt x="7" y="28"/>
                      <a:pt x="9" y="28"/>
                    </a:cubicBezTo>
                    <a:cubicBezTo>
                      <a:pt x="10" y="30"/>
                      <a:pt x="10" y="28"/>
                      <a:pt x="12" y="22"/>
                    </a:cubicBezTo>
                    <a:cubicBezTo>
                      <a:pt x="12" y="21"/>
                      <a:pt x="9" y="22"/>
                      <a:pt x="10" y="19"/>
                    </a:cubicBezTo>
                    <a:cubicBezTo>
                      <a:pt x="10" y="16"/>
                      <a:pt x="12" y="16"/>
                      <a:pt x="15" y="16"/>
                    </a:cubicBezTo>
                    <a:cubicBezTo>
                      <a:pt x="21" y="16"/>
                      <a:pt x="16" y="17"/>
                      <a:pt x="20" y="19"/>
                    </a:cubicBezTo>
                    <a:cubicBezTo>
                      <a:pt x="21" y="21"/>
                      <a:pt x="18" y="17"/>
                      <a:pt x="21" y="17"/>
                    </a:cubicBezTo>
                    <a:cubicBezTo>
                      <a:pt x="23" y="17"/>
                      <a:pt x="21" y="21"/>
                      <a:pt x="23" y="21"/>
                    </a:cubicBezTo>
                    <a:cubicBezTo>
                      <a:pt x="24" y="19"/>
                      <a:pt x="21" y="13"/>
                      <a:pt x="23" y="14"/>
                    </a:cubicBezTo>
                    <a:cubicBezTo>
                      <a:pt x="26" y="14"/>
                      <a:pt x="27" y="14"/>
                      <a:pt x="29" y="16"/>
                    </a:cubicBezTo>
                    <a:cubicBezTo>
                      <a:pt x="30" y="17"/>
                      <a:pt x="29" y="14"/>
                      <a:pt x="26" y="13"/>
                    </a:cubicBezTo>
                    <a:cubicBezTo>
                      <a:pt x="24" y="13"/>
                      <a:pt x="24" y="13"/>
                      <a:pt x="26" y="11"/>
                    </a:cubicBezTo>
                    <a:cubicBezTo>
                      <a:pt x="27" y="11"/>
                      <a:pt x="23" y="11"/>
                      <a:pt x="24" y="10"/>
                    </a:cubicBezTo>
                    <a:cubicBezTo>
                      <a:pt x="26" y="8"/>
                      <a:pt x="23" y="10"/>
                      <a:pt x="23" y="8"/>
                    </a:cubicBezTo>
                    <a:cubicBezTo>
                      <a:pt x="23" y="7"/>
                      <a:pt x="27" y="8"/>
                      <a:pt x="26" y="5"/>
                    </a:cubicBezTo>
                    <a:cubicBezTo>
                      <a:pt x="24" y="3"/>
                      <a:pt x="23" y="3"/>
                      <a:pt x="23" y="2"/>
                    </a:cubicBezTo>
                    <a:cubicBezTo>
                      <a:pt x="24" y="2"/>
                      <a:pt x="24" y="0"/>
                      <a:pt x="26" y="2"/>
                    </a:cubicBezTo>
                    <a:cubicBezTo>
                      <a:pt x="27" y="2"/>
                      <a:pt x="29" y="2"/>
                      <a:pt x="29" y="2"/>
                    </a:cubicBezTo>
                    <a:cubicBezTo>
                      <a:pt x="30" y="3"/>
                      <a:pt x="30" y="2"/>
                      <a:pt x="32" y="2"/>
                    </a:cubicBezTo>
                    <a:cubicBezTo>
                      <a:pt x="33" y="3"/>
                      <a:pt x="33" y="2"/>
                      <a:pt x="33" y="3"/>
                    </a:cubicBezTo>
                    <a:cubicBezTo>
                      <a:pt x="35" y="7"/>
                      <a:pt x="32" y="7"/>
                      <a:pt x="33" y="7"/>
                    </a:cubicBezTo>
                    <a:cubicBezTo>
                      <a:pt x="35" y="7"/>
                      <a:pt x="35" y="8"/>
                      <a:pt x="36" y="7"/>
                    </a:cubicBezTo>
                    <a:cubicBezTo>
                      <a:pt x="38" y="7"/>
                      <a:pt x="36" y="10"/>
                      <a:pt x="41" y="8"/>
                    </a:cubicBezTo>
                    <a:cubicBezTo>
                      <a:pt x="44" y="7"/>
                      <a:pt x="42" y="8"/>
                      <a:pt x="42" y="10"/>
                    </a:cubicBezTo>
                    <a:cubicBezTo>
                      <a:pt x="44" y="11"/>
                      <a:pt x="39" y="11"/>
                      <a:pt x="39" y="13"/>
                    </a:cubicBezTo>
                    <a:cubicBezTo>
                      <a:pt x="41" y="14"/>
                      <a:pt x="42" y="11"/>
                      <a:pt x="44" y="13"/>
                    </a:cubicBezTo>
                    <a:cubicBezTo>
                      <a:pt x="47" y="14"/>
                      <a:pt x="44" y="10"/>
                      <a:pt x="48" y="10"/>
                    </a:cubicBezTo>
                    <a:cubicBezTo>
                      <a:pt x="51" y="10"/>
                      <a:pt x="53" y="7"/>
                      <a:pt x="53" y="7"/>
                    </a:cubicBezTo>
                    <a:cubicBezTo>
                      <a:pt x="54" y="5"/>
                      <a:pt x="54" y="8"/>
                      <a:pt x="56" y="7"/>
                    </a:cubicBezTo>
                    <a:cubicBezTo>
                      <a:pt x="57" y="7"/>
                      <a:pt x="56" y="8"/>
                      <a:pt x="59" y="10"/>
                    </a:cubicBezTo>
                    <a:cubicBezTo>
                      <a:pt x="61" y="13"/>
                      <a:pt x="64" y="10"/>
                      <a:pt x="64" y="11"/>
                    </a:cubicBezTo>
                    <a:cubicBezTo>
                      <a:pt x="64" y="13"/>
                      <a:pt x="64" y="13"/>
                      <a:pt x="64" y="13"/>
                    </a:cubicBezTo>
                    <a:cubicBezTo>
                      <a:pt x="64" y="14"/>
                      <a:pt x="64" y="16"/>
                      <a:pt x="67" y="16"/>
                    </a:cubicBezTo>
                    <a:cubicBezTo>
                      <a:pt x="67" y="16"/>
                      <a:pt x="67" y="16"/>
                      <a:pt x="67" y="16"/>
                    </a:cubicBezTo>
                    <a:cubicBezTo>
                      <a:pt x="70" y="24"/>
                      <a:pt x="64" y="25"/>
                      <a:pt x="68" y="28"/>
                    </a:cubicBezTo>
                    <a:cubicBezTo>
                      <a:pt x="73" y="31"/>
                      <a:pt x="68" y="31"/>
                      <a:pt x="70" y="33"/>
                    </a:cubicBezTo>
                    <a:cubicBezTo>
                      <a:pt x="73" y="38"/>
                      <a:pt x="70" y="38"/>
                      <a:pt x="70" y="41"/>
                    </a:cubicBezTo>
                    <a:cubicBezTo>
                      <a:pt x="71" y="45"/>
                      <a:pt x="74" y="41"/>
                      <a:pt x="73" y="50"/>
                    </a:cubicBezTo>
                    <a:cubicBezTo>
                      <a:pt x="70" y="52"/>
                      <a:pt x="68" y="48"/>
                      <a:pt x="68" y="48"/>
                    </a:cubicBezTo>
                    <a:cubicBezTo>
                      <a:pt x="67" y="48"/>
                      <a:pt x="70" y="50"/>
                      <a:pt x="65" y="52"/>
                    </a:cubicBezTo>
                    <a:cubicBezTo>
                      <a:pt x="61" y="52"/>
                      <a:pt x="59" y="55"/>
                      <a:pt x="54" y="56"/>
                    </a:cubicBezTo>
                    <a:cubicBezTo>
                      <a:pt x="51" y="58"/>
                      <a:pt x="50" y="58"/>
                      <a:pt x="51" y="61"/>
                    </a:cubicBezTo>
                    <a:cubicBezTo>
                      <a:pt x="54" y="64"/>
                      <a:pt x="50" y="66"/>
                      <a:pt x="56" y="67"/>
                    </a:cubicBezTo>
                    <a:cubicBezTo>
                      <a:pt x="59" y="69"/>
                      <a:pt x="59" y="72"/>
                      <a:pt x="64" y="75"/>
                    </a:cubicBezTo>
                    <a:cubicBezTo>
                      <a:pt x="64" y="80"/>
                      <a:pt x="61" y="76"/>
                      <a:pt x="61" y="80"/>
                    </a:cubicBezTo>
                    <a:close/>
                    <a:moveTo>
                      <a:pt x="67" y="13"/>
                    </a:moveTo>
                    <a:cubicBezTo>
                      <a:pt x="65" y="13"/>
                      <a:pt x="65" y="11"/>
                      <a:pt x="64" y="11"/>
                    </a:cubicBezTo>
                    <a:cubicBezTo>
                      <a:pt x="64" y="10"/>
                      <a:pt x="64" y="13"/>
                      <a:pt x="65" y="13"/>
                    </a:cubicBezTo>
                    <a:cubicBezTo>
                      <a:pt x="65" y="14"/>
                      <a:pt x="64" y="14"/>
                      <a:pt x="64" y="14"/>
                    </a:cubicBezTo>
                    <a:cubicBezTo>
                      <a:pt x="65" y="14"/>
                      <a:pt x="67" y="14"/>
                      <a:pt x="67" y="14"/>
                    </a:cubicBezTo>
                    <a:cubicBezTo>
                      <a:pt x="67" y="13"/>
                      <a:pt x="67" y="13"/>
                      <a:pt x="67" y="13"/>
                    </a:cubicBezTo>
                    <a:close/>
                    <a:moveTo>
                      <a:pt x="42" y="7"/>
                    </a:moveTo>
                    <a:cubicBezTo>
                      <a:pt x="42" y="5"/>
                      <a:pt x="44" y="7"/>
                      <a:pt x="44" y="7"/>
                    </a:cubicBezTo>
                    <a:cubicBezTo>
                      <a:pt x="44" y="8"/>
                      <a:pt x="41" y="7"/>
                      <a:pt x="42" y="7"/>
                    </a:cubicBezTo>
                    <a:close/>
                    <a:moveTo>
                      <a:pt x="61" y="10"/>
                    </a:moveTo>
                    <a:cubicBezTo>
                      <a:pt x="61" y="8"/>
                      <a:pt x="61" y="7"/>
                      <a:pt x="62" y="8"/>
                    </a:cubicBezTo>
                    <a:cubicBezTo>
                      <a:pt x="64" y="10"/>
                      <a:pt x="64" y="8"/>
                      <a:pt x="62" y="8"/>
                    </a:cubicBezTo>
                    <a:cubicBezTo>
                      <a:pt x="61" y="7"/>
                      <a:pt x="64" y="5"/>
                      <a:pt x="62" y="5"/>
                    </a:cubicBezTo>
                    <a:cubicBezTo>
                      <a:pt x="61" y="5"/>
                      <a:pt x="61" y="3"/>
                      <a:pt x="59" y="3"/>
                    </a:cubicBezTo>
                    <a:cubicBezTo>
                      <a:pt x="57" y="5"/>
                      <a:pt x="61" y="5"/>
                      <a:pt x="61" y="7"/>
                    </a:cubicBezTo>
                    <a:cubicBezTo>
                      <a:pt x="59" y="5"/>
                      <a:pt x="59" y="5"/>
                      <a:pt x="59" y="5"/>
                    </a:cubicBezTo>
                    <a:cubicBezTo>
                      <a:pt x="57" y="5"/>
                      <a:pt x="59" y="7"/>
                      <a:pt x="59" y="8"/>
                    </a:cubicBezTo>
                    <a:cubicBezTo>
                      <a:pt x="57" y="8"/>
                      <a:pt x="59" y="8"/>
                      <a:pt x="59" y="10"/>
                    </a:cubicBezTo>
                    <a:cubicBezTo>
                      <a:pt x="61" y="10"/>
                      <a:pt x="61" y="10"/>
                      <a:pt x="61" y="10"/>
                    </a:cubicBezTo>
                    <a:close/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92" name="Freeform 186"/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4424218" y="2482485"/>
                <a:ext cx="67840" cy="72517"/>
              </a:xfrm>
              <a:custGeom>
                <a:avLst/>
                <a:gdLst/>
                <a:ahLst/>
                <a:cxnLst>
                  <a:cxn ang="0">
                    <a:pos x="27" y="9"/>
                  </a:cxn>
                  <a:cxn ang="0">
                    <a:pos x="25" y="11"/>
                  </a:cxn>
                  <a:cxn ang="0">
                    <a:pos x="28" y="14"/>
                  </a:cxn>
                  <a:cxn ang="0">
                    <a:pos x="25" y="17"/>
                  </a:cxn>
                  <a:cxn ang="0">
                    <a:pos x="22" y="20"/>
                  </a:cxn>
                  <a:cxn ang="0">
                    <a:pos x="21" y="23"/>
                  </a:cxn>
                  <a:cxn ang="0">
                    <a:pos x="21" y="28"/>
                  </a:cxn>
                  <a:cxn ang="0">
                    <a:pos x="19" y="29"/>
                  </a:cxn>
                  <a:cxn ang="0">
                    <a:pos x="19" y="32"/>
                  </a:cxn>
                  <a:cxn ang="0">
                    <a:pos x="16" y="26"/>
                  </a:cxn>
                  <a:cxn ang="0">
                    <a:pos x="12" y="25"/>
                  </a:cxn>
                  <a:cxn ang="0">
                    <a:pos x="9" y="25"/>
                  </a:cxn>
                  <a:cxn ang="0">
                    <a:pos x="7" y="25"/>
                  </a:cxn>
                  <a:cxn ang="0">
                    <a:pos x="4" y="26"/>
                  </a:cxn>
                  <a:cxn ang="0">
                    <a:pos x="1" y="26"/>
                  </a:cxn>
                  <a:cxn ang="0">
                    <a:pos x="0" y="25"/>
                  </a:cxn>
                  <a:cxn ang="0">
                    <a:pos x="1" y="26"/>
                  </a:cxn>
                  <a:cxn ang="0">
                    <a:pos x="4" y="25"/>
                  </a:cxn>
                  <a:cxn ang="0">
                    <a:pos x="4" y="25"/>
                  </a:cxn>
                  <a:cxn ang="0">
                    <a:pos x="0" y="23"/>
                  </a:cxn>
                  <a:cxn ang="0">
                    <a:pos x="4" y="23"/>
                  </a:cxn>
                  <a:cxn ang="0">
                    <a:pos x="1" y="22"/>
                  </a:cxn>
                  <a:cxn ang="0">
                    <a:pos x="4" y="18"/>
                  </a:cxn>
                  <a:cxn ang="0">
                    <a:pos x="7" y="14"/>
                  </a:cxn>
                  <a:cxn ang="0">
                    <a:pos x="10" y="6"/>
                  </a:cxn>
                  <a:cxn ang="0">
                    <a:pos x="12" y="8"/>
                  </a:cxn>
                  <a:cxn ang="0">
                    <a:pos x="13" y="9"/>
                  </a:cxn>
                  <a:cxn ang="0">
                    <a:pos x="13" y="14"/>
                  </a:cxn>
                  <a:cxn ang="0">
                    <a:pos x="16" y="11"/>
                  </a:cxn>
                  <a:cxn ang="0">
                    <a:pos x="16" y="8"/>
                  </a:cxn>
                  <a:cxn ang="0">
                    <a:pos x="15" y="5"/>
                  </a:cxn>
                  <a:cxn ang="0">
                    <a:pos x="19" y="0"/>
                  </a:cxn>
                  <a:cxn ang="0">
                    <a:pos x="27" y="1"/>
                  </a:cxn>
                  <a:cxn ang="0">
                    <a:pos x="30" y="3"/>
                  </a:cxn>
                  <a:cxn ang="0">
                    <a:pos x="27" y="9"/>
                  </a:cxn>
                </a:cxnLst>
                <a:rect l="0" t="0" r="r" b="b"/>
                <a:pathLst>
                  <a:path w="30" h="32">
                    <a:moveTo>
                      <a:pt x="27" y="9"/>
                    </a:moveTo>
                    <a:cubicBezTo>
                      <a:pt x="25" y="9"/>
                      <a:pt x="25" y="9"/>
                      <a:pt x="25" y="11"/>
                    </a:cubicBezTo>
                    <a:cubicBezTo>
                      <a:pt x="25" y="14"/>
                      <a:pt x="28" y="11"/>
                      <a:pt x="28" y="14"/>
                    </a:cubicBezTo>
                    <a:cubicBezTo>
                      <a:pt x="28" y="15"/>
                      <a:pt x="24" y="17"/>
                      <a:pt x="25" y="17"/>
                    </a:cubicBezTo>
                    <a:cubicBezTo>
                      <a:pt x="27" y="18"/>
                      <a:pt x="24" y="20"/>
                      <a:pt x="22" y="20"/>
                    </a:cubicBezTo>
                    <a:cubicBezTo>
                      <a:pt x="19" y="18"/>
                      <a:pt x="19" y="20"/>
                      <a:pt x="21" y="23"/>
                    </a:cubicBezTo>
                    <a:cubicBezTo>
                      <a:pt x="22" y="26"/>
                      <a:pt x="21" y="26"/>
                      <a:pt x="21" y="28"/>
                    </a:cubicBezTo>
                    <a:cubicBezTo>
                      <a:pt x="21" y="29"/>
                      <a:pt x="18" y="29"/>
                      <a:pt x="19" y="29"/>
                    </a:cubicBezTo>
                    <a:cubicBezTo>
                      <a:pt x="22" y="31"/>
                      <a:pt x="19" y="32"/>
                      <a:pt x="19" y="32"/>
                    </a:cubicBezTo>
                    <a:cubicBezTo>
                      <a:pt x="13" y="32"/>
                      <a:pt x="22" y="28"/>
                      <a:pt x="16" y="26"/>
                    </a:cubicBezTo>
                    <a:cubicBezTo>
                      <a:pt x="12" y="26"/>
                      <a:pt x="13" y="23"/>
                      <a:pt x="12" y="25"/>
                    </a:cubicBezTo>
                    <a:cubicBezTo>
                      <a:pt x="10" y="25"/>
                      <a:pt x="12" y="23"/>
                      <a:pt x="9" y="25"/>
                    </a:cubicBezTo>
                    <a:cubicBezTo>
                      <a:pt x="7" y="25"/>
                      <a:pt x="9" y="23"/>
                      <a:pt x="7" y="25"/>
                    </a:cubicBezTo>
                    <a:cubicBezTo>
                      <a:pt x="7" y="26"/>
                      <a:pt x="6" y="25"/>
                      <a:pt x="4" y="26"/>
                    </a:cubicBezTo>
                    <a:cubicBezTo>
                      <a:pt x="3" y="28"/>
                      <a:pt x="1" y="26"/>
                      <a:pt x="1" y="26"/>
                    </a:cubicBezTo>
                    <a:cubicBezTo>
                      <a:pt x="0" y="26"/>
                      <a:pt x="0" y="26"/>
                      <a:pt x="0" y="25"/>
                    </a:cubicBezTo>
                    <a:cubicBezTo>
                      <a:pt x="1" y="25"/>
                      <a:pt x="1" y="25"/>
                      <a:pt x="1" y="26"/>
                    </a:cubicBezTo>
                    <a:cubicBezTo>
                      <a:pt x="3" y="26"/>
                      <a:pt x="4" y="25"/>
                      <a:pt x="4" y="25"/>
                    </a:cubicBezTo>
                    <a:cubicBezTo>
                      <a:pt x="6" y="25"/>
                      <a:pt x="4" y="23"/>
                      <a:pt x="4" y="25"/>
                    </a:cubicBezTo>
                    <a:cubicBezTo>
                      <a:pt x="3" y="25"/>
                      <a:pt x="0" y="23"/>
                      <a:pt x="0" y="23"/>
                    </a:cubicBezTo>
                    <a:cubicBezTo>
                      <a:pt x="1" y="22"/>
                      <a:pt x="1" y="23"/>
                      <a:pt x="4" y="23"/>
                    </a:cubicBezTo>
                    <a:cubicBezTo>
                      <a:pt x="9" y="22"/>
                      <a:pt x="3" y="22"/>
                      <a:pt x="1" y="22"/>
                    </a:cubicBezTo>
                    <a:cubicBezTo>
                      <a:pt x="1" y="20"/>
                      <a:pt x="6" y="20"/>
                      <a:pt x="4" y="18"/>
                    </a:cubicBezTo>
                    <a:cubicBezTo>
                      <a:pt x="4" y="17"/>
                      <a:pt x="6" y="20"/>
                      <a:pt x="7" y="14"/>
                    </a:cubicBezTo>
                    <a:cubicBezTo>
                      <a:pt x="10" y="9"/>
                      <a:pt x="9" y="5"/>
                      <a:pt x="10" y="6"/>
                    </a:cubicBezTo>
                    <a:cubicBezTo>
                      <a:pt x="15" y="5"/>
                      <a:pt x="12" y="6"/>
                      <a:pt x="12" y="8"/>
                    </a:cubicBezTo>
                    <a:cubicBezTo>
                      <a:pt x="12" y="9"/>
                      <a:pt x="15" y="9"/>
                      <a:pt x="13" y="9"/>
                    </a:cubicBezTo>
                    <a:cubicBezTo>
                      <a:pt x="12" y="11"/>
                      <a:pt x="12" y="12"/>
                      <a:pt x="13" y="14"/>
                    </a:cubicBezTo>
                    <a:cubicBezTo>
                      <a:pt x="16" y="15"/>
                      <a:pt x="19" y="11"/>
                      <a:pt x="16" y="11"/>
                    </a:cubicBezTo>
                    <a:cubicBezTo>
                      <a:pt x="15" y="9"/>
                      <a:pt x="18" y="8"/>
                      <a:pt x="16" y="8"/>
                    </a:cubicBezTo>
                    <a:cubicBezTo>
                      <a:pt x="15" y="8"/>
                      <a:pt x="16" y="5"/>
                      <a:pt x="15" y="5"/>
                    </a:cubicBezTo>
                    <a:cubicBezTo>
                      <a:pt x="13" y="5"/>
                      <a:pt x="15" y="1"/>
                      <a:pt x="19" y="0"/>
                    </a:cubicBezTo>
                    <a:cubicBezTo>
                      <a:pt x="24" y="0"/>
                      <a:pt x="25" y="0"/>
                      <a:pt x="27" y="1"/>
                    </a:cubicBezTo>
                    <a:cubicBezTo>
                      <a:pt x="28" y="1"/>
                      <a:pt x="28" y="3"/>
                      <a:pt x="30" y="3"/>
                    </a:cubicBezTo>
                    <a:cubicBezTo>
                      <a:pt x="28" y="9"/>
                      <a:pt x="28" y="11"/>
                      <a:pt x="27" y="9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93" name="Freeform 187"/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4405504" y="2535118"/>
                <a:ext cx="77198" cy="57312"/>
              </a:xfrm>
              <a:custGeom>
                <a:avLst/>
                <a:gdLst/>
                <a:ahLst/>
                <a:cxnLst>
                  <a:cxn ang="0">
                    <a:pos x="31" y="13"/>
                  </a:cxn>
                  <a:cxn ang="0">
                    <a:pos x="29" y="16"/>
                  </a:cxn>
                  <a:cxn ang="0">
                    <a:pos x="26" y="25"/>
                  </a:cxn>
                  <a:cxn ang="0">
                    <a:pos x="21" y="22"/>
                  </a:cxn>
                  <a:cxn ang="0">
                    <a:pos x="18" y="18"/>
                  </a:cxn>
                  <a:cxn ang="0">
                    <a:pos x="14" y="18"/>
                  </a:cxn>
                  <a:cxn ang="0">
                    <a:pos x="9" y="14"/>
                  </a:cxn>
                  <a:cxn ang="0">
                    <a:pos x="6" y="11"/>
                  </a:cxn>
                  <a:cxn ang="0">
                    <a:pos x="0" y="7"/>
                  </a:cxn>
                  <a:cxn ang="0">
                    <a:pos x="8" y="2"/>
                  </a:cxn>
                  <a:cxn ang="0">
                    <a:pos x="9" y="4"/>
                  </a:cxn>
                  <a:cxn ang="0">
                    <a:pos x="12" y="4"/>
                  </a:cxn>
                  <a:cxn ang="0">
                    <a:pos x="15" y="2"/>
                  </a:cxn>
                  <a:cxn ang="0">
                    <a:pos x="17" y="2"/>
                  </a:cxn>
                  <a:cxn ang="0">
                    <a:pos x="20" y="2"/>
                  </a:cxn>
                  <a:cxn ang="0">
                    <a:pos x="24" y="4"/>
                  </a:cxn>
                  <a:cxn ang="0">
                    <a:pos x="28" y="10"/>
                  </a:cxn>
                  <a:cxn ang="0">
                    <a:pos x="31" y="13"/>
                  </a:cxn>
                </a:cxnLst>
                <a:rect l="0" t="0" r="r" b="b"/>
                <a:pathLst>
                  <a:path w="34" h="25">
                    <a:moveTo>
                      <a:pt x="31" y="13"/>
                    </a:moveTo>
                    <a:cubicBezTo>
                      <a:pt x="29" y="14"/>
                      <a:pt x="34" y="13"/>
                      <a:pt x="29" y="16"/>
                    </a:cubicBezTo>
                    <a:cubicBezTo>
                      <a:pt x="24" y="19"/>
                      <a:pt x="26" y="24"/>
                      <a:pt x="26" y="25"/>
                    </a:cubicBezTo>
                    <a:cubicBezTo>
                      <a:pt x="23" y="25"/>
                      <a:pt x="23" y="22"/>
                      <a:pt x="21" y="22"/>
                    </a:cubicBezTo>
                    <a:cubicBezTo>
                      <a:pt x="17" y="21"/>
                      <a:pt x="20" y="18"/>
                      <a:pt x="18" y="18"/>
                    </a:cubicBezTo>
                    <a:cubicBezTo>
                      <a:pt x="17" y="16"/>
                      <a:pt x="15" y="22"/>
                      <a:pt x="14" y="18"/>
                    </a:cubicBezTo>
                    <a:cubicBezTo>
                      <a:pt x="14" y="14"/>
                      <a:pt x="11" y="16"/>
                      <a:pt x="9" y="14"/>
                    </a:cubicBezTo>
                    <a:cubicBezTo>
                      <a:pt x="8" y="11"/>
                      <a:pt x="8" y="14"/>
                      <a:pt x="6" y="11"/>
                    </a:cubicBezTo>
                    <a:cubicBezTo>
                      <a:pt x="4" y="8"/>
                      <a:pt x="3" y="13"/>
                      <a:pt x="0" y="7"/>
                    </a:cubicBezTo>
                    <a:cubicBezTo>
                      <a:pt x="3" y="5"/>
                      <a:pt x="4" y="4"/>
                      <a:pt x="8" y="2"/>
                    </a:cubicBezTo>
                    <a:cubicBezTo>
                      <a:pt x="8" y="4"/>
                      <a:pt x="8" y="4"/>
                      <a:pt x="9" y="4"/>
                    </a:cubicBezTo>
                    <a:cubicBezTo>
                      <a:pt x="9" y="4"/>
                      <a:pt x="11" y="5"/>
                      <a:pt x="12" y="4"/>
                    </a:cubicBezTo>
                    <a:cubicBezTo>
                      <a:pt x="14" y="2"/>
                      <a:pt x="15" y="4"/>
                      <a:pt x="15" y="2"/>
                    </a:cubicBezTo>
                    <a:cubicBezTo>
                      <a:pt x="17" y="0"/>
                      <a:pt x="15" y="2"/>
                      <a:pt x="17" y="2"/>
                    </a:cubicBezTo>
                    <a:cubicBezTo>
                      <a:pt x="20" y="0"/>
                      <a:pt x="18" y="2"/>
                      <a:pt x="20" y="2"/>
                    </a:cubicBezTo>
                    <a:cubicBezTo>
                      <a:pt x="21" y="0"/>
                      <a:pt x="20" y="4"/>
                      <a:pt x="24" y="4"/>
                    </a:cubicBezTo>
                    <a:cubicBezTo>
                      <a:pt x="31" y="5"/>
                      <a:pt x="21" y="10"/>
                      <a:pt x="28" y="10"/>
                    </a:cubicBezTo>
                    <a:cubicBezTo>
                      <a:pt x="29" y="11"/>
                      <a:pt x="31" y="11"/>
                      <a:pt x="31" y="1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94" name="Freeform 188"/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4460478" y="2569038"/>
                <a:ext cx="22224" cy="23392"/>
              </a:xfrm>
              <a:custGeom>
                <a:avLst/>
                <a:gdLst/>
                <a:ahLst/>
                <a:cxnLst>
                  <a:cxn ang="0">
                    <a:pos x="7" y="10"/>
                  </a:cxn>
                  <a:cxn ang="0">
                    <a:pos x="8" y="5"/>
                  </a:cxn>
                  <a:cxn ang="0">
                    <a:pos x="5" y="0"/>
                  </a:cxn>
                  <a:cxn ang="0">
                    <a:pos x="2" y="10"/>
                  </a:cxn>
                  <a:cxn ang="0">
                    <a:pos x="7" y="10"/>
                  </a:cxn>
                </a:cxnLst>
                <a:rect l="0" t="0" r="r" b="b"/>
                <a:pathLst>
                  <a:path w="10" h="10">
                    <a:moveTo>
                      <a:pt x="7" y="10"/>
                    </a:moveTo>
                    <a:cubicBezTo>
                      <a:pt x="7" y="7"/>
                      <a:pt x="10" y="7"/>
                      <a:pt x="8" y="5"/>
                    </a:cubicBezTo>
                    <a:cubicBezTo>
                      <a:pt x="8" y="5"/>
                      <a:pt x="5" y="5"/>
                      <a:pt x="5" y="0"/>
                    </a:cubicBezTo>
                    <a:cubicBezTo>
                      <a:pt x="0" y="4"/>
                      <a:pt x="2" y="9"/>
                      <a:pt x="2" y="10"/>
                    </a:cubicBezTo>
                    <a:cubicBezTo>
                      <a:pt x="5" y="10"/>
                      <a:pt x="5" y="10"/>
                      <a:pt x="7" y="1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95" name="Freeform 189"/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4750553" y="2332771"/>
                <a:ext cx="31581" cy="21054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3" y="8"/>
                  </a:cxn>
                  <a:cxn ang="0">
                    <a:pos x="3" y="6"/>
                  </a:cxn>
                  <a:cxn ang="0">
                    <a:pos x="1" y="5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7" y="0"/>
                  </a:cxn>
                  <a:cxn ang="0">
                    <a:pos x="11" y="2"/>
                  </a:cxn>
                  <a:cxn ang="0">
                    <a:pos x="12" y="3"/>
                  </a:cxn>
                  <a:cxn ang="0">
                    <a:pos x="11" y="3"/>
                  </a:cxn>
                  <a:cxn ang="0">
                    <a:pos x="6" y="6"/>
                  </a:cxn>
                  <a:cxn ang="0">
                    <a:pos x="4" y="8"/>
                  </a:cxn>
                  <a:cxn ang="0">
                    <a:pos x="3" y="9"/>
                  </a:cxn>
                </a:cxnLst>
                <a:rect l="0" t="0" r="r" b="b"/>
                <a:pathLst>
                  <a:path w="14" h="9">
                    <a:moveTo>
                      <a:pt x="3" y="9"/>
                    </a:moveTo>
                    <a:cubicBezTo>
                      <a:pt x="1" y="9"/>
                      <a:pt x="1" y="8"/>
                      <a:pt x="3" y="8"/>
                    </a:cubicBezTo>
                    <a:cubicBezTo>
                      <a:pt x="4" y="8"/>
                      <a:pt x="4" y="6"/>
                      <a:pt x="3" y="6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3" y="3"/>
                      <a:pt x="0" y="2"/>
                      <a:pt x="1" y="2"/>
                    </a:cubicBezTo>
                    <a:cubicBezTo>
                      <a:pt x="3" y="2"/>
                      <a:pt x="3" y="3"/>
                      <a:pt x="3" y="2"/>
                    </a:cubicBezTo>
                    <a:cubicBezTo>
                      <a:pt x="4" y="0"/>
                      <a:pt x="7" y="0"/>
                      <a:pt x="7" y="0"/>
                    </a:cubicBezTo>
                    <a:cubicBezTo>
                      <a:pt x="7" y="2"/>
                      <a:pt x="9" y="0"/>
                      <a:pt x="11" y="2"/>
                    </a:cubicBezTo>
                    <a:cubicBezTo>
                      <a:pt x="14" y="3"/>
                      <a:pt x="14" y="3"/>
                      <a:pt x="12" y="3"/>
                    </a:cubicBezTo>
                    <a:cubicBezTo>
                      <a:pt x="12" y="3"/>
                      <a:pt x="12" y="2"/>
                      <a:pt x="11" y="3"/>
                    </a:cubicBezTo>
                    <a:cubicBezTo>
                      <a:pt x="11" y="5"/>
                      <a:pt x="7" y="6"/>
                      <a:pt x="6" y="6"/>
                    </a:cubicBezTo>
                    <a:cubicBezTo>
                      <a:pt x="6" y="5"/>
                      <a:pt x="4" y="8"/>
                      <a:pt x="4" y="8"/>
                    </a:cubicBezTo>
                    <a:cubicBezTo>
                      <a:pt x="4" y="9"/>
                      <a:pt x="3" y="9"/>
                      <a:pt x="3" y="9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96" name="Freeform 190"/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4757571" y="2319905"/>
                <a:ext cx="19884" cy="12866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5" y="2"/>
                  </a:cxn>
                  <a:cxn ang="0">
                    <a:pos x="6" y="3"/>
                  </a:cxn>
                  <a:cxn ang="0">
                    <a:pos x="8" y="5"/>
                  </a:cxn>
                  <a:cxn ang="0">
                    <a:pos x="6" y="5"/>
                  </a:cxn>
                  <a:cxn ang="0">
                    <a:pos x="5" y="6"/>
                  </a:cxn>
                </a:cxnLst>
                <a:rect l="0" t="0" r="r" b="b"/>
                <a:pathLst>
                  <a:path w="9" h="6">
                    <a:moveTo>
                      <a:pt x="5" y="6"/>
                    </a:moveTo>
                    <a:cubicBezTo>
                      <a:pt x="3" y="6"/>
                      <a:pt x="3" y="3"/>
                      <a:pt x="2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2" y="2"/>
                      <a:pt x="3" y="3"/>
                      <a:pt x="5" y="2"/>
                    </a:cubicBezTo>
                    <a:cubicBezTo>
                      <a:pt x="5" y="0"/>
                      <a:pt x="5" y="2"/>
                      <a:pt x="6" y="3"/>
                    </a:cubicBezTo>
                    <a:cubicBezTo>
                      <a:pt x="9" y="3"/>
                      <a:pt x="8" y="5"/>
                      <a:pt x="8" y="5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5" y="5"/>
                      <a:pt x="5" y="6"/>
                      <a:pt x="5" y="6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97" name="Freeform 191"/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4775116" y="2330432"/>
                <a:ext cx="7018" cy="9357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3" y="3"/>
                  </a:cxn>
                  <a:cxn ang="0">
                    <a:pos x="0" y="1"/>
                  </a:cxn>
                </a:cxnLst>
                <a:rect l="0" t="0" r="r" b="b"/>
                <a:pathLst>
                  <a:path w="3" h="4">
                    <a:moveTo>
                      <a:pt x="0" y="1"/>
                    </a:moveTo>
                    <a:cubicBezTo>
                      <a:pt x="1" y="0"/>
                      <a:pt x="3" y="1"/>
                      <a:pt x="3" y="3"/>
                    </a:cubicBezTo>
                    <a:cubicBezTo>
                      <a:pt x="1" y="4"/>
                      <a:pt x="0" y="3"/>
                      <a:pt x="0" y="1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98" name="Freeform 192"/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4775116" y="2324584"/>
                <a:ext cx="7018" cy="233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3" y="0"/>
                  </a:cxn>
                  <a:cxn ang="0">
                    <a:pos x="1" y="0"/>
                  </a:cxn>
                </a:cxnLst>
                <a:rect l="0" t="0" r="r" b="b"/>
                <a:pathLst>
                  <a:path w="3" h="1">
                    <a:moveTo>
                      <a:pt x="1" y="0"/>
                    </a:moveTo>
                    <a:cubicBezTo>
                      <a:pt x="0" y="0"/>
                      <a:pt x="3" y="0"/>
                      <a:pt x="3" y="0"/>
                    </a:cubicBezTo>
                    <a:cubicBezTo>
                      <a:pt x="3" y="1"/>
                      <a:pt x="1" y="0"/>
                      <a:pt x="1" y="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999" name="Freeform 193"/>
              <p:cNvSpPr>
                <a:spLocks noEditPoints="1"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4559898" y="2013460"/>
                <a:ext cx="236271" cy="419900"/>
              </a:xfrm>
              <a:custGeom>
                <a:avLst/>
                <a:gdLst/>
                <a:ahLst/>
                <a:cxnLst>
                  <a:cxn ang="0">
                    <a:pos x="3" y="138"/>
                  </a:cxn>
                  <a:cxn ang="0">
                    <a:pos x="6" y="127"/>
                  </a:cxn>
                  <a:cxn ang="0">
                    <a:pos x="11" y="120"/>
                  </a:cxn>
                  <a:cxn ang="0">
                    <a:pos x="12" y="109"/>
                  </a:cxn>
                  <a:cxn ang="0">
                    <a:pos x="9" y="92"/>
                  </a:cxn>
                  <a:cxn ang="0">
                    <a:pos x="8" y="82"/>
                  </a:cxn>
                  <a:cxn ang="0">
                    <a:pos x="15" y="70"/>
                  </a:cxn>
                  <a:cxn ang="0">
                    <a:pos x="22" y="64"/>
                  </a:cxn>
                  <a:cxn ang="0">
                    <a:pos x="28" y="51"/>
                  </a:cxn>
                  <a:cxn ang="0">
                    <a:pos x="34" y="39"/>
                  </a:cxn>
                  <a:cxn ang="0">
                    <a:pos x="41" y="28"/>
                  </a:cxn>
                  <a:cxn ang="0">
                    <a:pos x="44" y="18"/>
                  </a:cxn>
                  <a:cxn ang="0">
                    <a:pos x="55" y="15"/>
                  </a:cxn>
                  <a:cxn ang="0">
                    <a:pos x="72" y="9"/>
                  </a:cxn>
                  <a:cxn ang="0">
                    <a:pos x="76" y="0"/>
                  </a:cxn>
                  <a:cxn ang="0">
                    <a:pos x="90" y="9"/>
                  </a:cxn>
                  <a:cxn ang="0">
                    <a:pos x="98" y="14"/>
                  </a:cxn>
                  <a:cxn ang="0">
                    <a:pos x="98" y="23"/>
                  </a:cxn>
                  <a:cxn ang="0">
                    <a:pos x="99" y="28"/>
                  </a:cxn>
                  <a:cxn ang="0">
                    <a:pos x="101" y="37"/>
                  </a:cxn>
                  <a:cxn ang="0">
                    <a:pos x="96" y="46"/>
                  </a:cxn>
                  <a:cxn ang="0">
                    <a:pos x="87" y="51"/>
                  </a:cxn>
                  <a:cxn ang="0">
                    <a:pos x="81" y="60"/>
                  </a:cxn>
                  <a:cxn ang="0">
                    <a:pos x="75" y="74"/>
                  </a:cxn>
                  <a:cxn ang="0">
                    <a:pos x="67" y="78"/>
                  </a:cxn>
                  <a:cxn ang="0">
                    <a:pos x="55" y="87"/>
                  </a:cxn>
                  <a:cxn ang="0">
                    <a:pos x="49" y="92"/>
                  </a:cxn>
                  <a:cxn ang="0">
                    <a:pos x="50" y="102"/>
                  </a:cxn>
                  <a:cxn ang="0">
                    <a:pos x="53" y="116"/>
                  </a:cxn>
                  <a:cxn ang="0">
                    <a:pos x="60" y="123"/>
                  </a:cxn>
                  <a:cxn ang="0">
                    <a:pos x="55" y="132"/>
                  </a:cxn>
                  <a:cxn ang="0">
                    <a:pos x="41" y="130"/>
                  </a:cxn>
                  <a:cxn ang="0">
                    <a:pos x="60" y="132"/>
                  </a:cxn>
                  <a:cxn ang="0">
                    <a:pos x="55" y="138"/>
                  </a:cxn>
                  <a:cxn ang="0">
                    <a:pos x="46" y="143"/>
                  </a:cxn>
                  <a:cxn ang="0">
                    <a:pos x="44" y="151"/>
                  </a:cxn>
                  <a:cxn ang="0">
                    <a:pos x="43" y="162"/>
                  </a:cxn>
                  <a:cxn ang="0">
                    <a:pos x="32" y="172"/>
                  </a:cxn>
                  <a:cxn ang="0">
                    <a:pos x="25" y="183"/>
                  </a:cxn>
                  <a:cxn ang="0">
                    <a:pos x="12" y="172"/>
                  </a:cxn>
                  <a:cxn ang="0">
                    <a:pos x="14" y="168"/>
                  </a:cxn>
                  <a:cxn ang="0">
                    <a:pos x="6" y="146"/>
                  </a:cxn>
                  <a:cxn ang="0">
                    <a:pos x="0" y="138"/>
                  </a:cxn>
                  <a:cxn ang="0">
                    <a:pos x="61" y="158"/>
                  </a:cxn>
                  <a:cxn ang="0">
                    <a:pos x="63" y="151"/>
                  </a:cxn>
                  <a:cxn ang="0">
                    <a:pos x="56" y="160"/>
                  </a:cxn>
                  <a:cxn ang="0">
                    <a:pos x="61" y="158"/>
                  </a:cxn>
                  <a:cxn ang="0">
                    <a:pos x="44" y="163"/>
                  </a:cxn>
                  <a:cxn ang="0">
                    <a:pos x="47" y="158"/>
                  </a:cxn>
                  <a:cxn ang="0">
                    <a:pos x="58" y="116"/>
                  </a:cxn>
                </a:cxnLst>
                <a:rect l="0" t="0" r="r" b="b"/>
                <a:pathLst>
                  <a:path w="104" h="185">
                    <a:moveTo>
                      <a:pt x="2" y="135"/>
                    </a:moveTo>
                    <a:cubicBezTo>
                      <a:pt x="2" y="135"/>
                      <a:pt x="2" y="137"/>
                      <a:pt x="3" y="138"/>
                    </a:cubicBezTo>
                    <a:cubicBezTo>
                      <a:pt x="3" y="140"/>
                      <a:pt x="6" y="137"/>
                      <a:pt x="5" y="132"/>
                    </a:cubicBezTo>
                    <a:cubicBezTo>
                      <a:pt x="3" y="129"/>
                      <a:pt x="6" y="129"/>
                      <a:pt x="6" y="127"/>
                    </a:cubicBezTo>
                    <a:cubicBezTo>
                      <a:pt x="5" y="124"/>
                      <a:pt x="8" y="127"/>
                      <a:pt x="9" y="124"/>
                    </a:cubicBezTo>
                    <a:cubicBezTo>
                      <a:pt x="12" y="121"/>
                      <a:pt x="9" y="121"/>
                      <a:pt x="11" y="120"/>
                    </a:cubicBezTo>
                    <a:cubicBezTo>
                      <a:pt x="14" y="118"/>
                      <a:pt x="8" y="112"/>
                      <a:pt x="9" y="110"/>
                    </a:cubicBezTo>
                    <a:cubicBezTo>
                      <a:pt x="9" y="109"/>
                      <a:pt x="12" y="112"/>
                      <a:pt x="12" y="109"/>
                    </a:cubicBezTo>
                    <a:cubicBezTo>
                      <a:pt x="14" y="107"/>
                      <a:pt x="15" y="106"/>
                      <a:pt x="11" y="104"/>
                    </a:cubicBezTo>
                    <a:cubicBezTo>
                      <a:pt x="5" y="101"/>
                      <a:pt x="11" y="96"/>
                      <a:pt x="9" y="92"/>
                    </a:cubicBezTo>
                    <a:cubicBezTo>
                      <a:pt x="6" y="88"/>
                      <a:pt x="9" y="88"/>
                      <a:pt x="8" y="87"/>
                    </a:cubicBezTo>
                    <a:cubicBezTo>
                      <a:pt x="6" y="85"/>
                      <a:pt x="9" y="85"/>
                      <a:pt x="8" y="82"/>
                    </a:cubicBezTo>
                    <a:cubicBezTo>
                      <a:pt x="5" y="79"/>
                      <a:pt x="9" y="79"/>
                      <a:pt x="8" y="78"/>
                    </a:cubicBezTo>
                    <a:cubicBezTo>
                      <a:pt x="8" y="74"/>
                      <a:pt x="14" y="71"/>
                      <a:pt x="15" y="70"/>
                    </a:cubicBezTo>
                    <a:cubicBezTo>
                      <a:pt x="18" y="68"/>
                      <a:pt x="23" y="73"/>
                      <a:pt x="25" y="67"/>
                    </a:cubicBezTo>
                    <a:cubicBezTo>
                      <a:pt x="26" y="64"/>
                      <a:pt x="23" y="65"/>
                      <a:pt x="22" y="64"/>
                    </a:cubicBezTo>
                    <a:cubicBezTo>
                      <a:pt x="18" y="62"/>
                      <a:pt x="26" y="57"/>
                      <a:pt x="26" y="56"/>
                    </a:cubicBezTo>
                    <a:cubicBezTo>
                      <a:pt x="26" y="53"/>
                      <a:pt x="28" y="54"/>
                      <a:pt x="28" y="51"/>
                    </a:cubicBezTo>
                    <a:cubicBezTo>
                      <a:pt x="26" y="46"/>
                      <a:pt x="29" y="48"/>
                      <a:pt x="26" y="42"/>
                    </a:cubicBezTo>
                    <a:cubicBezTo>
                      <a:pt x="26" y="40"/>
                      <a:pt x="37" y="42"/>
                      <a:pt x="34" y="39"/>
                    </a:cubicBezTo>
                    <a:cubicBezTo>
                      <a:pt x="32" y="36"/>
                      <a:pt x="35" y="37"/>
                      <a:pt x="37" y="32"/>
                    </a:cubicBezTo>
                    <a:cubicBezTo>
                      <a:pt x="40" y="29"/>
                      <a:pt x="41" y="31"/>
                      <a:pt x="41" y="28"/>
                    </a:cubicBezTo>
                    <a:cubicBezTo>
                      <a:pt x="43" y="26"/>
                      <a:pt x="40" y="25"/>
                      <a:pt x="40" y="23"/>
                    </a:cubicBezTo>
                    <a:cubicBezTo>
                      <a:pt x="40" y="22"/>
                      <a:pt x="41" y="23"/>
                      <a:pt x="44" y="18"/>
                    </a:cubicBezTo>
                    <a:cubicBezTo>
                      <a:pt x="44" y="15"/>
                      <a:pt x="47" y="15"/>
                      <a:pt x="49" y="14"/>
                    </a:cubicBezTo>
                    <a:cubicBezTo>
                      <a:pt x="50" y="14"/>
                      <a:pt x="52" y="17"/>
                      <a:pt x="55" y="15"/>
                    </a:cubicBezTo>
                    <a:cubicBezTo>
                      <a:pt x="58" y="14"/>
                      <a:pt x="53" y="9"/>
                      <a:pt x="55" y="8"/>
                    </a:cubicBezTo>
                    <a:cubicBezTo>
                      <a:pt x="60" y="4"/>
                      <a:pt x="67" y="12"/>
                      <a:pt x="72" y="9"/>
                    </a:cubicBezTo>
                    <a:cubicBezTo>
                      <a:pt x="75" y="8"/>
                      <a:pt x="67" y="9"/>
                      <a:pt x="72" y="6"/>
                    </a:cubicBezTo>
                    <a:cubicBezTo>
                      <a:pt x="76" y="1"/>
                      <a:pt x="67" y="0"/>
                      <a:pt x="76" y="0"/>
                    </a:cubicBezTo>
                    <a:cubicBezTo>
                      <a:pt x="79" y="1"/>
                      <a:pt x="75" y="1"/>
                      <a:pt x="79" y="3"/>
                    </a:cubicBezTo>
                    <a:cubicBezTo>
                      <a:pt x="82" y="6"/>
                      <a:pt x="87" y="9"/>
                      <a:pt x="90" y="9"/>
                    </a:cubicBezTo>
                    <a:cubicBezTo>
                      <a:pt x="93" y="9"/>
                      <a:pt x="96" y="11"/>
                      <a:pt x="96" y="12"/>
                    </a:cubicBezTo>
                    <a:cubicBezTo>
                      <a:pt x="96" y="14"/>
                      <a:pt x="94" y="12"/>
                      <a:pt x="98" y="14"/>
                    </a:cubicBezTo>
                    <a:cubicBezTo>
                      <a:pt x="102" y="18"/>
                      <a:pt x="98" y="15"/>
                      <a:pt x="98" y="18"/>
                    </a:cubicBezTo>
                    <a:cubicBezTo>
                      <a:pt x="99" y="23"/>
                      <a:pt x="98" y="22"/>
                      <a:pt x="98" y="23"/>
                    </a:cubicBezTo>
                    <a:cubicBezTo>
                      <a:pt x="98" y="25"/>
                      <a:pt x="101" y="22"/>
                      <a:pt x="101" y="23"/>
                    </a:cubicBezTo>
                    <a:cubicBezTo>
                      <a:pt x="101" y="25"/>
                      <a:pt x="99" y="25"/>
                      <a:pt x="99" y="28"/>
                    </a:cubicBezTo>
                    <a:cubicBezTo>
                      <a:pt x="99" y="29"/>
                      <a:pt x="104" y="31"/>
                      <a:pt x="102" y="32"/>
                    </a:cubicBezTo>
                    <a:cubicBezTo>
                      <a:pt x="101" y="34"/>
                      <a:pt x="102" y="34"/>
                      <a:pt x="101" y="37"/>
                    </a:cubicBezTo>
                    <a:cubicBezTo>
                      <a:pt x="98" y="40"/>
                      <a:pt x="104" y="42"/>
                      <a:pt x="104" y="46"/>
                    </a:cubicBezTo>
                    <a:cubicBezTo>
                      <a:pt x="101" y="48"/>
                      <a:pt x="99" y="45"/>
                      <a:pt x="96" y="46"/>
                    </a:cubicBezTo>
                    <a:cubicBezTo>
                      <a:pt x="93" y="48"/>
                      <a:pt x="94" y="45"/>
                      <a:pt x="91" y="46"/>
                    </a:cubicBezTo>
                    <a:cubicBezTo>
                      <a:pt x="90" y="48"/>
                      <a:pt x="87" y="50"/>
                      <a:pt x="87" y="51"/>
                    </a:cubicBezTo>
                    <a:cubicBezTo>
                      <a:pt x="87" y="53"/>
                      <a:pt x="84" y="51"/>
                      <a:pt x="82" y="54"/>
                    </a:cubicBezTo>
                    <a:cubicBezTo>
                      <a:pt x="82" y="59"/>
                      <a:pt x="79" y="57"/>
                      <a:pt x="81" y="60"/>
                    </a:cubicBezTo>
                    <a:cubicBezTo>
                      <a:pt x="81" y="64"/>
                      <a:pt x="85" y="64"/>
                      <a:pt x="81" y="67"/>
                    </a:cubicBezTo>
                    <a:cubicBezTo>
                      <a:pt x="76" y="70"/>
                      <a:pt x="78" y="74"/>
                      <a:pt x="75" y="74"/>
                    </a:cubicBezTo>
                    <a:cubicBezTo>
                      <a:pt x="72" y="74"/>
                      <a:pt x="73" y="76"/>
                      <a:pt x="72" y="76"/>
                    </a:cubicBezTo>
                    <a:cubicBezTo>
                      <a:pt x="69" y="76"/>
                      <a:pt x="70" y="79"/>
                      <a:pt x="67" y="78"/>
                    </a:cubicBezTo>
                    <a:cubicBezTo>
                      <a:pt x="63" y="78"/>
                      <a:pt x="66" y="84"/>
                      <a:pt x="63" y="82"/>
                    </a:cubicBezTo>
                    <a:cubicBezTo>
                      <a:pt x="60" y="81"/>
                      <a:pt x="61" y="87"/>
                      <a:pt x="55" y="87"/>
                    </a:cubicBezTo>
                    <a:cubicBezTo>
                      <a:pt x="50" y="88"/>
                      <a:pt x="58" y="88"/>
                      <a:pt x="53" y="92"/>
                    </a:cubicBezTo>
                    <a:cubicBezTo>
                      <a:pt x="49" y="93"/>
                      <a:pt x="50" y="88"/>
                      <a:pt x="49" y="92"/>
                    </a:cubicBezTo>
                    <a:cubicBezTo>
                      <a:pt x="49" y="95"/>
                      <a:pt x="53" y="92"/>
                      <a:pt x="50" y="96"/>
                    </a:cubicBezTo>
                    <a:cubicBezTo>
                      <a:pt x="49" y="99"/>
                      <a:pt x="52" y="102"/>
                      <a:pt x="50" y="102"/>
                    </a:cubicBezTo>
                    <a:cubicBezTo>
                      <a:pt x="47" y="102"/>
                      <a:pt x="47" y="116"/>
                      <a:pt x="50" y="116"/>
                    </a:cubicBezTo>
                    <a:cubicBezTo>
                      <a:pt x="53" y="116"/>
                      <a:pt x="50" y="118"/>
                      <a:pt x="53" y="116"/>
                    </a:cubicBezTo>
                    <a:cubicBezTo>
                      <a:pt x="56" y="116"/>
                      <a:pt x="56" y="120"/>
                      <a:pt x="58" y="120"/>
                    </a:cubicBezTo>
                    <a:cubicBezTo>
                      <a:pt x="61" y="120"/>
                      <a:pt x="56" y="123"/>
                      <a:pt x="60" y="123"/>
                    </a:cubicBezTo>
                    <a:cubicBezTo>
                      <a:pt x="61" y="123"/>
                      <a:pt x="63" y="124"/>
                      <a:pt x="64" y="126"/>
                    </a:cubicBezTo>
                    <a:cubicBezTo>
                      <a:pt x="64" y="127"/>
                      <a:pt x="58" y="130"/>
                      <a:pt x="55" y="132"/>
                    </a:cubicBezTo>
                    <a:cubicBezTo>
                      <a:pt x="53" y="134"/>
                      <a:pt x="52" y="129"/>
                      <a:pt x="50" y="130"/>
                    </a:cubicBezTo>
                    <a:cubicBezTo>
                      <a:pt x="49" y="130"/>
                      <a:pt x="46" y="127"/>
                      <a:pt x="41" y="130"/>
                    </a:cubicBezTo>
                    <a:cubicBezTo>
                      <a:pt x="38" y="134"/>
                      <a:pt x="46" y="129"/>
                      <a:pt x="49" y="132"/>
                    </a:cubicBezTo>
                    <a:cubicBezTo>
                      <a:pt x="53" y="137"/>
                      <a:pt x="58" y="130"/>
                      <a:pt x="60" y="132"/>
                    </a:cubicBezTo>
                    <a:cubicBezTo>
                      <a:pt x="61" y="135"/>
                      <a:pt x="58" y="134"/>
                      <a:pt x="58" y="135"/>
                    </a:cubicBezTo>
                    <a:cubicBezTo>
                      <a:pt x="58" y="137"/>
                      <a:pt x="56" y="135"/>
                      <a:pt x="55" y="138"/>
                    </a:cubicBezTo>
                    <a:cubicBezTo>
                      <a:pt x="53" y="140"/>
                      <a:pt x="52" y="135"/>
                      <a:pt x="52" y="138"/>
                    </a:cubicBezTo>
                    <a:cubicBezTo>
                      <a:pt x="50" y="141"/>
                      <a:pt x="44" y="141"/>
                      <a:pt x="46" y="143"/>
                    </a:cubicBezTo>
                    <a:cubicBezTo>
                      <a:pt x="46" y="144"/>
                      <a:pt x="43" y="143"/>
                      <a:pt x="44" y="146"/>
                    </a:cubicBezTo>
                    <a:cubicBezTo>
                      <a:pt x="46" y="148"/>
                      <a:pt x="44" y="148"/>
                      <a:pt x="44" y="151"/>
                    </a:cubicBezTo>
                    <a:cubicBezTo>
                      <a:pt x="46" y="152"/>
                      <a:pt x="43" y="154"/>
                      <a:pt x="44" y="155"/>
                    </a:cubicBezTo>
                    <a:cubicBezTo>
                      <a:pt x="44" y="157"/>
                      <a:pt x="43" y="160"/>
                      <a:pt x="43" y="162"/>
                    </a:cubicBezTo>
                    <a:cubicBezTo>
                      <a:pt x="43" y="165"/>
                      <a:pt x="41" y="166"/>
                      <a:pt x="40" y="171"/>
                    </a:cubicBezTo>
                    <a:cubicBezTo>
                      <a:pt x="38" y="177"/>
                      <a:pt x="38" y="172"/>
                      <a:pt x="32" y="172"/>
                    </a:cubicBezTo>
                    <a:cubicBezTo>
                      <a:pt x="26" y="174"/>
                      <a:pt x="31" y="176"/>
                      <a:pt x="28" y="176"/>
                    </a:cubicBezTo>
                    <a:cubicBezTo>
                      <a:pt x="25" y="174"/>
                      <a:pt x="28" y="183"/>
                      <a:pt x="25" y="183"/>
                    </a:cubicBezTo>
                    <a:cubicBezTo>
                      <a:pt x="20" y="182"/>
                      <a:pt x="12" y="185"/>
                      <a:pt x="14" y="182"/>
                    </a:cubicBezTo>
                    <a:cubicBezTo>
                      <a:pt x="17" y="177"/>
                      <a:pt x="8" y="169"/>
                      <a:pt x="12" y="172"/>
                    </a:cubicBezTo>
                    <a:cubicBezTo>
                      <a:pt x="15" y="174"/>
                      <a:pt x="11" y="169"/>
                      <a:pt x="12" y="169"/>
                    </a:cubicBezTo>
                    <a:cubicBezTo>
                      <a:pt x="15" y="169"/>
                      <a:pt x="15" y="166"/>
                      <a:pt x="14" y="168"/>
                    </a:cubicBezTo>
                    <a:cubicBezTo>
                      <a:pt x="11" y="168"/>
                      <a:pt x="8" y="158"/>
                      <a:pt x="6" y="154"/>
                    </a:cubicBezTo>
                    <a:cubicBezTo>
                      <a:pt x="5" y="149"/>
                      <a:pt x="8" y="149"/>
                      <a:pt x="6" y="146"/>
                    </a:cubicBezTo>
                    <a:cubicBezTo>
                      <a:pt x="5" y="144"/>
                      <a:pt x="3" y="149"/>
                      <a:pt x="2" y="146"/>
                    </a:cubicBezTo>
                    <a:cubicBezTo>
                      <a:pt x="0" y="143"/>
                      <a:pt x="2" y="141"/>
                      <a:pt x="0" y="138"/>
                    </a:cubicBezTo>
                    <a:cubicBezTo>
                      <a:pt x="0" y="137"/>
                      <a:pt x="2" y="137"/>
                      <a:pt x="2" y="135"/>
                    </a:cubicBezTo>
                    <a:close/>
                    <a:moveTo>
                      <a:pt x="61" y="158"/>
                    </a:moveTo>
                    <a:cubicBezTo>
                      <a:pt x="64" y="155"/>
                      <a:pt x="60" y="155"/>
                      <a:pt x="63" y="152"/>
                    </a:cubicBezTo>
                    <a:cubicBezTo>
                      <a:pt x="66" y="151"/>
                      <a:pt x="66" y="149"/>
                      <a:pt x="63" y="151"/>
                    </a:cubicBezTo>
                    <a:cubicBezTo>
                      <a:pt x="60" y="154"/>
                      <a:pt x="61" y="149"/>
                      <a:pt x="58" y="152"/>
                    </a:cubicBezTo>
                    <a:cubicBezTo>
                      <a:pt x="55" y="155"/>
                      <a:pt x="55" y="158"/>
                      <a:pt x="56" y="160"/>
                    </a:cubicBezTo>
                    <a:cubicBezTo>
                      <a:pt x="56" y="162"/>
                      <a:pt x="55" y="165"/>
                      <a:pt x="56" y="163"/>
                    </a:cubicBezTo>
                    <a:cubicBezTo>
                      <a:pt x="58" y="163"/>
                      <a:pt x="58" y="162"/>
                      <a:pt x="61" y="158"/>
                    </a:cubicBezTo>
                    <a:close/>
                    <a:moveTo>
                      <a:pt x="47" y="158"/>
                    </a:moveTo>
                    <a:cubicBezTo>
                      <a:pt x="46" y="158"/>
                      <a:pt x="46" y="162"/>
                      <a:pt x="44" y="163"/>
                    </a:cubicBezTo>
                    <a:cubicBezTo>
                      <a:pt x="43" y="165"/>
                      <a:pt x="41" y="171"/>
                      <a:pt x="43" y="172"/>
                    </a:cubicBezTo>
                    <a:cubicBezTo>
                      <a:pt x="43" y="172"/>
                      <a:pt x="49" y="158"/>
                      <a:pt x="47" y="158"/>
                    </a:cubicBezTo>
                    <a:close/>
                    <a:moveTo>
                      <a:pt x="60" y="120"/>
                    </a:moveTo>
                    <a:cubicBezTo>
                      <a:pt x="58" y="120"/>
                      <a:pt x="58" y="118"/>
                      <a:pt x="58" y="116"/>
                    </a:cubicBezTo>
                    <a:cubicBezTo>
                      <a:pt x="60" y="120"/>
                      <a:pt x="60" y="120"/>
                      <a:pt x="60" y="120"/>
                    </a:cubicBezTo>
                    <a:close/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00" name="Freeform 194"/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5172800" y="2784251"/>
                <a:ext cx="94742" cy="95911"/>
              </a:xfrm>
              <a:custGeom>
                <a:avLst/>
                <a:gdLst/>
                <a:ahLst/>
                <a:cxnLst>
                  <a:cxn ang="0">
                    <a:pos x="30" y="41"/>
                  </a:cxn>
                  <a:cxn ang="0">
                    <a:pos x="26" y="38"/>
                  </a:cxn>
                  <a:cxn ang="0">
                    <a:pos x="26" y="39"/>
                  </a:cxn>
                  <a:cxn ang="0">
                    <a:pos x="24" y="38"/>
                  </a:cxn>
                  <a:cxn ang="0">
                    <a:pos x="23" y="36"/>
                  </a:cxn>
                  <a:cxn ang="0">
                    <a:pos x="23" y="35"/>
                  </a:cxn>
                  <a:cxn ang="0">
                    <a:pos x="26" y="33"/>
                  </a:cxn>
                  <a:cxn ang="0">
                    <a:pos x="24" y="32"/>
                  </a:cxn>
                  <a:cxn ang="0">
                    <a:pos x="26" y="30"/>
                  </a:cxn>
                  <a:cxn ang="0">
                    <a:pos x="23" y="27"/>
                  </a:cxn>
                  <a:cxn ang="0">
                    <a:pos x="18" y="30"/>
                  </a:cxn>
                  <a:cxn ang="0">
                    <a:pos x="15" y="32"/>
                  </a:cxn>
                  <a:cxn ang="0">
                    <a:pos x="14" y="33"/>
                  </a:cxn>
                  <a:cxn ang="0">
                    <a:pos x="12" y="35"/>
                  </a:cxn>
                  <a:cxn ang="0">
                    <a:pos x="11" y="36"/>
                  </a:cxn>
                  <a:cxn ang="0">
                    <a:pos x="11" y="33"/>
                  </a:cxn>
                  <a:cxn ang="0">
                    <a:pos x="11" y="33"/>
                  </a:cxn>
                  <a:cxn ang="0">
                    <a:pos x="12" y="32"/>
                  </a:cxn>
                  <a:cxn ang="0">
                    <a:pos x="11" y="30"/>
                  </a:cxn>
                  <a:cxn ang="0">
                    <a:pos x="12" y="28"/>
                  </a:cxn>
                  <a:cxn ang="0">
                    <a:pos x="9" y="27"/>
                  </a:cxn>
                  <a:cxn ang="0">
                    <a:pos x="6" y="24"/>
                  </a:cxn>
                  <a:cxn ang="0">
                    <a:pos x="4" y="24"/>
                  </a:cxn>
                  <a:cxn ang="0">
                    <a:pos x="6" y="24"/>
                  </a:cxn>
                  <a:cxn ang="0">
                    <a:pos x="8" y="21"/>
                  </a:cxn>
                  <a:cxn ang="0">
                    <a:pos x="3" y="18"/>
                  </a:cxn>
                  <a:cxn ang="0">
                    <a:pos x="4" y="14"/>
                  </a:cxn>
                  <a:cxn ang="0">
                    <a:pos x="0" y="8"/>
                  </a:cxn>
                  <a:cxn ang="0">
                    <a:pos x="1" y="7"/>
                  </a:cxn>
                  <a:cxn ang="0">
                    <a:pos x="4" y="8"/>
                  </a:cxn>
                  <a:cxn ang="0">
                    <a:pos x="6" y="10"/>
                  </a:cxn>
                  <a:cxn ang="0">
                    <a:pos x="9" y="10"/>
                  </a:cxn>
                  <a:cxn ang="0">
                    <a:pos x="12" y="10"/>
                  </a:cxn>
                  <a:cxn ang="0">
                    <a:pos x="9" y="7"/>
                  </a:cxn>
                  <a:cxn ang="0">
                    <a:pos x="9" y="5"/>
                  </a:cxn>
                  <a:cxn ang="0">
                    <a:pos x="11" y="2"/>
                  </a:cxn>
                  <a:cxn ang="0">
                    <a:pos x="14" y="4"/>
                  </a:cxn>
                  <a:cxn ang="0">
                    <a:pos x="17" y="7"/>
                  </a:cxn>
                  <a:cxn ang="0">
                    <a:pos x="23" y="8"/>
                  </a:cxn>
                  <a:cxn ang="0">
                    <a:pos x="27" y="4"/>
                  </a:cxn>
                  <a:cxn ang="0">
                    <a:pos x="32" y="11"/>
                  </a:cxn>
                  <a:cxn ang="0">
                    <a:pos x="35" y="16"/>
                  </a:cxn>
                  <a:cxn ang="0">
                    <a:pos x="42" y="19"/>
                  </a:cxn>
                  <a:cxn ang="0">
                    <a:pos x="36" y="19"/>
                  </a:cxn>
                  <a:cxn ang="0">
                    <a:pos x="33" y="27"/>
                  </a:cxn>
                  <a:cxn ang="0">
                    <a:pos x="33" y="32"/>
                  </a:cxn>
                  <a:cxn ang="0">
                    <a:pos x="32" y="35"/>
                  </a:cxn>
                  <a:cxn ang="0">
                    <a:pos x="30" y="35"/>
                  </a:cxn>
                  <a:cxn ang="0">
                    <a:pos x="30" y="41"/>
                  </a:cxn>
                </a:cxnLst>
                <a:rect l="0" t="0" r="r" b="b"/>
                <a:pathLst>
                  <a:path w="42" h="42">
                    <a:moveTo>
                      <a:pt x="30" y="41"/>
                    </a:moveTo>
                    <a:cubicBezTo>
                      <a:pt x="26" y="42"/>
                      <a:pt x="27" y="39"/>
                      <a:pt x="26" y="38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24" y="39"/>
                      <a:pt x="24" y="38"/>
                      <a:pt x="24" y="38"/>
                    </a:cubicBezTo>
                    <a:cubicBezTo>
                      <a:pt x="24" y="36"/>
                      <a:pt x="24" y="36"/>
                      <a:pt x="23" y="36"/>
                    </a:cubicBezTo>
                    <a:cubicBezTo>
                      <a:pt x="23" y="36"/>
                      <a:pt x="23" y="36"/>
                      <a:pt x="23" y="35"/>
                    </a:cubicBezTo>
                    <a:cubicBezTo>
                      <a:pt x="23" y="35"/>
                      <a:pt x="26" y="35"/>
                      <a:pt x="26" y="33"/>
                    </a:cubicBezTo>
                    <a:cubicBezTo>
                      <a:pt x="26" y="33"/>
                      <a:pt x="24" y="33"/>
                      <a:pt x="24" y="32"/>
                    </a:cubicBezTo>
                    <a:cubicBezTo>
                      <a:pt x="24" y="30"/>
                      <a:pt x="26" y="30"/>
                      <a:pt x="26" y="30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1" y="25"/>
                      <a:pt x="18" y="28"/>
                      <a:pt x="18" y="30"/>
                    </a:cubicBezTo>
                    <a:cubicBezTo>
                      <a:pt x="17" y="30"/>
                      <a:pt x="15" y="32"/>
                      <a:pt x="15" y="32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12" y="35"/>
                      <a:pt x="12" y="35"/>
                      <a:pt x="12" y="35"/>
                    </a:cubicBezTo>
                    <a:cubicBezTo>
                      <a:pt x="12" y="36"/>
                      <a:pt x="12" y="36"/>
                      <a:pt x="11" y="36"/>
                    </a:cubicBezTo>
                    <a:cubicBezTo>
                      <a:pt x="11" y="35"/>
                      <a:pt x="11" y="35"/>
                      <a:pt x="11" y="33"/>
                    </a:cubicBezTo>
                    <a:cubicBezTo>
                      <a:pt x="11" y="33"/>
                      <a:pt x="11" y="33"/>
                      <a:pt x="11" y="33"/>
                    </a:cubicBezTo>
                    <a:cubicBezTo>
                      <a:pt x="9" y="32"/>
                      <a:pt x="12" y="32"/>
                      <a:pt x="12" y="32"/>
                    </a:cubicBezTo>
                    <a:cubicBezTo>
                      <a:pt x="12" y="32"/>
                      <a:pt x="9" y="30"/>
                      <a:pt x="11" y="30"/>
                    </a:cubicBezTo>
                    <a:cubicBezTo>
                      <a:pt x="11" y="28"/>
                      <a:pt x="12" y="30"/>
                      <a:pt x="12" y="28"/>
                    </a:cubicBezTo>
                    <a:cubicBezTo>
                      <a:pt x="12" y="27"/>
                      <a:pt x="9" y="28"/>
                      <a:pt x="9" y="27"/>
                    </a:cubicBezTo>
                    <a:cubicBezTo>
                      <a:pt x="8" y="27"/>
                      <a:pt x="6" y="25"/>
                      <a:pt x="6" y="24"/>
                    </a:cubicBezTo>
                    <a:cubicBezTo>
                      <a:pt x="4" y="24"/>
                      <a:pt x="4" y="24"/>
                      <a:pt x="4" y="24"/>
                    </a:cubicBezTo>
                    <a:cubicBezTo>
                      <a:pt x="3" y="22"/>
                      <a:pt x="6" y="24"/>
                      <a:pt x="6" y="24"/>
                    </a:cubicBezTo>
                    <a:cubicBezTo>
                      <a:pt x="6" y="22"/>
                      <a:pt x="8" y="21"/>
                      <a:pt x="8" y="21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1" y="14"/>
                      <a:pt x="4" y="14"/>
                      <a:pt x="4" y="14"/>
                    </a:cubicBezTo>
                    <a:cubicBezTo>
                      <a:pt x="4" y="13"/>
                      <a:pt x="0" y="10"/>
                      <a:pt x="0" y="8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6" y="8"/>
                      <a:pt x="4" y="10"/>
                      <a:pt x="6" y="10"/>
                    </a:cubicBezTo>
                    <a:cubicBezTo>
                      <a:pt x="8" y="10"/>
                      <a:pt x="8" y="10"/>
                      <a:pt x="9" y="10"/>
                    </a:cubicBezTo>
                    <a:cubicBezTo>
                      <a:pt x="11" y="10"/>
                      <a:pt x="11" y="13"/>
                      <a:pt x="12" y="10"/>
                    </a:cubicBezTo>
                    <a:cubicBezTo>
                      <a:pt x="14" y="8"/>
                      <a:pt x="9" y="7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11" y="2"/>
                      <a:pt x="11" y="2"/>
                    </a:cubicBezTo>
                    <a:cubicBezTo>
                      <a:pt x="12" y="5"/>
                      <a:pt x="14" y="0"/>
                      <a:pt x="14" y="4"/>
                    </a:cubicBezTo>
                    <a:cubicBezTo>
                      <a:pt x="15" y="7"/>
                      <a:pt x="17" y="4"/>
                      <a:pt x="17" y="7"/>
                    </a:cubicBezTo>
                    <a:cubicBezTo>
                      <a:pt x="18" y="11"/>
                      <a:pt x="23" y="10"/>
                      <a:pt x="23" y="8"/>
                    </a:cubicBezTo>
                    <a:cubicBezTo>
                      <a:pt x="24" y="7"/>
                      <a:pt x="26" y="5"/>
                      <a:pt x="27" y="4"/>
                    </a:cubicBezTo>
                    <a:cubicBezTo>
                      <a:pt x="29" y="4"/>
                      <a:pt x="32" y="10"/>
                      <a:pt x="32" y="11"/>
                    </a:cubicBezTo>
                    <a:cubicBezTo>
                      <a:pt x="33" y="13"/>
                      <a:pt x="35" y="13"/>
                      <a:pt x="35" y="16"/>
                    </a:cubicBezTo>
                    <a:cubicBezTo>
                      <a:pt x="35" y="18"/>
                      <a:pt x="41" y="16"/>
                      <a:pt x="42" y="19"/>
                    </a:cubicBezTo>
                    <a:cubicBezTo>
                      <a:pt x="42" y="22"/>
                      <a:pt x="41" y="18"/>
                      <a:pt x="36" y="19"/>
                    </a:cubicBezTo>
                    <a:cubicBezTo>
                      <a:pt x="33" y="22"/>
                      <a:pt x="36" y="25"/>
                      <a:pt x="33" y="27"/>
                    </a:cubicBezTo>
                    <a:cubicBezTo>
                      <a:pt x="32" y="28"/>
                      <a:pt x="35" y="30"/>
                      <a:pt x="33" y="32"/>
                    </a:cubicBezTo>
                    <a:cubicBezTo>
                      <a:pt x="32" y="32"/>
                      <a:pt x="33" y="33"/>
                      <a:pt x="32" y="35"/>
                    </a:cubicBezTo>
                    <a:cubicBezTo>
                      <a:pt x="32" y="35"/>
                      <a:pt x="32" y="28"/>
                      <a:pt x="30" y="35"/>
                    </a:cubicBezTo>
                    <a:cubicBezTo>
                      <a:pt x="29" y="38"/>
                      <a:pt x="29" y="39"/>
                      <a:pt x="30" y="41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01" name="Freeform 195"/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5165782" y="2841564"/>
                <a:ext cx="26902" cy="24562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" y="0"/>
                  </a:cxn>
                  <a:cxn ang="0">
                    <a:pos x="4" y="3"/>
                  </a:cxn>
                  <a:cxn ang="0">
                    <a:pos x="6" y="3"/>
                  </a:cxn>
                  <a:cxn ang="0">
                    <a:pos x="7" y="3"/>
                  </a:cxn>
                  <a:cxn ang="0">
                    <a:pos x="9" y="5"/>
                  </a:cxn>
                  <a:cxn ang="0">
                    <a:pos x="10" y="6"/>
                  </a:cxn>
                  <a:cxn ang="0">
                    <a:pos x="12" y="11"/>
                  </a:cxn>
                  <a:cxn ang="0">
                    <a:pos x="9" y="11"/>
                  </a:cxn>
                  <a:cxn ang="0">
                    <a:pos x="0" y="2"/>
                  </a:cxn>
                </a:cxnLst>
                <a:rect l="0" t="0" r="r" b="b"/>
                <a:pathLst>
                  <a:path w="12" h="11">
                    <a:moveTo>
                      <a:pt x="0" y="2"/>
                    </a:moveTo>
                    <a:cubicBezTo>
                      <a:pt x="1" y="2"/>
                      <a:pt x="1" y="0"/>
                      <a:pt x="3" y="0"/>
                    </a:cubicBezTo>
                    <a:cubicBezTo>
                      <a:pt x="4" y="2"/>
                      <a:pt x="3" y="3"/>
                      <a:pt x="4" y="3"/>
                    </a:cubicBezTo>
                    <a:cubicBezTo>
                      <a:pt x="6" y="2"/>
                      <a:pt x="4" y="3"/>
                      <a:pt x="6" y="3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9" y="3"/>
                      <a:pt x="7" y="5"/>
                      <a:pt x="9" y="5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8"/>
                      <a:pt x="10" y="9"/>
                      <a:pt x="12" y="11"/>
                    </a:cubicBezTo>
                    <a:cubicBezTo>
                      <a:pt x="10" y="11"/>
                      <a:pt x="10" y="11"/>
                      <a:pt x="9" y="11"/>
                    </a:cubicBezTo>
                    <a:cubicBezTo>
                      <a:pt x="4" y="9"/>
                      <a:pt x="3" y="5"/>
                      <a:pt x="0" y="2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02" name="Freeform 196"/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5141219" y="2802966"/>
                <a:ext cx="58483" cy="63161"/>
              </a:xfrm>
              <a:custGeom>
                <a:avLst/>
                <a:gdLst/>
                <a:ahLst/>
                <a:cxnLst>
                  <a:cxn ang="0">
                    <a:pos x="24" y="28"/>
                  </a:cxn>
                  <a:cxn ang="0">
                    <a:pos x="24" y="25"/>
                  </a:cxn>
                  <a:cxn ang="0">
                    <a:pos x="24" y="25"/>
                  </a:cxn>
                  <a:cxn ang="0">
                    <a:pos x="26" y="23"/>
                  </a:cxn>
                  <a:cxn ang="0">
                    <a:pos x="24" y="22"/>
                  </a:cxn>
                  <a:cxn ang="0">
                    <a:pos x="26" y="20"/>
                  </a:cxn>
                  <a:cxn ang="0">
                    <a:pos x="23" y="19"/>
                  </a:cxn>
                  <a:cxn ang="0">
                    <a:pos x="20" y="16"/>
                  </a:cxn>
                  <a:cxn ang="0">
                    <a:pos x="18" y="16"/>
                  </a:cxn>
                  <a:cxn ang="0">
                    <a:pos x="20" y="16"/>
                  </a:cxn>
                  <a:cxn ang="0">
                    <a:pos x="21" y="12"/>
                  </a:cxn>
                  <a:cxn ang="0">
                    <a:pos x="17" y="9"/>
                  </a:cxn>
                  <a:cxn ang="0">
                    <a:pos x="18" y="6"/>
                  </a:cxn>
                  <a:cxn ang="0">
                    <a:pos x="14" y="0"/>
                  </a:cxn>
                  <a:cxn ang="0">
                    <a:pos x="12" y="2"/>
                  </a:cxn>
                  <a:cxn ang="0">
                    <a:pos x="8" y="2"/>
                  </a:cxn>
                  <a:cxn ang="0">
                    <a:pos x="6" y="2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1" y="3"/>
                  </a:cxn>
                  <a:cxn ang="0">
                    <a:pos x="3" y="8"/>
                  </a:cxn>
                  <a:cxn ang="0">
                    <a:pos x="1" y="11"/>
                  </a:cxn>
                  <a:cxn ang="0">
                    <a:pos x="3" y="12"/>
                  </a:cxn>
                  <a:cxn ang="0">
                    <a:pos x="1" y="14"/>
                  </a:cxn>
                  <a:cxn ang="0">
                    <a:pos x="9" y="16"/>
                  </a:cxn>
                  <a:cxn ang="0">
                    <a:pos x="11" y="19"/>
                  </a:cxn>
                  <a:cxn ang="0">
                    <a:pos x="14" y="17"/>
                  </a:cxn>
                  <a:cxn ang="0">
                    <a:pos x="15" y="20"/>
                  </a:cxn>
                  <a:cxn ang="0">
                    <a:pos x="17" y="20"/>
                  </a:cxn>
                  <a:cxn ang="0">
                    <a:pos x="18" y="20"/>
                  </a:cxn>
                  <a:cxn ang="0">
                    <a:pos x="20" y="22"/>
                  </a:cxn>
                  <a:cxn ang="0">
                    <a:pos x="21" y="23"/>
                  </a:cxn>
                  <a:cxn ang="0">
                    <a:pos x="23" y="28"/>
                  </a:cxn>
                  <a:cxn ang="0">
                    <a:pos x="24" y="26"/>
                  </a:cxn>
                  <a:cxn ang="0">
                    <a:pos x="24" y="28"/>
                  </a:cxn>
                </a:cxnLst>
                <a:rect l="0" t="0" r="r" b="b"/>
                <a:pathLst>
                  <a:path w="26" h="28">
                    <a:moveTo>
                      <a:pt x="24" y="28"/>
                    </a:moveTo>
                    <a:cubicBezTo>
                      <a:pt x="24" y="26"/>
                      <a:pt x="24" y="26"/>
                      <a:pt x="24" y="25"/>
                    </a:cubicBezTo>
                    <a:cubicBezTo>
                      <a:pt x="24" y="25"/>
                      <a:pt x="24" y="25"/>
                      <a:pt x="24" y="25"/>
                    </a:cubicBezTo>
                    <a:cubicBezTo>
                      <a:pt x="23" y="23"/>
                      <a:pt x="26" y="23"/>
                      <a:pt x="26" y="23"/>
                    </a:cubicBezTo>
                    <a:cubicBezTo>
                      <a:pt x="26" y="23"/>
                      <a:pt x="23" y="22"/>
                      <a:pt x="24" y="22"/>
                    </a:cubicBezTo>
                    <a:cubicBezTo>
                      <a:pt x="24" y="20"/>
                      <a:pt x="26" y="22"/>
                      <a:pt x="26" y="20"/>
                    </a:cubicBezTo>
                    <a:cubicBezTo>
                      <a:pt x="26" y="19"/>
                      <a:pt x="23" y="20"/>
                      <a:pt x="23" y="19"/>
                    </a:cubicBezTo>
                    <a:cubicBezTo>
                      <a:pt x="21" y="19"/>
                      <a:pt x="20" y="17"/>
                      <a:pt x="20" y="16"/>
                    </a:cubicBezTo>
                    <a:cubicBezTo>
                      <a:pt x="18" y="16"/>
                      <a:pt x="18" y="16"/>
                      <a:pt x="18" y="16"/>
                    </a:cubicBezTo>
                    <a:cubicBezTo>
                      <a:pt x="17" y="14"/>
                      <a:pt x="20" y="16"/>
                      <a:pt x="20" y="16"/>
                    </a:cubicBezTo>
                    <a:cubicBezTo>
                      <a:pt x="20" y="14"/>
                      <a:pt x="21" y="12"/>
                      <a:pt x="21" y="12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5" y="6"/>
                      <a:pt x="18" y="6"/>
                      <a:pt x="18" y="6"/>
                    </a:cubicBezTo>
                    <a:cubicBezTo>
                      <a:pt x="18" y="5"/>
                      <a:pt x="14" y="2"/>
                      <a:pt x="14" y="0"/>
                    </a:cubicBezTo>
                    <a:cubicBezTo>
                      <a:pt x="12" y="0"/>
                      <a:pt x="12" y="2"/>
                      <a:pt x="12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6" y="2"/>
                    </a:cubicBezTo>
                    <a:cubicBezTo>
                      <a:pt x="5" y="2"/>
                      <a:pt x="3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0" y="3"/>
                      <a:pt x="1" y="3"/>
                    </a:cubicBezTo>
                    <a:cubicBezTo>
                      <a:pt x="1" y="5"/>
                      <a:pt x="3" y="6"/>
                      <a:pt x="3" y="8"/>
                    </a:cubicBezTo>
                    <a:cubicBezTo>
                      <a:pt x="3" y="9"/>
                      <a:pt x="1" y="9"/>
                      <a:pt x="1" y="11"/>
                    </a:cubicBezTo>
                    <a:cubicBezTo>
                      <a:pt x="1" y="12"/>
                      <a:pt x="3" y="12"/>
                      <a:pt x="3" y="12"/>
                    </a:cubicBezTo>
                    <a:cubicBezTo>
                      <a:pt x="3" y="14"/>
                      <a:pt x="1" y="14"/>
                      <a:pt x="1" y="14"/>
                    </a:cubicBezTo>
                    <a:cubicBezTo>
                      <a:pt x="5" y="16"/>
                      <a:pt x="8" y="14"/>
                      <a:pt x="9" y="16"/>
                    </a:cubicBezTo>
                    <a:cubicBezTo>
                      <a:pt x="11" y="17"/>
                      <a:pt x="11" y="17"/>
                      <a:pt x="11" y="19"/>
                    </a:cubicBezTo>
                    <a:cubicBezTo>
                      <a:pt x="12" y="19"/>
                      <a:pt x="12" y="17"/>
                      <a:pt x="14" y="17"/>
                    </a:cubicBezTo>
                    <a:cubicBezTo>
                      <a:pt x="15" y="19"/>
                      <a:pt x="14" y="20"/>
                      <a:pt x="15" y="20"/>
                    </a:cubicBezTo>
                    <a:cubicBezTo>
                      <a:pt x="17" y="19"/>
                      <a:pt x="15" y="20"/>
                      <a:pt x="17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20" y="20"/>
                      <a:pt x="18" y="22"/>
                      <a:pt x="20" y="22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1" y="25"/>
                      <a:pt x="21" y="26"/>
                      <a:pt x="23" y="28"/>
                    </a:cubicBezTo>
                    <a:cubicBezTo>
                      <a:pt x="23" y="28"/>
                      <a:pt x="23" y="26"/>
                      <a:pt x="24" y="26"/>
                    </a:cubicBezTo>
                    <a:cubicBezTo>
                      <a:pt x="24" y="28"/>
                      <a:pt x="24" y="28"/>
                      <a:pt x="24" y="28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03" name="Freeform 197"/>
              <p:cNvSpPr>
                <a:spLocks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5076888" y="2745653"/>
                <a:ext cx="127493" cy="66669"/>
              </a:xfrm>
              <a:custGeom>
                <a:avLst/>
                <a:gdLst/>
                <a:ahLst/>
                <a:cxnLst>
                  <a:cxn ang="0">
                    <a:pos x="30" y="28"/>
                  </a:cxn>
                  <a:cxn ang="0">
                    <a:pos x="34" y="26"/>
                  </a:cxn>
                  <a:cxn ang="0">
                    <a:pos x="36" y="26"/>
                  </a:cxn>
                  <a:cxn ang="0">
                    <a:pos x="41" y="26"/>
                  </a:cxn>
                  <a:cxn ang="0">
                    <a:pos x="42" y="25"/>
                  </a:cxn>
                  <a:cxn ang="0">
                    <a:pos x="44" y="23"/>
                  </a:cxn>
                  <a:cxn ang="0">
                    <a:pos x="47" y="25"/>
                  </a:cxn>
                  <a:cxn ang="0">
                    <a:pos x="48" y="26"/>
                  </a:cxn>
                  <a:cxn ang="0">
                    <a:pos x="51" y="26"/>
                  </a:cxn>
                  <a:cxn ang="0">
                    <a:pos x="54" y="26"/>
                  </a:cxn>
                  <a:cxn ang="0">
                    <a:pos x="51" y="23"/>
                  </a:cxn>
                  <a:cxn ang="0">
                    <a:pos x="51" y="22"/>
                  </a:cxn>
                  <a:cxn ang="0">
                    <a:pos x="53" y="19"/>
                  </a:cxn>
                  <a:cxn ang="0">
                    <a:pos x="47" y="16"/>
                  </a:cxn>
                  <a:cxn ang="0">
                    <a:pos x="47" y="11"/>
                  </a:cxn>
                  <a:cxn ang="0">
                    <a:pos x="42" y="10"/>
                  </a:cxn>
                  <a:cxn ang="0">
                    <a:pos x="37" y="10"/>
                  </a:cxn>
                  <a:cxn ang="0">
                    <a:pos x="31" y="11"/>
                  </a:cxn>
                  <a:cxn ang="0">
                    <a:pos x="30" y="8"/>
                  </a:cxn>
                  <a:cxn ang="0">
                    <a:pos x="24" y="5"/>
                  </a:cxn>
                  <a:cxn ang="0">
                    <a:pos x="17" y="4"/>
                  </a:cxn>
                  <a:cxn ang="0">
                    <a:pos x="11" y="4"/>
                  </a:cxn>
                  <a:cxn ang="0">
                    <a:pos x="7" y="0"/>
                  </a:cxn>
                  <a:cxn ang="0">
                    <a:pos x="0" y="2"/>
                  </a:cxn>
                  <a:cxn ang="0">
                    <a:pos x="10" y="8"/>
                  </a:cxn>
                  <a:cxn ang="0">
                    <a:pos x="14" y="14"/>
                  </a:cxn>
                  <a:cxn ang="0">
                    <a:pos x="13" y="23"/>
                  </a:cxn>
                  <a:cxn ang="0">
                    <a:pos x="17" y="23"/>
                  </a:cxn>
                  <a:cxn ang="0">
                    <a:pos x="21" y="23"/>
                  </a:cxn>
                  <a:cxn ang="0">
                    <a:pos x="22" y="22"/>
                  </a:cxn>
                  <a:cxn ang="0">
                    <a:pos x="27" y="25"/>
                  </a:cxn>
                  <a:cxn ang="0">
                    <a:pos x="27" y="25"/>
                  </a:cxn>
                  <a:cxn ang="0">
                    <a:pos x="27" y="26"/>
                  </a:cxn>
                  <a:cxn ang="0">
                    <a:pos x="30" y="26"/>
                  </a:cxn>
                  <a:cxn ang="0">
                    <a:pos x="30" y="28"/>
                  </a:cxn>
                </a:cxnLst>
                <a:rect l="0" t="0" r="r" b="b"/>
                <a:pathLst>
                  <a:path w="56" h="29">
                    <a:moveTo>
                      <a:pt x="30" y="28"/>
                    </a:moveTo>
                    <a:cubicBezTo>
                      <a:pt x="31" y="28"/>
                      <a:pt x="33" y="26"/>
                      <a:pt x="34" y="26"/>
                    </a:cubicBezTo>
                    <a:cubicBezTo>
                      <a:pt x="36" y="26"/>
                      <a:pt x="36" y="26"/>
                      <a:pt x="36" y="26"/>
                    </a:cubicBezTo>
                    <a:cubicBezTo>
                      <a:pt x="41" y="26"/>
                      <a:pt x="41" y="26"/>
                      <a:pt x="41" y="26"/>
                    </a:cubicBezTo>
                    <a:cubicBezTo>
                      <a:pt x="41" y="26"/>
                      <a:pt x="41" y="25"/>
                      <a:pt x="42" y="25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48" y="25"/>
                      <a:pt x="47" y="26"/>
                      <a:pt x="48" y="26"/>
                    </a:cubicBezTo>
                    <a:cubicBezTo>
                      <a:pt x="50" y="26"/>
                      <a:pt x="50" y="26"/>
                      <a:pt x="51" y="26"/>
                    </a:cubicBezTo>
                    <a:cubicBezTo>
                      <a:pt x="53" y="26"/>
                      <a:pt x="53" y="29"/>
                      <a:pt x="54" y="26"/>
                    </a:cubicBezTo>
                    <a:cubicBezTo>
                      <a:pt x="56" y="25"/>
                      <a:pt x="51" y="23"/>
                      <a:pt x="51" y="23"/>
                    </a:cubicBezTo>
                    <a:cubicBezTo>
                      <a:pt x="51" y="22"/>
                      <a:pt x="51" y="22"/>
                      <a:pt x="51" y="22"/>
                    </a:cubicBezTo>
                    <a:cubicBezTo>
                      <a:pt x="51" y="20"/>
                      <a:pt x="53" y="19"/>
                      <a:pt x="53" y="19"/>
                    </a:cubicBezTo>
                    <a:cubicBezTo>
                      <a:pt x="48" y="17"/>
                      <a:pt x="48" y="17"/>
                      <a:pt x="47" y="16"/>
                    </a:cubicBezTo>
                    <a:cubicBezTo>
                      <a:pt x="45" y="14"/>
                      <a:pt x="50" y="11"/>
                      <a:pt x="47" y="11"/>
                    </a:cubicBezTo>
                    <a:cubicBezTo>
                      <a:pt x="44" y="11"/>
                      <a:pt x="44" y="10"/>
                      <a:pt x="42" y="10"/>
                    </a:cubicBezTo>
                    <a:cubicBezTo>
                      <a:pt x="41" y="8"/>
                      <a:pt x="41" y="11"/>
                      <a:pt x="37" y="10"/>
                    </a:cubicBezTo>
                    <a:cubicBezTo>
                      <a:pt x="36" y="8"/>
                      <a:pt x="34" y="13"/>
                      <a:pt x="31" y="11"/>
                    </a:cubicBezTo>
                    <a:cubicBezTo>
                      <a:pt x="30" y="10"/>
                      <a:pt x="34" y="10"/>
                      <a:pt x="30" y="8"/>
                    </a:cubicBezTo>
                    <a:cubicBezTo>
                      <a:pt x="25" y="7"/>
                      <a:pt x="25" y="5"/>
                      <a:pt x="24" y="5"/>
                    </a:cubicBezTo>
                    <a:cubicBezTo>
                      <a:pt x="22" y="5"/>
                      <a:pt x="21" y="2"/>
                      <a:pt x="17" y="4"/>
                    </a:cubicBezTo>
                    <a:cubicBezTo>
                      <a:pt x="13" y="7"/>
                      <a:pt x="14" y="4"/>
                      <a:pt x="11" y="4"/>
                    </a:cubicBezTo>
                    <a:cubicBezTo>
                      <a:pt x="8" y="4"/>
                      <a:pt x="8" y="0"/>
                      <a:pt x="7" y="0"/>
                    </a:cubicBezTo>
                    <a:cubicBezTo>
                      <a:pt x="5" y="0"/>
                      <a:pt x="2" y="0"/>
                      <a:pt x="0" y="2"/>
                    </a:cubicBezTo>
                    <a:cubicBezTo>
                      <a:pt x="7" y="7"/>
                      <a:pt x="8" y="5"/>
                      <a:pt x="10" y="8"/>
                    </a:cubicBezTo>
                    <a:cubicBezTo>
                      <a:pt x="11" y="11"/>
                      <a:pt x="13" y="7"/>
                      <a:pt x="14" y="14"/>
                    </a:cubicBezTo>
                    <a:cubicBezTo>
                      <a:pt x="16" y="22"/>
                      <a:pt x="14" y="22"/>
                      <a:pt x="13" y="23"/>
                    </a:cubicBezTo>
                    <a:cubicBezTo>
                      <a:pt x="16" y="25"/>
                      <a:pt x="14" y="23"/>
                      <a:pt x="17" y="23"/>
                    </a:cubicBezTo>
                    <a:cubicBezTo>
                      <a:pt x="17" y="23"/>
                      <a:pt x="21" y="25"/>
                      <a:pt x="21" y="23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2" y="22"/>
                      <a:pt x="24" y="22"/>
                      <a:pt x="27" y="25"/>
                    </a:cubicBezTo>
                    <a:cubicBezTo>
                      <a:pt x="27" y="25"/>
                      <a:pt x="27" y="25"/>
                      <a:pt x="27" y="25"/>
                    </a:cubicBezTo>
                    <a:cubicBezTo>
                      <a:pt x="27" y="26"/>
                      <a:pt x="27" y="26"/>
                      <a:pt x="27" y="26"/>
                    </a:cubicBezTo>
                    <a:cubicBezTo>
                      <a:pt x="28" y="28"/>
                      <a:pt x="28" y="26"/>
                      <a:pt x="30" y="26"/>
                    </a:cubicBezTo>
                    <a:cubicBezTo>
                      <a:pt x="30" y="28"/>
                      <a:pt x="30" y="28"/>
                      <a:pt x="30" y="28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04" name="Freeform 198"/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5188005" y="2419324"/>
                <a:ext cx="745073" cy="405864"/>
              </a:xfrm>
              <a:custGeom>
                <a:avLst/>
                <a:gdLst/>
                <a:ahLst/>
                <a:cxnLst>
                  <a:cxn ang="0">
                    <a:pos x="197" y="160"/>
                  </a:cxn>
                  <a:cxn ang="0">
                    <a:pos x="194" y="162"/>
                  </a:cxn>
                  <a:cxn ang="0">
                    <a:pos x="185" y="168"/>
                  </a:cxn>
                  <a:cxn ang="0">
                    <a:pos x="179" y="176"/>
                  </a:cxn>
                  <a:cxn ang="0">
                    <a:pos x="174" y="176"/>
                  </a:cxn>
                  <a:cxn ang="0">
                    <a:pos x="174" y="173"/>
                  </a:cxn>
                  <a:cxn ang="0">
                    <a:pos x="163" y="168"/>
                  </a:cxn>
                  <a:cxn ang="0">
                    <a:pos x="159" y="162"/>
                  </a:cxn>
                  <a:cxn ang="0">
                    <a:pos x="159" y="153"/>
                  </a:cxn>
                  <a:cxn ang="0">
                    <a:pos x="148" y="143"/>
                  </a:cxn>
                  <a:cxn ang="0">
                    <a:pos x="124" y="143"/>
                  </a:cxn>
                  <a:cxn ang="0">
                    <a:pos x="121" y="135"/>
                  </a:cxn>
                  <a:cxn ang="0">
                    <a:pos x="122" y="124"/>
                  </a:cxn>
                  <a:cxn ang="0">
                    <a:pos x="122" y="114"/>
                  </a:cxn>
                  <a:cxn ang="0">
                    <a:pos x="121" y="109"/>
                  </a:cxn>
                  <a:cxn ang="0">
                    <a:pos x="112" y="109"/>
                  </a:cxn>
                  <a:cxn ang="0">
                    <a:pos x="107" y="114"/>
                  </a:cxn>
                  <a:cxn ang="0">
                    <a:pos x="99" y="121"/>
                  </a:cxn>
                  <a:cxn ang="0">
                    <a:pos x="80" y="132"/>
                  </a:cxn>
                  <a:cxn ang="0">
                    <a:pos x="75" y="170"/>
                  </a:cxn>
                  <a:cxn ang="0">
                    <a:pos x="63" y="159"/>
                  </a:cxn>
                  <a:cxn ang="0">
                    <a:pos x="51" y="165"/>
                  </a:cxn>
                  <a:cxn ang="0">
                    <a:pos x="46" y="151"/>
                  </a:cxn>
                  <a:cxn ang="0">
                    <a:pos x="37" y="137"/>
                  </a:cxn>
                  <a:cxn ang="0">
                    <a:pos x="43" y="134"/>
                  </a:cxn>
                  <a:cxn ang="0">
                    <a:pos x="43" y="124"/>
                  </a:cxn>
                  <a:cxn ang="0">
                    <a:pos x="55" y="123"/>
                  </a:cxn>
                  <a:cxn ang="0">
                    <a:pos x="57" y="107"/>
                  </a:cxn>
                  <a:cxn ang="0">
                    <a:pos x="45" y="106"/>
                  </a:cxn>
                  <a:cxn ang="0">
                    <a:pos x="25" y="112"/>
                  </a:cxn>
                  <a:cxn ang="0">
                    <a:pos x="23" y="112"/>
                  </a:cxn>
                  <a:cxn ang="0">
                    <a:pos x="11" y="96"/>
                  </a:cxn>
                  <a:cxn ang="0">
                    <a:pos x="7" y="76"/>
                  </a:cxn>
                  <a:cxn ang="0">
                    <a:pos x="22" y="65"/>
                  </a:cxn>
                  <a:cxn ang="0">
                    <a:pos x="46" y="50"/>
                  </a:cxn>
                  <a:cxn ang="0">
                    <a:pos x="80" y="62"/>
                  </a:cxn>
                  <a:cxn ang="0">
                    <a:pos x="103" y="61"/>
                  </a:cxn>
                  <a:cxn ang="0">
                    <a:pos x="119" y="51"/>
                  </a:cxn>
                  <a:cxn ang="0">
                    <a:pos x="125" y="31"/>
                  </a:cxn>
                  <a:cxn ang="0">
                    <a:pos x="171" y="9"/>
                  </a:cxn>
                  <a:cxn ang="0">
                    <a:pos x="199" y="11"/>
                  </a:cxn>
                  <a:cxn ang="0">
                    <a:pos x="218" y="23"/>
                  </a:cxn>
                  <a:cxn ang="0">
                    <a:pos x="243" y="20"/>
                  </a:cxn>
                  <a:cxn ang="0">
                    <a:pos x="279" y="56"/>
                  </a:cxn>
                  <a:cxn ang="0">
                    <a:pos x="321" y="73"/>
                  </a:cxn>
                  <a:cxn ang="0">
                    <a:pos x="321" y="87"/>
                  </a:cxn>
                  <a:cxn ang="0">
                    <a:pos x="310" y="106"/>
                  </a:cxn>
                  <a:cxn ang="0">
                    <a:pos x="293" y="104"/>
                  </a:cxn>
                  <a:cxn ang="0">
                    <a:pos x="292" y="124"/>
                  </a:cxn>
                  <a:cxn ang="0">
                    <a:pos x="272" y="128"/>
                  </a:cxn>
                  <a:cxn ang="0">
                    <a:pos x="275" y="149"/>
                  </a:cxn>
                  <a:cxn ang="0">
                    <a:pos x="272" y="160"/>
                  </a:cxn>
                  <a:cxn ang="0">
                    <a:pos x="247" y="153"/>
                  </a:cxn>
                  <a:cxn ang="0">
                    <a:pos x="221" y="149"/>
                  </a:cxn>
                  <a:cxn ang="0">
                    <a:pos x="203" y="153"/>
                  </a:cxn>
                </a:cxnLst>
                <a:rect l="0" t="0" r="r" b="b"/>
                <a:pathLst>
                  <a:path w="328" h="179">
                    <a:moveTo>
                      <a:pt x="199" y="159"/>
                    </a:moveTo>
                    <a:cubicBezTo>
                      <a:pt x="197" y="160"/>
                      <a:pt x="197" y="160"/>
                      <a:pt x="197" y="160"/>
                    </a:cubicBezTo>
                    <a:cubicBezTo>
                      <a:pt x="196" y="160"/>
                      <a:pt x="197" y="162"/>
                      <a:pt x="196" y="162"/>
                    </a:cubicBezTo>
                    <a:cubicBezTo>
                      <a:pt x="194" y="162"/>
                      <a:pt x="196" y="160"/>
                      <a:pt x="194" y="162"/>
                    </a:cubicBezTo>
                    <a:cubicBezTo>
                      <a:pt x="191" y="163"/>
                      <a:pt x="189" y="165"/>
                      <a:pt x="188" y="166"/>
                    </a:cubicBezTo>
                    <a:cubicBezTo>
                      <a:pt x="186" y="168"/>
                      <a:pt x="186" y="168"/>
                      <a:pt x="185" y="168"/>
                    </a:cubicBezTo>
                    <a:cubicBezTo>
                      <a:pt x="182" y="170"/>
                      <a:pt x="183" y="171"/>
                      <a:pt x="182" y="171"/>
                    </a:cubicBezTo>
                    <a:cubicBezTo>
                      <a:pt x="180" y="173"/>
                      <a:pt x="179" y="174"/>
                      <a:pt x="179" y="176"/>
                    </a:cubicBezTo>
                    <a:cubicBezTo>
                      <a:pt x="180" y="177"/>
                      <a:pt x="179" y="179"/>
                      <a:pt x="177" y="177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6" y="173"/>
                      <a:pt x="176" y="173"/>
                      <a:pt x="176" y="173"/>
                    </a:cubicBezTo>
                    <a:cubicBezTo>
                      <a:pt x="176" y="173"/>
                      <a:pt x="176" y="174"/>
                      <a:pt x="174" y="173"/>
                    </a:cubicBezTo>
                    <a:cubicBezTo>
                      <a:pt x="174" y="171"/>
                      <a:pt x="174" y="171"/>
                      <a:pt x="168" y="171"/>
                    </a:cubicBezTo>
                    <a:cubicBezTo>
                      <a:pt x="163" y="173"/>
                      <a:pt x="163" y="171"/>
                      <a:pt x="163" y="168"/>
                    </a:cubicBezTo>
                    <a:cubicBezTo>
                      <a:pt x="163" y="165"/>
                      <a:pt x="163" y="162"/>
                      <a:pt x="162" y="162"/>
                    </a:cubicBezTo>
                    <a:cubicBezTo>
                      <a:pt x="159" y="162"/>
                      <a:pt x="159" y="162"/>
                      <a:pt x="159" y="162"/>
                    </a:cubicBezTo>
                    <a:cubicBezTo>
                      <a:pt x="159" y="162"/>
                      <a:pt x="159" y="160"/>
                      <a:pt x="159" y="157"/>
                    </a:cubicBezTo>
                    <a:cubicBezTo>
                      <a:pt x="160" y="153"/>
                      <a:pt x="160" y="149"/>
                      <a:pt x="159" y="153"/>
                    </a:cubicBezTo>
                    <a:cubicBezTo>
                      <a:pt x="156" y="154"/>
                      <a:pt x="157" y="148"/>
                      <a:pt x="154" y="146"/>
                    </a:cubicBezTo>
                    <a:cubicBezTo>
                      <a:pt x="151" y="145"/>
                      <a:pt x="151" y="142"/>
                      <a:pt x="148" y="143"/>
                    </a:cubicBezTo>
                    <a:cubicBezTo>
                      <a:pt x="144" y="146"/>
                      <a:pt x="141" y="143"/>
                      <a:pt x="133" y="145"/>
                    </a:cubicBezTo>
                    <a:cubicBezTo>
                      <a:pt x="127" y="146"/>
                      <a:pt x="127" y="146"/>
                      <a:pt x="124" y="143"/>
                    </a:cubicBezTo>
                    <a:cubicBezTo>
                      <a:pt x="122" y="140"/>
                      <a:pt x="121" y="139"/>
                      <a:pt x="121" y="137"/>
                    </a:cubicBezTo>
                    <a:cubicBezTo>
                      <a:pt x="119" y="137"/>
                      <a:pt x="121" y="135"/>
                      <a:pt x="121" y="135"/>
                    </a:cubicBezTo>
                    <a:cubicBezTo>
                      <a:pt x="119" y="131"/>
                      <a:pt x="121" y="135"/>
                      <a:pt x="127" y="128"/>
                    </a:cubicBezTo>
                    <a:cubicBezTo>
                      <a:pt x="125" y="123"/>
                      <a:pt x="122" y="129"/>
                      <a:pt x="122" y="124"/>
                    </a:cubicBezTo>
                    <a:cubicBezTo>
                      <a:pt x="122" y="120"/>
                      <a:pt x="121" y="121"/>
                      <a:pt x="119" y="117"/>
                    </a:cubicBezTo>
                    <a:cubicBezTo>
                      <a:pt x="118" y="112"/>
                      <a:pt x="122" y="117"/>
                      <a:pt x="122" y="114"/>
                    </a:cubicBezTo>
                    <a:cubicBezTo>
                      <a:pt x="122" y="110"/>
                      <a:pt x="124" y="114"/>
                      <a:pt x="124" y="107"/>
                    </a:cubicBezTo>
                    <a:cubicBezTo>
                      <a:pt x="124" y="106"/>
                      <a:pt x="121" y="107"/>
                      <a:pt x="121" y="109"/>
                    </a:cubicBezTo>
                    <a:cubicBezTo>
                      <a:pt x="119" y="112"/>
                      <a:pt x="116" y="112"/>
                      <a:pt x="118" y="109"/>
                    </a:cubicBezTo>
                    <a:cubicBezTo>
                      <a:pt x="119" y="106"/>
                      <a:pt x="116" y="107"/>
                      <a:pt x="112" y="109"/>
                    </a:cubicBezTo>
                    <a:cubicBezTo>
                      <a:pt x="107" y="112"/>
                      <a:pt x="113" y="110"/>
                      <a:pt x="112" y="114"/>
                    </a:cubicBezTo>
                    <a:cubicBezTo>
                      <a:pt x="110" y="117"/>
                      <a:pt x="109" y="112"/>
                      <a:pt x="107" y="114"/>
                    </a:cubicBezTo>
                    <a:cubicBezTo>
                      <a:pt x="106" y="114"/>
                      <a:pt x="109" y="115"/>
                      <a:pt x="107" y="117"/>
                    </a:cubicBezTo>
                    <a:cubicBezTo>
                      <a:pt x="104" y="118"/>
                      <a:pt x="103" y="114"/>
                      <a:pt x="99" y="121"/>
                    </a:cubicBezTo>
                    <a:cubicBezTo>
                      <a:pt x="98" y="121"/>
                      <a:pt x="84" y="126"/>
                      <a:pt x="81" y="128"/>
                    </a:cubicBezTo>
                    <a:cubicBezTo>
                      <a:pt x="78" y="128"/>
                      <a:pt x="80" y="128"/>
                      <a:pt x="80" y="132"/>
                    </a:cubicBezTo>
                    <a:cubicBezTo>
                      <a:pt x="80" y="135"/>
                      <a:pt x="80" y="170"/>
                      <a:pt x="80" y="170"/>
                    </a:cubicBezTo>
                    <a:cubicBezTo>
                      <a:pt x="77" y="170"/>
                      <a:pt x="75" y="171"/>
                      <a:pt x="75" y="170"/>
                    </a:cubicBezTo>
                    <a:cubicBezTo>
                      <a:pt x="71" y="163"/>
                      <a:pt x="72" y="163"/>
                      <a:pt x="69" y="162"/>
                    </a:cubicBezTo>
                    <a:cubicBezTo>
                      <a:pt x="67" y="160"/>
                      <a:pt x="66" y="157"/>
                      <a:pt x="63" y="159"/>
                    </a:cubicBezTo>
                    <a:cubicBezTo>
                      <a:pt x="60" y="159"/>
                      <a:pt x="57" y="160"/>
                      <a:pt x="55" y="162"/>
                    </a:cubicBezTo>
                    <a:cubicBezTo>
                      <a:pt x="52" y="163"/>
                      <a:pt x="51" y="165"/>
                      <a:pt x="51" y="165"/>
                    </a:cubicBezTo>
                    <a:cubicBezTo>
                      <a:pt x="49" y="157"/>
                      <a:pt x="57" y="157"/>
                      <a:pt x="52" y="154"/>
                    </a:cubicBezTo>
                    <a:cubicBezTo>
                      <a:pt x="49" y="149"/>
                      <a:pt x="48" y="154"/>
                      <a:pt x="46" y="151"/>
                    </a:cubicBezTo>
                    <a:cubicBezTo>
                      <a:pt x="45" y="148"/>
                      <a:pt x="42" y="151"/>
                      <a:pt x="42" y="148"/>
                    </a:cubicBezTo>
                    <a:cubicBezTo>
                      <a:pt x="42" y="148"/>
                      <a:pt x="40" y="137"/>
                      <a:pt x="37" y="137"/>
                    </a:cubicBezTo>
                    <a:cubicBezTo>
                      <a:pt x="32" y="137"/>
                      <a:pt x="31" y="134"/>
                      <a:pt x="35" y="132"/>
                    </a:cubicBezTo>
                    <a:cubicBezTo>
                      <a:pt x="42" y="132"/>
                      <a:pt x="37" y="135"/>
                      <a:pt x="43" y="134"/>
                    </a:cubicBezTo>
                    <a:cubicBezTo>
                      <a:pt x="48" y="134"/>
                      <a:pt x="35" y="129"/>
                      <a:pt x="40" y="128"/>
                    </a:cubicBezTo>
                    <a:cubicBezTo>
                      <a:pt x="45" y="126"/>
                      <a:pt x="40" y="126"/>
                      <a:pt x="43" y="124"/>
                    </a:cubicBezTo>
                    <a:cubicBezTo>
                      <a:pt x="46" y="121"/>
                      <a:pt x="45" y="124"/>
                      <a:pt x="49" y="124"/>
                    </a:cubicBezTo>
                    <a:cubicBezTo>
                      <a:pt x="52" y="123"/>
                      <a:pt x="60" y="126"/>
                      <a:pt x="55" y="123"/>
                    </a:cubicBezTo>
                    <a:cubicBezTo>
                      <a:pt x="52" y="120"/>
                      <a:pt x="58" y="115"/>
                      <a:pt x="57" y="112"/>
                    </a:cubicBezTo>
                    <a:cubicBezTo>
                      <a:pt x="55" y="110"/>
                      <a:pt x="57" y="109"/>
                      <a:pt x="57" y="107"/>
                    </a:cubicBezTo>
                    <a:cubicBezTo>
                      <a:pt x="55" y="106"/>
                      <a:pt x="52" y="104"/>
                      <a:pt x="51" y="106"/>
                    </a:cubicBezTo>
                    <a:cubicBezTo>
                      <a:pt x="49" y="109"/>
                      <a:pt x="49" y="107"/>
                      <a:pt x="45" y="106"/>
                    </a:cubicBezTo>
                    <a:cubicBezTo>
                      <a:pt x="42" y="103"/>
                      <a:pt x="39" y="104"/>
                      <a:pt x="32" y="109"/>
                    </a:cubicBezTo>
                    <a:cubicBezTo>
                      <a:pt x="28" y="114"/>
                      <a:pt x="28" y="109"/>
                      <a:pt x="25" y="112"/>
                    </a:cubicBezTo>
                    <a:cubicBezTo>
                      <a:pt x="23" y="117"/>
                      <a:pt x="22" y="115"/>
                      <a:pt x="22" y="117"/>
                    </a:cubicBezTo>
                    <a:cubicBezTo>
                      <a:pt x="22" y="115"/>
                      <a:pt x="22" y="117"/>
                      <a:pt x="23" y="112"/>
                    </a:cubicBezTo>
                    <a:cubicBezTo>
                      <a:pt x="16" y="107"/>
                      <a:pt x="28" y="110"/>
                      <a:pt x="20" y="103"/>
                    </a:cubicBezTo>
                    <a:cubicBezTo>
                      <a:pt x="14" y="95"/>
                      <a:pt x="14" y="95"/>
                      <a:pt x="11" y="96"/>
                    </a:cubicBezTo>
                    <a:cubicBezTo>
                      <a:pt x="8" y="96"/>
                      <a:pt x="11" y="92"/>
                      <a:pt x="7" y="89"/>
                    </a:cubicBezTo>
                    <a:cubicBezTo>
                      <a:pt x="0" y="87"/>
                      <a:pt x="10" y="81"/>
                      <a:pt x="7" y="76"/>
                    </a:cubicBezTo>
                    <a:cubicBezTo>
                      <a:pt x="3" y="73"/>
                      <a:pt x="11" y="62"/>
                      <a:pt x="14" y="65"/>
                    </a:cubicBezTo>
                    <a:cubicBezTo>
                      <a:pt x="20" y="75"/>
                      <a:pt x="22" y="72"/>
                      <a:pt x="22" y="65"/>
                    </a:cubicBezTo>
                    <a:cubicBezTo>
                      <a:pt x="22" y="59"/>
                      <a:pt x="32" y="56"/>
                      <a:pt x="37" y="51"/>
                    </a:cubicBezTo>
                    <a:cubicBezTo>
                      <a:pt x="40" y="45"/>
                      <a:pt x="42" y="54"/>
                      <a:pt x="46" y="50"/>
                    </a:cubicBezTo>
                    <a:cubicBezTo>
                      <a:pt x="52" y="47"/>
                      <a:pt x="51" y="51"/>
                      <a:pt x="58" y="53"/>
                    </a:cubicBezTo>
                    <a:cubicBezTo>
                      <a:pt x="66" y="53"/>
                      <a:pt x="74" y="67"/>
                      <a:pt x="80" y="62"/>
                    </a:cubicBezTo>
                    <a:cubicBezTo>
                      <a:pt x="83" y="57"/>
                      <a:pt x="84" y="54"/>
                      <a:pt x="89" y="57"/>
                    </a:cubicBezTo>
                    <a:cubicBezTo>
                      <a:pt x="93" y="61"/>
                      <a:pt x="93" y="53"/>
                      <a:pt x="103" y="61"/>
                    </a:cubicBezTo>
                    <a:cubicBezTo>
                      <a:pt x="112" y="67"/>
                      <a:pt x="107" y="56"/>
                      <a:pt x="113" y="61"/>
                    </a:cubicBezTo>
                    <a:cubicBezTo>
                      <a:pt x="121" y="65"/>
                      <a:pt x="128" y="54"/>
                      <a:pt x="119" y="51"/>
                    </a:cubicBezTo>
                    <a:cubicBezTo>
                      <a:pt x="103" y="44"/>
                      <a:pt x="124" y="45"/>
                      <a:pt x="118" y="39"/>
                    </a:cubicBezTo>
                    <a:cubicBezTo>
                      <a:pt x="112" y="34"/>
                      <a:pt x="133" y="34"/>
                      <a:pt x="125" y="31"/>
                    </a:cubicBezTo>
                    <a:cubicBezTo>
                      <a:pt x="118" y="28"/>
                      <a:pt x="115" y="20"/>
                      <a:pt x="124" y="20"/>
                    </a:cubicBezTo>
                    <a:cubicBezTo>
                      <a:pt x="133" y="20"/>
                      <a:pt x="163" y="14"/>
                      <a:pt x="171" y="9"/>
                    </a:cubicBezTo>
                    <a:cubicBezTo>
                      <a:pt x="180" y="6"/>
                      <a:pt x="182" y="0"/>
                      <a:pt x="188" y="5"/>
                    </a:cubicBezTo>
                    <a:cubicBezTo>
                      <a:pt x="193" y="8"/>
                      <a:pt x="196" y="0"/>
                      <a:pt x="199" y="11"/>
                    </a:cubicBezTo>
                    <a:cubicBezTo>
                      <a:pt x="202" y="23"/>
                      <a:pt x="206" y="15"/>
                      <a:pt x="212" y="19"/>
                    </a:cubicBezTo>
                    <a:cubicBezTo>
                      <a:pt x="218" y="22"/>
                      <a:pt x="223" y="19"/>
                      <a:pt x="218" y="23"/>
                    </a:cubicBezTo>
                    <a:cubicBezTo>
                      <a:pt x="214" y="28"/>
                      <a:pt x="223" y="28"/>
                      <a:pt x="235" y="20"/>
                    </a:cubicBezTo>
                    <a:cubicBezTo>
                      <a:pt x="247" y="11"/>
                      <a:pt x="246" y="17"/>
                      <a:pt x="243" y="20"/>
                    </a:cubicBezTo>
                    <a:cubicBezTo>
                      <a:pt x="240" y="23"/>
                      <a:pt x="252" y="25"/>
                      <a:pt x="263" y="45"/>
                    </a:cubicBezTo>
                    <a:cubicBezTo>
                      <a:pt x="276" y="75"/>
                      <a:pt x="270" y="48"/>
                      <a:pt x="279" y="56"/>
                    </a:cubicBezTo>
                    <a:cubicBezTo>
                      <a:pt x="290" y="65"/>
                      <a:pt x="295" y="53"/>
                      <a:pt x="304" y="62"/>
                    </a:cubicBezTo>
                    <a:cubicBezTo>
                      <a:pt x="311" y="73"/>
                      <a:pt x="314" y="79"/>
                      <a:pt x="321" y="73"/>
                    </a:cubicBezTo>
                    <a:cubicBezTo>
                      <a:pt x="328" y="68"/>
                      <a:pt x="321" y="75"/>
                      <a:pt x="328" y="81"/>
                    </a:cubicBezTo>
                    <a:cubicBezTo>
                      <a:pt x="319" y="79"/>
                      <a:pt x="328" y="86"/>
                      <a:pt x="321" y="87"/>
                    </a:cubicBezTo>
                    <a:cubicBezTo>
                      <a:pt x="311" y="90"/>
                      <a:pt x="313" y="96"/>
                      <a:pt x="314" y="100"/>
                    </a:cubicBezTo>
                    <a:cubicBezTo>
                      <a:pt x="316" y="103"/>
                      <a:pt x="314" y="104"/>
                      <a:pt x="310" y="106"/>
                    </a:cubicBezTo>
                    <a:cubicBezTo>
                      <a:pt x="307" y="107"/>
                      <a:pt x="308" y="104"/>
                      <a:pt x="304" y="106"/>
                    </a:cubicBezTo>
                    <a:cubicBezTo>
                      <a:pt x="299" y="106"/>
                      <a:pt x="295" y="100"/>
                      <a:pt x="293" y="104"/>
                    </a:cubicBezTo>
                    <a:cubicBezTo>
                      <a:pt x="293" y="107"/>
                      <a:pt x="292" y="117"/>
                      <a:pt x="289" y="120"/>
                    </a:cubicBezTo>
                    <a:cubicBezTo>
                      <a:pt x="287" y="123"/>
                      <a:pt x="292" y="121"/>
                      <a:pt x="292" y="124"/>
                    </a:cubicBezTo>
                    <a:cubicBezTo>
                      <a:pt x="290" y="128"/>
                      <a:pt x="287" y="126"/>
                      <a:pt x="284" y="124"/>
                    </a:cubicBezTo>
                    <a:cubicBezTo>
                      <a:pt x="282" y="124"/>
                      <a:pt x="276" y="126"/>
                      <a:pt x="272" y="128"/>
                    </a:cubicBezTo>
                    <a:cubicBezTo>
                      <a:pt x="264" y="129"/>
                      <a:pt x="275" y="129"/>
                      <a:pt x="273" y="132"/>
                    </a:cubicBezTo>
                    <a:cubicBezTo>
                      <a:pt x="272" y="135"/>
                      <a:pt x="279" y="148"/>
                      <a:pt x="275" y="149"/>
                    </a:cubicBezTo>
                    <a:cubicBezTo>
                      <a:pt x="272" y="151"/>
                      <a:pt x="276" y="153"/>
                      <a:pt x="273" y="153"/>
                    </a:cubicBezTo>
                    <a:cubicBezTo>
                      <a:pt x="270" y="154"/>
                      <a:pt x="273" y="159"/>
                      <a:pt x="272" y="160"/>
                    </a:cubicBezTo>
                    <a:cubicBezTo>
                      <a:pt x="269" y="156"/>
                      <a:pt x="266" y="159"/>
                      <a:pt x="264" y="156"/>
                    </a:cubicBezTo>
                    <a:cubicBezTo>
                      <a:pt x="264" y="153"/>
                      <a:pt x="258" y="153"/>
                      <a:pt x="247" y="153"/>
                    </a:cubicBezTo>
                    <a:cubicBezTo>
                      <a:pt x="235" y="151"/>
                      <a:pt x="235" y="154"/>
                      <a:pt x="232" y="153"/>
                    </a:cubicBezTo>
                    <a:cubicBezTo>
                      <a:pt x="231" y="151"/>
                      <a:pt x="226" y="148"/>
                      <a:pt x="221" y="149"/>
                    </a:cubicBezTo>
                    <a:cubicBezTo>
                      <a:pt x="215" y="151"/>
                      <a:pt x="220" y="159"/>
                      <a:pt x="217" y="157"/>
                    </a:cubicBezTo>
                    <a:cubicBezTo>
                      <a:pt x="214" y="156"/>
                      <a:pt x="208" y="153"/>
                      <a:pt x="203" y="153"/>
                    </a:cubicBezTo>
                    <a:cubicBezTo>
                      <a:pt x="199" y="154"/>
                      <a:pt x="199" y="157"/>
                      <a:pt x="199" y="159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05" name="Freeform 199"/>
              <p:cNvSpPr>
                <a:spLocks noEditPoints="1"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4714293" y="1977202"/>
                <a:ext cx="217557" cy="326329"/>
              </a:xfrm>
              <a:custGeom>
                <a:avLst/>
                <a:gdLst/>
                <a:ahLst/>
                <a:cxnLst>
                  <a:cxn ang="0">
                    <a:pos x="12" y="13"/>
                  </a:cxn>
                  <a:cxn ang="0">
                    <a:pos x="24" y="21"/>
                  </a:cxn>
                  <a:cxn ang="0">
                    <a:pos x="35" y="19"/>
                  </a:cxn>
                  <a:cxn ang="0">
                    <a:pos x="44" y="21"/>
                  </a:cxn>
                  <a:cxn ang="0">
                    <a:pos x="50" y="10"/>
                  </a:cxn>
                  <a:cxn ang="0">
                    <a:pos x="62" y="2"/>
                  </a:cxn>
                  <a:cxn ang="0">
                    <a:pos x="77" y="10"/>
                  </a:cxn>
                  <a:cxn ang="0">
                    <a:pos x="73" y="19"/>
                  </a:cxn>
                  <a:cxn ang="0">
                    <a:pos x="79" y="31"/>
                  </a:cxn>
                  <a:cxn ang="0">
                    <a:pos x="76" y="49"/>
                  </a:cxn>
                  <a:cxn ang="0">
                    <a:pos x="80" y="66"/>
                  </a:cxn>
                  <a:cxn ang="0">
                    <a:pos x="80" y="70"/>
                  </a:cxn>
                  <a:cxn ang="0">
                    <a:pos x="83" y="78"/>
                  </a:cxn>
                  <a:cxn ang="0">
                    <a:pos x="88" y="86"/>
                  </a:cxn>
                  <a:cxn ang="0">
                    <a:pos x="93" y="99"/>
                  </a:cxn>
                  <a:cxn ang="0">
                    <a:pos x="79" y="120"/>
                  </a:cxn>
                  <a:cxn ang="0">
                    <a:pos x="56" y="134"/>
                  </a:cxn>
                  <a:cxn ang="0">
                    <a:pos x="44" y="138"/>
                  </a:cxn>
                  <a:cxn ang="0">
                    <a:pos x="27" y="141"/>
                  </a:cxn>
                  <a:cxn ang="0">
                    <a:pos x="22" y="138"/>
                  </a:cxn>
                  <a:cxn ang="0">
                    <a:pos x="13" y="128"/>
                  </a:cxn>
                  <a:cxn ang="0">
                    <a:pos x="15" y="117"/>
                  </a:cxn>
                  <a:cxn ang="0">
                    <a:pos x="15" y="99"/>
                  </a:cxn>
                  <a:cxn ang="0">
                    <a:pos x="21" y="94"/>
                  </a:cxn>
                  <a:cxn ang="0">
                    <a:pos x="29" y="88"/>
                  </a:cxn>
                  <a:cxn ang="0">
                    <a:pos x="41" y="75"/>
                  </a:cxn>
                  <a:cxn ang="0">
                    <a:pos x="45" y="70"/>
                  </a:cxn>
                  <a:cxn ang="0">
                    <a:pos x="36" y="63"/>
                  </a:cxn>
                  <a:cxn ang="0">
                    <a:pos x="35" y="49"/>
                  </a:cxn>
                  <a:cxn ang="0">
                    <a:pos x="33" y="39"/>
                  </a:cxn>
                  <a:cxn ang="0">
                    <a:pos x="30" y="35"/>
                  </a:cxn>
                  <a:cxn ang="0">
                    <a:pos x="29" y="28"/>
                  </a:cxn>
                  <a:cxn ang="0">
                    <a:pos x="12" y="19"/>
                  </a:cxn>
                  <a:cxn ang="0">
                    <a:pos x="12" y="16"/>
                  </a:cxn>
                  <a:cxn ang="0">
                    <a:pos x="21" y="138"/>
                  </a:cxn>
                  <a:cxn ang="0">
                    <a:pos x="18" y="136"/>
                  </a:cxn>
                  <a:cxn ang="0">
                    <a:pos x="18" y="136"/>
                  </a:cxn>
                  <a:cxn ang="0">
                    <a:pos x="16" y="139"/>
                  </a:cxn>
                  <a:cxn ang="0">
                    <a:pos x="18" y="139"/>
                  </a:cxn>
                  <a:cxn ang="0">
                    <a:pos x="18" y="139"/>
                  </a:cxn>
                  <a:cxn ang="0">
                    <a:pos x="18" y="138"/>
                  </a:cxn>
                  <a:cxn ang="0">
                    <a:pos x="4" y="141"/>
                  </a:cxn>
                  <a:cxn ang="0">
                    <a:pos x="4" y="141"/>
                  </a:cxn>
                  <a:cxn ang="0">
                    <a:pos x="4" y="138"/>
                  </a:cxn>
                  <a:cxn ang="0">
                    <a:pos x="3" y="136"/>
                  </a:cxn>
                  <a:cxn ang="0">
                    <a:pos x="1" y="136"/>
                  </a:cxn>
                  <a:cxn ang="0">
                    <a:pos x="0" y="138"/>
                  </a:cxn>
                  <a:cxn ang="0">
                    <a:pos x="3" y="139"/>
                  </a:cxn>
                  <a:cxn ang="0">
                    <a:pos x="41" y="72"/>
                  </a:cxn>
                  <a:cxn ang="0">
                    <a:pos x="44" y="74"/>
                  </a:cxn>
                  <a:cxn ang="0">
                    <a:pos x="13" y="97"/>
                  </a:cxn>
                  <a:cxn ang="0">
                    <a:pos x="15" y="97"/>
                  </a:cxn>
                </a:cxnLst>
                <a:rect l="0" t="0" r="r" b="b"/>
                <a:pathLst>
                  <a:path w="96" h="144">
                    <a:moveTo>
                      <a:pt x="12" y="16"/>
                    </a:moveTo>
                    <a:cubicBezTo>
                      <a:pt x="12" y="16"/>
                      <a:pt x="10" y="14"/>
                      <a:pt x="12" y="13"/>
                    </a:cubicBezTo>
                    <a:cubicBezTo>
                      <a:pt x="15" y="11"/>
                      <a:pt x="18" y="14"/>
                      <a:pt x="21" y="17"/>
                    </a:cubicBezTo>
                    <a:cubicBezTo>
                      <a:pt x="24" y="21"/>
                      <a:pt x="19" y="21"/>
                      <a:pt x="24" y="21"/>
                    </a:cubicBezTo>
                    <a:cubicBezTo>
                      <a:pt x="30" y="21"/>
                      <a:pt x="27" y="22"/>
                      <a:pt x="30" y="22"/>
                    </a:cubicBezTo>
                    <a:cubicBezTo>
                      <a:pt x="35" y="21"/>
                      <a:pt x="33" y="19"/>
                      <a:pt x="35" y="19"/>
                    </a:cubicBezTo>
                    <a:cubicBezTo>
                      <a:pt x="36" y="21"/>
                      <a:pt x="39" y="21"/>
                      <a:pt x="42" y="24"/>
                    </a:cubicBezTo>
                    <a:cubicBezTo>
                      <a:pt x="42" y="22"/>
                      <a:pt x="44" y="24"/>
                      <a:pt x="44" y="21"/>
                    </a:cubicBezTo>
                    <a:cubicBezTo>
                      <a:pt x="45" y="17"/>
                      <a:pt x="51" y="19"/>
                      <a:pt x="48" y="16"/>
                    </a:cubicBezTo>
                    <a:cubicBezTo>
                      <a:pt x="47" y="13"/>
                      <a:pt x="50" y="13"/>
                      <a:pt x="50" y="10"/>
                    </a:cubicBezTo>
                    <a:cubicBezTo>
                      <a:pt x="50" y="8"/>
                      <a:pt x="51" y="5"/>
                      <a:pt x="54" y="3"/>
                    </a:cubicBezTo>
                    <a:cubicBezTo>
                      <a:pt x="58" y="2"/>
                      <a:pt x="56" y="5"/>
                      <a:pt x="62" y="2"/>
                    </a:cubicBezTo>
                    <a:cubicBezTo>
                      <a:pt x="65" y="0"/>
                      <a:pt x="65" y="0"/>
                      <a:pt x="67" y="3"/>
                    </a:cubicBezTo>
                    <a:cubicBezTo>
                      <a:pt x="68" y="5"/>
                      <a:pt x="76" y="6"/>
                      <a:pt x="77" y="10"/>
                    </a:cubicBezTo>
                    <a:cubicBezTo>
                      <a:pt x="77" y="11"/>
                      <a:pt x="70" y="14"/>
                      <a:pt x="74" y="16"/>
                    </a:cubicBezTo>
                    <a:cubicBezTo>
                      <a:pt x="67" y="21"/>
                      <a:pt x="73" y="17"/>
                      <a:pt x="73" y="19"/>
                    </a:cubicBezTo>
                    <a:cubicBezTo>
                      <a:pt x="74" y="22"/>
                      <a:pt x="70" y="21"/>
                      <a:pt x="71" y="25"/>
                    </a:cubicBezTo>
                    <a:cubicBezTo>
                      <a:pt x="73" y="33"/>
                      <a:pt x="76" y="27"/>
                      <a:pt x="79" y="31"/>
                    </a:cubicBezTo>
                    <a:cubicBezTo>
                      <a:pt x="82" y="36"/>
                      <a:pt x="85" y="35"/>
                      <a:pt x="82" y="38"/>
                    </a:cubicBezTo>
                    <a:cubicBezTo>
                      <a:pt x="79" y="41"/>
                      <a:pt x="73" y="46"/>
                      <a:pt x="76" y="49"/>
                    </a:cubicBezTo>
                    <a:cubicBezTo>
                      <a:pt x="79" y="50"/>
                      <a:pt x="85" y="64"/>
                      <a:pt x="83" y="64"/>
                    </a:cubicBezTo>
                    <a:cubicBezTo>
                      <a:pt x="80" y="64"/>
                      <a:pt x="80" y="64"/>
                      <a:pt x="80" y="66"/>
                    </a:cubicBezTo>
                    <a:cubicBezTo>
                      <a:pt x="82" y="66"/>
                      <a:pt x="80" y="66"/>
                      <a:pt x="80" y="67"/>
                    </a:cubicBezTo>
                    <a:cubicBezTo>
                      <a:pt x="80" y="70"/>
                      <a:pt x="79" y="69"/>
                      <a:pt x="80" y="70"/>
                    </a:cubicBezTo>
                    <a:cubicBezTo>
                      <a:pt x="83" y="72"/>
                      <a:pt x="79" y="72"/>
                      <a:pt x="79" y="74"/>
                    </a:cubicBezTo>
                    <a:cubicBezTo>
                      <a:pt x="80" y="77"/>
                      <a:pt x="86" y="77"/>
                      <a:pt x="83" y="78"/>
                    </a:cubicBezTo>
                    <a:cubicBezTo>
                      <a:pt x="82" y="80"/>
                      <a:pt x="83" y="80"/>
                      <a:pt x="83" y="81"/>
                    </a:cubicBezTo>
                    <a:cubicBezTo>
                      <a:pt x="82" y="83"/>
                      <a:pt x="88" y="83"/>
                      <a:pt x="88" y="86"/>
                    </a:cubicBezTo>
                    <a:cubicBezTo>
                      <a:pt x="86" y="89"/>
                      <a:pt x="80" y="89"/>
                      <a:pt x="83" y="92"/>
                    </a:cubicBezTo>
                    <a:cubicBezTo>
                      <a:pt x="86" y="94"/>
                      <a:pt x="91" y="95"/>
                      <a:pt x="93" y="99"/>
                    </a:cubicBezTo>
                    <a:cubicBezTo>
                      <a:pt x="94" y="102"/>
                      <a:pt x="96" y="100"/>
                      <a:pt x="94" y="103"/>
                    </a:cubicBezTo>
                    <a:cubicBezTo>
                      <a:pt x="93" y="106"/>
                      <a:pt x="88" y="113"/>
                      <a:pt x="79" y="120"/>
                    </a:cubicBezTo>
                    <a:cubicBezTo>
                      <a:pt x="71" y="128"/>
                      <a:pt x="68" y="130"/>
                      <a:pt x="65" y="133"/>
                    </a:cubicBezTo>
                    <a:cubicBezTo>
                      <a:pt x="61" y="136"/>
                      <a:pt x="61" y="133"/>
                      <a:pt x="56" y="134"/>
                    </a:cubicBezTo>
                    <a:cubicBezTo>
                      <a:pt x="51" y="138"/>
                      <a:pt x="53" y="133"/>
                      <a:pt x="51" y="136"/>
                    </a:cubicBezTo>
                    <a:cubicBezTo>
                      <a:pt x="48" y="139"/>
                      <a:pt x="50" y="134"/>
                      <a:pt x="44" y="138"/>
                    </a:cubicBezTo>
                    <a:cubicBezTo>
                      <a:pt x="35" y="142"/>
                      <a:pt x="33" y="141"/>
                      <a:pt x="30" y="142"/>
                    </a:cubicBezTo>
                    <a:cubicBezTo>
                      <a:pt x="25" y="144"/>
                      <a:pt x="25" y="144"/>
                      <a:pt x="27" y="141"/>
                    </a:cubicBezTo>
                    <a:cubicBezTo>
                      <a:pt x="29" y="139"/>
                      <a:pt x="27" y="138"/>
                      <a:pt x="25" y="141"/>
                    </a:cubicBezTo>
                    <a:cubicBezTo>
                      <a:pt x="22" y="142"/>
                      <a:pt x="22" y="139"/>
                      <a:pt x="22" y="138"/>
                    </a:cubicBezTo>
                    <a:cubicBezTo>
                      <a:pt x="24" y="134"/>
                      <a:pt x="21" y="134"/>
                      <a:pt x="16" y="134"/>
                    </a:cubicBezTo>
                    <a:cubicBezTo>
                      <a:pt x="12" y="133"/>
                      <a:pt x="13" y="133"/>
                      <a:pt x="13" y="128"/>
                    </a:cubicBezTo>
                    <a:cubicBezTo>
                      <a:pt x="15" y="125"/>
                      <a:pt x="15" y="124"/>
                      <a:pt x="15" y="122"/>
                    </a:cubicBezTo>
                    <a:cubicBezTo>
                      <a:pt x="13" y="119"/>
                      <a:pt x="18" y="120"/>
                      <a:pt x="15" y="117"/>
                    </a:cubicBezTo>
                    <a:cubicBezTo>
                      <a:pt x="10" y="111"/>
                      <a:pt x="16" y="114"/>
                      <a:pt x="13" y="110"/>
                    </a:cubicBezTo>
                    <a:cubicBezTo>
                      <a:pt x="10" y="103"/>
                      <a:pt x="15" y="102"/>
                      <a:pt x="15" y="99"/>
                    </a:cubicBezTo>
                    <a:cubicBezTo>
                      <a:pt x="15" y="97"/>
                      <a:pt x="18" y="100"/>
                      <a:pt x="19" y="99"/>
                    </a:cubicBezTo>
                    <a:cubicBezTo>
                      <a:pt x="22" y="97"/>
                      <a:pt x="19" y="94"/>
                      <a:pt x="21" y="94"/>
                    </a:cubicBezTo>
                    <a:cubicBezTo>
                      <a:pt x="22" y="94"/>
                      <a:pt x="22" y="91"/>
                      <a:pt x="25" y="92"/>
                    </a:cubicBezTo>
                    <a:cubicBezTo>
                      <a:pt x="27" y="92"/>
                      <a:pt x="25" y="89"/>
                      <a:pt x="29" y="88"/>
                    </a:cubicBezTo>
                    <a:cubicBezTo>
                      <a:pt x="32" y="88"/>
                      <a:pt x="27" y="88"/>
                      <a:pt x="33" y="85"/>
                    </a:cubicBezTo>
                    <a:cubicBezTo>
                      <a:pt x="39" y="80"/>
                      <a:pt x="38" y="77"/>
                      <a:pt x="41" y="75"/>
                    </a:cubicBezTo>
                    <a:cubicBezTo>
                      <a:pt x="45" y="74"/>
                      <a:pt x="45" y="75"/>
                      <a:pt x="45" y="74"/>
                    </a:cubicBezTo>
                    <a:cubicBezTo>
                      <a:pt x="47" y="72"/>
                      <a:pt x="44" y="74"/>
                      <a:pt x="45" y="70"/>
                    </a:cubicBezTo>
                    <a:cubicBezTo>
                      <a:pt x="45" y="67"/>
                      <a:pt x="47" y="66"/>
                      <a:pt x="42" y="64"/>
                    </a:cubicBezTo>
                    <a:cubicBezTo>
                      <a:pt x="38" y="64"/>
                      <a:pt x="41" y="63"/>
                      <a:pt x="36" y="63"/>
                    </a:cubicBezTo>
                    <a:cubicBezTo>
                      <a:pt x="36" y="58"/>
                      <a:pt x="30" y="56"/>
                      <a:pt x="33" y="53"/>
                    </a:cubicBezTo>
                    <a:cubicBezTo>
                      <a:pt x="35" y="50"/>
                      <a:pt x="33" y="50"/>
                      <a:pt x="35" y="49"/>
                    </a:cubicBezTo>
                    <a:cubicBezTo>
                      <a:pt x="36" y="47"/>
                      <a:pt x="32" y="46"/>
                      <a:pt x="32" y="44"/>
                    </a:cubicBezTo>
                    <a:cubicBezTo>
                      <a:pt x="32" y="41"/>
                      <a:pt x="33" y="41"/>
                      <a:pt x="33" y="39"/>
                    </a:cubicBezTo>
                    <a:cubicBezTo>
                      <a:pt x="33" y="38"/>
                      <a:pt x="30" y="41"/>
                      <a:pt x="30" y="39"/>
                    </a:cubicBezTo>
                    <a:cubicBezTo>
                      <a:pt x="30" y="38"/>
                      <a:pt x="32" y="39"/>
                      <a:pt x="30" y="35"/>
                    </a:cubicBezTo>
                    <a:cubicBezTo>
                      <a:pt x="30" y="31"/>
                      <a:pt x="35" y="35"/>
                      <a:pt x="30" y="30"/>
                    </a:cubicBezTo>
                    <a:cubicBezTo>
                      <a:pt x="27" y="28"/>
                      <a:pt x="29" y="30"/>
                      <a:pt x="29" y="28"/>
                    </a:cubicBezTo>
                    <a:cubicBezTo>
                      <a:pt x="29" y="27"/>
                      <a:pt x="25" y="25"/>
                      <a:pt x="22" y="25"/>
                    </a:cubicBezTo>
                    <a:cubicBezTo>
                      <a:pt x="19" y="25"/>
                      <a:pt x="15" y="22"/>
                      <a:pt x="12" y="19"/>
                    </a:cubicBezTo>
                    <a:cubicBezTo>
                      <a:pt x="7" y="17"/>
                      <a:pt x="12" y="17"/>
                      <a:pt x="9" y="16"/>
                    </a:cubicBezTo>
                    <a:cubicBezTo>
                      <a:pt x="9" y="14"/>
                      <a:pt x="12" y="17"/>
                      <a:pt x="12" y="16"/>
                    </a:cubicBezTo>
                    <a:close/>
                    <a:moveTo>
                      <a:pt x="19" y="136"/>
                    </a:moveTo>
                    <a:cubicBezTo>
                      <a:pt x="19" y="136"/>
                      <a:pt x="21" y="136"/>
                      <a:pt x="21" y="138"/>
                    </a:cubicBezTo>
                    <a:cubicBezTo>
                      <a:pt x="21" y="138"/>
                      <a:pt x="19" y="138"/>
                      <a:pt x="19" y="136"/>
                    </a:cubicBezTo>
                    <a:close/>
                    <a:moveTo>
                      <a:pt x="18" y="136"/>
                    </a:moveTo>
                    <a:cubicBezTo>
                      <a:pt x="18" y="136"/>
                      <a:pt x="16" y="134"/>
                      <a:pt x="18" y="134"/>
                    </a:cubicBezTo>
                    <a:cubicBezTo>
                      <a:pt x="18" y="134"/>
                      <a:pt x="19" y="136"/>
                      <a:pt x="18" y="136"/>
                    </a:cubicBezTo>
                    <a:close/>
                    <a:moveTo>
                      <a:pt x="15" y="139"/>
                    </a:moveTo>
                    <a:cubicBezTo>
                      <a:pt x="15" y="138"/>
                      <a:pt x="16" y="138"/>
                      <a:pt x="16" y="139"/>
                    </a:cubicBezTo>
                    <a:cubicBezTo>
                      <a:pt x="15" y="139"/>
                      <a:pt x="15" y="139"/>
                      <a:pt x="15" y="139"/>
                    </a:cubicBezTo>
                    <a:close/>
                    <a:moveTo>
                      <a:pt x="18" y="139"/>
                    </a:moveTo>
                    <a:cubicBezTo>
                      <a:pt x="18" y="138"/>
                      <a:pt x="19" y="138"/>
                      <a:pt x="19" y="138"/>
                    </a:cubicBezTo>
                    <a:cubicBezTo>
                      <a:pt x="19" y="139"/>
                      <a:pt x="19" y="139"/>
                      <a:pt x="18" y="139"/>
                    </a:cubicBezTo>
                    <a:close/>
                    <a:moveTo>
                      <a:pt x="16" y="139"/>
                    </a:moveTo>
                    <a:cubicBezTo>
                      <a:pt x="16" y="138"/>
                      <a:pt x="18" y="138"/>
                      <a:pt x="18" y="138"/>
                    </a:cubicBezTo>
                    <a:cubicBezTo>
                      <a:pt x="18" y="139"/>
                      <a:pt x="16" y="139"/>
                      <a:pt x="16" y="139"/>
                    </a:cubicBezTo>
                    <a:close/>
                    <a:moveTo>
                      <a:pt x="4" y="141"/>
                    </a:moveTo>
                    <a:cubicBezTo>
                      <a:pt x="4" y="141"/>
                      <a:pt x="3" y="139"/>
                      <a:pt x="4" y="139"/>
                    </a:cubicBezTo>
                    <a:cubicBezTo>
                      <a:pt x="4" y="139"/>
                      <a:pt x="6" y="141"/>
                      <a:pt x="4" y="141"/>
                    </a:cubicBezTo>
                    <a:close/>
                    <a:moveTo>
                      <a:pt x="3" y="139"/>
                    </a:moveTo>
                    <a:cubicBezTo>
                      <a:pt x="4" y="139"/>
                      <a:pt x="3" y="138"/>
                      <a:pt x="4" y="138"/>
                    </a:cubicBezTo>
                    <a:cubicBezTo>
                      <a:pt x="4" y="138"/>
                      <a:pt x="4" y="139"/>
                      <a:pt x="6" y="138"/>
                    </a:cubicBezTo>
                    <a:cubicBezTo>
                      <a:pt x="6" y="136"/>
                      <a:pt x="6" y="136"/>
                      <a:pt x="3" y="136"/>
                    </a:cubicBezTo>
                    <a:cubicBezTo>
                      <a:pt x="0" y="134"/>
                      <a:pt x="3" y="136"/>
                      <a:pt x="3" y="138"/>
                    </a:cubicBezTo>
                    <a:cubicBezTo>
                      <a:pt x="1" y="139"/>
                      <a:pt x="1" y="136"/>
                      <a:pt x="1" y="136"/>
                    </a:cubicBezTo>
                    <a:cubicBezTo>
                      <a:pt x="1" y="138"/>
                      <a:pt x="0" y="138"/>
                      <a:pt x="0" y="138"/>
                    </a:cubicBezTo>
                    <a:cubicBezTo>
                      <a:pt x="0" y="139"/>
                      <a:pt x="0" y="138"/>
                      <a:pt x="0" y="138"/>
                    </a:cubicBezTo>
                    <a:cubicBezTo>
                      <a:pt x="1" y="139"/>
                      <a:pt x="1" y="139"/>
                      <a:pt x="1" y="139"/>
                    </a:cubicBezTo>
                    <a:cubicBezTo>
                      <a:pt x="3" y="139"/>
                      <a:pt x="3" y="141"/>
                      <a:pt x="3" y="139"/>
                    </a:cubicBezTo>
                    <a:close/>
                    <a:moveTo>
                      <a:pt x="44" y="74"/>
                    </a:moveTo>
                    <a:cubicBezTo>
                      <a:pt x="45" y="72"/>
                      <a:pt x="44" y="72"/>
                      <a:pt x="41" y="72"/>
                    </a:cubicBezTo>
                    <a:cubicBezTo>
                      <a:pt x="39" y="72"/>
                      <a:pt x="39" y="74"/>
                      <a:pt x="41" y="74"/>
                    </a:cubicBezTo>
                    <a:cubicBezTo>
                      <a:pt x="42" y="74"/>
                      <a:pt x="42" y="74"/>
                      <a:pt x="44" y="74"/>
                    </a:cubicBezTo>
                    <a:close/>
                    <a:moveTo>
                      <a:pt x="15" y="97"/>
                    </a:moveTo>
                    <a:cubicBezTo>
                      <a:pt x="13" y="97"/>
                      <a:pt x="13" y="97"/>
                      <a:pt x="13" y="97"/>
                    </a:cubicBezTo>
                    <a:cubicBezTo>
                      <a:pt x="13" y="97"/>
                      <a:pt x="12" y="97"/>
                      <a:pt x="13" y="99"/>
                    </a:cubicBezTo>
                    <a:cubicBezTo>
                      <a:pt x="13" y="99"/>
                      <a:pt x="15" y="99"/>
                      <a:pt x="15" y="97"/>
                    </a:cubicBezTo>
                    <a:close/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06" name="Freeform 200"/>
              <p:cNvSpPr>
                <a:spLocks noEditPoints="1"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4444103" y="1600578"/>
                <a:ext cx="480730" cy="753247"/>
              </a:xfrm>
              <a:custGeom>
                <a:avLst/>
                <a:gdLst/>
                <a:ahLst/>
                <a:cxnLst>
                  <a:cxn ang="0">
                    <a:pos x="58" y="30"/>
                  </a:cxn>
                  <a:cxn ang="0">
                    <a:pos x="93" y="31"/>
                  </a:cxn>
                  <a:cxn ang="0">
                    <a:pos x="111" y="45"/>
                  </a:cxn>
                  <a:cxn ang="0">
                    <a:pos x="56" y="40"/>
                  </a:cxn>
                  <a:cxn ang="0">
                    <a:pos x="149" y="42"/>
                  </a:cxn>
                  <a:cxn ang="0">
                    <a:pos x="172" y="9"/>
                  </a:cxn>
                  <a:cxn ang="0">
                    <a:pos x="108" y="13"/>
                  </a:cxn>
                  <a:cxn ang="0">
                    <a:pos x="201" y="172"/>
                  </a:cxn>
                  <a:cxn ang="0">
                    <a:pos x="198" y="159"/>
                  </a:cxn>
                  <a:cxn ang="0">
                    <a:pos x="184" y="152"/>
                  </a:cxn>
                  <a:cxn ang="0">
                    <a:pos x="167" y="162"/>
                  </a:cxn>
                  <a:cxn ang="0">
                    <a:pos x="160" y="154"/>
                  </a:cxn>
                  <a:cxn ang="0">
                    <a:pos x="146" y="166"/>
                  </a:cxn>
                  <a:cxn ang="0">
                    <a:pos x="135" y="169"/>
                  </a:cxn>
                  <a:cxn ang="0">
                    <a:pos x="120" y="172"/>
                  </a:cxn>
                  <a:cxn ang="0">
                    <a:pos x="106" y="180"/>
                  </a:cxn>
                  <a:cxn ang="0">
                    <a:pos x="91" y="194"/>
                  </a:cxn>
                  <a:cxn ang="0">
                    <a:pos x="80" y="200"/>
                  </a:cxn>
                  <a:cxn ang="0">
                    <a:pos x="87" y="210"/>
                  </a:cxn>
                  <a:cxn ang="0">
                    <a:pos x="67" y="219"/>
                  </a:cxn>
                  <a:cxn ang="0">
                    <a:pos x="64" y="233"/>
                  </a:cxn>
                  <a:cxn ang="0">
                    <a:pos x="56" y="245"/>
                  </a:cxn>
                  <a:cxn ang="0">
                    <a:pos x="50" y="256"/>
                  </a:cxn>
                  <a:cxn ang="0">
                    <a:pos x="38" y="258"/>
                  </a:cxn>
                  <a:cxn ang="0">
                    <a:pos x="15" y="272"/>
                  </a:cxn>
                  <a:cxn ang="0">
                    <a:pos x="4" y="283"/>
                  </a:cxn>
                  <a:cxn ang="0">
                    <a:pos x="6" y="292"/>
                  </a:cxn>
                  <a:cxn ang="0">
                    <a:pos x="12" y="303"/>
                  </a:cxn>
                  <a:cxn ang="0">
                    <a:pos x="7" y="320"/>
                  </a:cxn>
                  <a:cxn ang="0">
                    <a:pos x="36" y="323"/>
                  </a:cxn>
                  <a:cxn ang="0">
                    <a:pos x="50" y="317"/>
                  </a:cxn>
                  <a:cxn ang="0">
                    <a:pos x="62" y="286"/>
                  </a:cxn>
                  <a:cxn ang="0">
                    <a:pos x="79" y="233"/>
                  </a:cxn>
                  <a:cxn ang="0">
                    <a:pos x="106" y="190"/>
                  </a:cxn>
                  <a:cxn ang="0">
                    <a:pos x="154" y="185"/>
                  </a:cxn>
                  <a:cxn ang="0">
                    <a:pos x="193" y="182"/>
                  </a:cxn>
                  <a:cxn ang="0">
                    <a:pos x="149" y="163"/>
                  </a:cxn>
                  <a:cxn ang="0">
                    <a:pos x="143" y="159"/>
                  </a:cxn>
                  <a:cxn ang="0">
                    <a:pos x="120" y="165"/>
                  </a:cxn>
                  <a:cxn ang="0">
                    <a:pos x="129" y="168"/>
                  </a:cxn>
                  <a:cxn ang="0">
                    <a:pos x="116" y="168"/>
                  </a:cxn>
                  <a:cxn ang="0">
                    <a:pos x="112" y="168"/>
                  </a:cxn>
                  <a:cxn ang="0">
                    <a:pos x="112" y="174"/>
                  </a:cxn>
                  <a:cxn ang="0">
                    <a:pos x="99" y="177"/>
                  </a:cxn>
                  <a:cxn ang="0">
                    <a:pos x="102" y="183"/>
                  </a:cxn>
                  <a:cxn ang="0">
                    <a:pos x="82" y="191"/>
                  </a:cxn>
                  <a:cxn ang="0">
                    <a:pos x="82" y="185"/>
                  </a:cxn>
                  <a:cxn ang="0">
                    <a:pos x="88" y="183"/>
                  </a:cxn>
                  <a:cxn ang="0">
                    <a:pos x="90" y="188"/>
                  </a:cxn>
                  <a:cxn ang="0">
                    <a:pos x="93" y="190"/>
                  </a:cxn>
                  <a:cxn ang="0">
                    <a:pos x="74" y="193"/>
                  </a:cxn>
                  <a:cxn ang="0">
                    <a:pos x="70" y="196"/>
                  </a:cxn>
                  <a:cxn ang="0">
                    <a:pos x="87" y="197"/>
                  </a:cxn>
                  <a:cxn ang="0">
                    <a:pos x="62" y="227"/>
                  </a:cxn>
                  <a:cxn ang="0">
                    <a:pos x="59" y="230"/>
                  </a:cxn>
                  <a:cxn ang="0">
                    <a:pos x="53" y="245"/>
                  </a:cxn>
                  <a:cxn ang="0">
                    <a:pos x="50" y="244"/>
                  </a:cxn>
                  <a:cxn ang="0">
                    <a:pos x="29" y="258"/>
                  </a:cxn>
                  <a:cxn ang="0">
                    <a:pos x="29" y="264"/>
                  </a:cxn>
                  <a:cxn ang="0">
                    <a:pos x="10" y="273"/>
                  </a:cxn>
                  <a:cxn ang="0">
                    <a:pos x="1" y="292"/>
                  </a:cxn>
                  <a:cxn ang="0">
                    <a:pos x="4" y="317"/>
                  </a:cxn>
                  <a:cxn ang="0">
                    <a:pos x="3" y="300"/>
                  </a:cxn>
                </a:cxnLst>
                <a:rect l="0" t="0" r="r" b="b"/>
                <a:pathLst>
                  <a:path w="212" h="332">
                    <a:moveTo>
                      <a:pt x="94" y="68"/>
                    </a:moveTo>
                    <a:cubicBezTo>
                      <a:pt x="84" y="65"/>
                      <a:pt x="88" y="62"/>
                      <a:pt x="80" y="59"/>
                    </a:cubicBezTo>
                    <a:cubicBezTo>
                      <a:pt x="71" y="56"/>
                      <a:pt x="73" y="54"/>
                      <a:pt x="80" y="53"/>
                    </a:cubicBezTo>
                    <a:cubicBezTo>
                      <a:pt x="90" y="51"/>
                      <a:pt x="99" y="47"/>
                      <a:pt x="84" y="48"/>
                    </a:cubicBezTo>
                    <a:cubicBezTo>
                      <a:pt x="68" y="50"/>
                      <a:pt x="67" y="48"/>
                      <a:pt x="80" y="44"/>
                    </a:cubicBezTo>
                    <a:cubicBezTo>
                      <a:pt x="93" y="40"/>
                      <a:pt x="102" y="37"/>
                      <a:pt x="91" y="37"/>
                    </a:cubicBezTo>
                    <a:cubicBezTo>
                      <a:pt x="80" y="37"/>
                      <a:pt x="90" y="33"/>
                      <a:pt x="80" y="37"/>
                    </a:cubicBezTo>
                    <a:cubicBezTo>
                      <a:pt x="73" y="42"/>
                      <a:pt x="70" y="47"/>
                      <a:pt x="62" y="39"/>
                    </a:cubicBezTo>
                    <a:cubicBezTo>
                      <a:pt x="55" y="30"/>
                      <a:pt x="52" y="31"/>
                      <a:pt x="58" y="30"/>
                    </a:cubicBezTo>
                    <a:cubicBezTo>
                      <a:pt x="62" y="30"/>
                      <a:pt x="56" y="30"/>
                      <a:pt x="58" y="27"/>
                    </a:cubicBezTo>
                    <a:cubicBezTo>
                      <a:pt x="59" y="22"/>
                      <a:pt x="55" y="31"/>
                      <a:pt x="52" y="27"/>
                    </a:cubicBezTo>
                    <a:cubicBezTo>
                      <a:pt x="49" y="22"/>
                      <a:pt x="45" y="22"/>
                      <a:pt x="52" y="17"/>
                    </a:cubicBezTo>
                    <a:cubicBezTo>
                      <a:pt x="59" y="13"/>
                      <a:pt x="56" y="19"/>
                      <a:pt x="61" y="17"/>
                    </a:cubicBezTo>
                    <a:cubicBezTo>
                      <a:pt x="64" y="14"/>
                      <a:pt x="62" y="19"/>
                      <a:pt x="68" y="16"/>
                    </a:cubicBezTo>
                    <a:cubicBezTo>
                      <a:pt x="76" y="14"/>
                      <a:pt x="76" y="17"/>
                      <a:pt x="70" y="19"/>
                    </a:cubicBezTo>
                    <a:cubicBezTo>
                      <a:pt x="64" y="20"/>
                      <a:pt x="71" y="19"/>
                      <a:pt x="73" y="25"/>
                    </a:cubicBezTo>
                    <a:cubicBezTo>
                      <a:pt x="76" y="30"/>
                      <a:pt x="73" y="19"/>
                      <a:pt x="77" y="17"/>
                    </a:cubicBezTo>
                    <a:cubicBezTo>
                      <a:pt x="84" y="16"/>
                      <a:pt x="90" y="31"/>
                      <a:pt x="93" y="31"/>
                    </a:cubicBezTo>
                    <a:cubicBezTo>
                      <a:pt x="97" y="31"/>
                      <a:pt x="84" y="17"/>
                      <a:pt x="90" y="14"/>
                    </a:cubicBezTo>
                    <a:cubicBezTo>
                      <a:pt x="94" y="9"/>
                      <a:pt x="93" y="14"/>
                      <a:pt x="99" y="14"/>
                    </a:cubicBezTo>
                    <a:cubicBezTo>
                      <a:pt x="103" y="14"/>
                      <a:pt x="103" y="16"/>
                      <a:pt x="106" y="17"/>
                    </a:cubicBezTo>
                    <a:cubicBezTo>
                      <a:pt x="108" y="17"/>
                      <a:pt x="103" y="19"/>
                      <a:pt x="105" y="23"/>
                    </a:cubicBezTo>
                    <a:cubicBezTo>
                      <a:pt x="106" y="27"/>
                      <a:pt x="105" y="17"/>
                      <a:pt x="111" y="20"/>
                    </a:cubicBezTo>
                    <a:cubicBezTo>
                      <a:pt x="116" y="23"/>
                      <a:pt x="109" y="28"/>
                      <a:pt x="117" y="27"/>
                    </a:cubicBezTo>
                    <a:cubicBezTo>
                      <a:pt x="123" y="27"/>
                      <a:pt x="119" y="28"/>
                      <a:pt x="128" y="31"/>
                    </a:cubicBezTo>
                    <a:cubicBezTo>
                      <a:pt x="137" y="33"/>
                      <a:pt x="137" y="34"/>
                      <a:pt x="123" y="36"/>
                    </a:cubicBezTo>
                    <a:cubicBezTo>
                      <a:pt x="109" y="36"/>
                      <a:pt x="120" y="44"/>
                      <a:pt x="111" y="45"/>
                    </a:cubicBezTo>
                    <a:cubicBezTo>
                      <a:pt x="103" y="48"/>
                      <a:pt x="116" y="51"/>
                      <a:pt x="106" y="54"/>
                    </a:cubicBezTo>
                    <a:cubicBezTo>
                      <a:pt x="96" y="58"/>
                      <a:pt x="105" y="72"/>
                      <a:pt x="94" y="68"/>
                    </a:cubicBezTo>
                    <a:close/>
                    <a:moveTo>
                      <a:pt x="131" y="42"/>
                    </a:moveTo>
                    <a:cubicBezTo>
                      <a:pt x="135" y="40"/>
                      <a:pt x="140" y="42"/>
                      <a:pt x="140" y="39"/>
                    </a:cubicBezTo>
                    <a:cubicBezTo>
                      <a:pt x="138" y="36"/>
                      <a:pt x="134" y="36"/>
                      <a:pt x="129" y="37"/>
                    </a:cubicBezTo>
                    <a:cubicBezTo>
                      <a:pt x="125" y="39"/>
                      <a:pt x="122" y="37"/>
                      <a:pt x="126" y="40"/>
                    </a:cubicBezTo>
                    <a:cubicBezTo>
                      <a:pt x="129" y="42"/>
                      <a:pt x="126" y="44"/>
                      <a:pt x="131" y="42"/>
                    </a:cubicBezTo>
                    <a:close/>
                    <a:moveTo>
                      <a:pt x="50" y="37"/>
                    </a:moveTo>
                    <a:cubicBezTo>
                      <a:pt x="52" y="42"/>
                      <a:pt x="50" y="36"/>
                      <a:pt x="56" y="40"/>
                    </a:cubicBezTo>
                    <a:cubicBezTo>
                      <a:pt x="64" y="45"/>
                      <a:pt x="58" y="37"/>
                      <a:pt x="55" y="37"/>
                    </a:cubicBezTo>
                    <a:cubicBezTo>
                      <a:pt x="52" y="37"/>
                      <a:pt x="52" y="30"/>
                      <a:pt x="47" y="31"/>
                    </a:cubicBezTo>
                    <a:cubicBezTo>
                      <a:pt x="45" y="31"/>
                      <a:pt x="47" y="33"/>
                      <a:pt x="50" y="37"/>
                    </a:cubicBezTo>
                    <a:close/>
                    <a:moveTo>
                      <a:pt x="131" y="51"/>
                    </a:moveTo>
                    <a:cubicBezTo>
                      <a:pt x="126" y="56"/>
                      <a:pt x="131" y="54"/>
                      <a:pt x="138" y="54"/>
                    </a:cubicBezTo>
                    <a:cubicBezTo>
                      <a:pt x="146" y="53"/>
                      <a:pt x="135" y="61"/>
                      <a:pt x="146" y="56"/>
                    </a:cubicBezTo>
                    <a:cubicBezTo>
                      <a:pt x="152" y="54"/>
                      <a:pt x="163" y="50"/>
                      <a:pt x="158" y="48"/>
                    </a:cubicBezTo>
                    <a:cubicBezTo>
                      <a:pt x="155" y="47"/>
                      <a:pt x="155" y="50"/>
                      <a:pt x="149" y="47"/>
                    </a:cubicBezTo>
                    <a:cubicBezTo>
                      <a:pt x="143" y="44"/>
                      <a:pt x="154" y="44"/>
                      <a:pt x="149" y="42"/>
                    </a:cubicBezTo>
                    <a:cubicBezTo>
                      <a:pt x="144" y="40"/>
                      <a:pt x="122" y="42"/>
                      <a:pt x="134" y="47"/>
                    </a:cubicBezTo>
                    <a:cubicBezTo>
                      <a:pt x="135" y="48"/>
                      <a:pt x="135" y="48"/>
                      <a:pt x="131" y="51"/>
                    </a:cubicBezTo>
                    <a:close/>
                    <a:moveTo>
                      <a:pt x="131" y="16"/>
                    </a:moveTo>
                    <a:cubicBezTo>
                      <a:pt x="140" y="16"/>
                      <a:pt x="135" y="17"/>
                      <a:pt x="123" y="19"/>
                    </a:cubicBezTo>
                    <a:cubicBezTo>
                      <a:pt x="111" y="22"/>
                      <a:pt x="129" y="23"/>
                      <a:pt x="138" y="23"/>
                    </a:cubicBezTo>
                    <a:cubicBezTo>
                      <a:pt x="146" y="23"/>
                      <a:pt x="151" y="31"/>
                      <a:pt x="157" y="25"/>
                    </a:cubicBezTo>
                    <a:cubicBezTo>
                      <a:pt x="163" y="20"/>
                      <a:pt x="161" y="25"/>
                      <a:pt x="167" y="23"/>
                    </a:cubicBezTo>
                    <a:cubicBezTo>
                      <a:pt x="173" y="22"/>
                      <a:pt x="164" y="20"/>
                      <a:pt x="177" y="16"/>
                    </a:cubicBezTo>
                    <a:cubicBezTo>
                      <a:pt x="184" y="14"/>
                      <a:pt x="177" y="9"/>
                      <a:pt x="172" y="9"/>
                    </a:cubicBezTo>
                    <a:cubicBezTo>
                      <a:pt x="169" y="11"/>
                      <a:pt x="164" y="8"/>
                      <a:pt x="157" y="6"/>
                    </a:cubicBezTo>
                    <a:cubicBezTo>
                      <a:pt x="149" y="6"/>
                      <a:pt x="154" y="11"/>
                      <a:pt x="149" y="9"/>
                    </a:cubicBezTo>
                    <a:cubicBezTo>
                      <a:pt x="144" y="9"/>
                      <a:pt x="151" y="6"/>
                      <a:pt x="148" y="5"/>
                    </a:cubicBezTo>
                    <a:cubicBezTo>
                      <a:pt x="146" y="3"/>
                      <a:pt x="141" y="3"/>
                      <a:pt x="141" y="9"/>
                    </a:cubicBezTo>
                    <a:cubicBezTo>
                      <a:pt x="141" y="14"/>
                      <a:pt x="140" y="14"/>
                      <a:pt x="137" y="9"/>
                    </a:cubicBezTo>
                    <a:cubicBezTo>
                      <a:pt x="134" y="5"/>
                      <a:pt x="135" y="11"/>
                      <a:pt x="123" y="6"/>
                    </a:cubicBezTo>
                    <a:cubicBezTo>
                      <a:pt x="111" y="0"/>
                      <a:pt x="126" y="13"/>
                      <a:pt x="117" y="8"/>
                    </a:cubicBezTo>
                    <a:cubicBezTo>
                      <a:pt x="106" y="3"/>
                      <a:pt x="120" y="13"/>
                      <a:pt x="112" y="9"/>
                    </a:cubicBezTo>
                    <a:cubicBezTo>
                      <a:pt x="105" y="8"/>
                      <a:pt x="103" y="11"/>
                      <a:pt x="108" y="13"/>
                    </a:cubicBezTo>
                    <a:cubicBezTo>
                      <a:pt x="112" y="16"/>
                      <a:pt x="105" y="13"/>
                      <a:pt x="112" y="17"/>
                    </a:cubicBezTo>
                    <a:cubicBezTo>
                      <a:pt x="117" y="20"/>
                      <a:pt x="120" y="16"/>
                      <a:pt x="131" y="16"/>
                    </a:cubicBezTo>
                    <a:close/>
                    <a:moveTo>
                      <a:pt x="196" y="179"/>
                    </a:moveTo>
                    <a:cubicBezTo>
                      <a:pt x="196" y="177"/>
                      <a:pt x="201" y="177"/>
                      <a:pt x="202" y="176"/>
                    </a:cubicBezTo>
                    <a:cubicBezTo>
                      <a:pt x="204" y="174"/>
                      <a:pt x="202" y="174"/>
                      <a:pt x="205" y="174"/>
                    </a:cubicBezTo>
                    <a:cubicBezTo>
                      <a:pt x="207" y="176"/>
                      <a:pt x="210" y="176"/>
                      <a:pt x="209" y="172"/>
                    </a:cubicBezTo>
                    <a:cubicBezTo>
                      <a:pt x="209" y="172"/>
                      <a:pt x="209" y="172"/>
                      <a:pt x="209" y="171"/>
                    </a:cubicBezTo>
                    <a:cubicBezTo>
                      <a:pt x="205" y="171"/>
                      <a:pt x="205" y="172"/>
                      <a:pt x="204" y="171"/>
                    </a:cubicBezTo>
                    <a:cubicBezTo>
                      <a:pt x="202" y="169"/>
                      <a:pt x="202" y="172"/>
                      <a:pt x="201" y="172"/>
                    </a:cubicBezTo>
                    <a:cubicBezTo>
                      <a:pt x="199" y="172"/>
                      <a:pt x="198" y="172"/>
                      <a:pt x="199" y="172"/>
                    </a:cubicBezTo>
                    <a:cubicBezTo>
                      <a:pt x="199" y="171"/>
                      <a:pt x="201" y="169"/>
                      <a:pt x="196" y="168"/>
                    </a:cubicBezTo>
                    <a:cubicBezTo>
                      <a:pt x="193" y="168"/>
                      <a:pt x="193" y="166"/>
                      <a:pt x="192" y="166"/>
                    </a:cubicBezTo>
                    <a:cubicBezTo>
                      <a:pt x="189" y="166"/>
                      <a:pt x="190" y="165"/>
                      <a:pt x="198" y="168"/>
                    </a:cubicBezTo>
                    <a:cubicBezTo>
                      <a:pt x="204" y="169"/>
                      <a:pt x="204" y="165"/>
                      <a:pt x="207" y="165"/>
                    </a:cubicBezTo>
                    <a:cubicBezTo>
                      <a:pt x="210" y="165"/>
                      <a:pt x="212" y="162"/>
                      <a:pt x="209" y="162"/>
                    </a:cubicBezTo>
                    <a:cubicBezTo>
                      <a:pt x="205" y="162"/>
                      <a:pt x="207" y="160"/>
                      <a:pt x="205" y="160"/>
                    </a:cubicBezTo>
                    <a:cubicBezTo>
                      <a:pt x="202" y="160"/>
                      <a:pt x="204" y="157"/>
                      <a:pt x="201" y="159"/>
                    </a:cubicBezTo>
                    <a:cubicBezTo>
                      <a:pt x="199" y="160"/>
                      <a:pt x="201" y="157"/>
                      <a:pt x="198" y="159"/>
                    </a:cubicBezTo>
                    <a:cubicBezTo>
                      <a:pt x="195" y="159"/>
                      <a:pt x="198" y="157"/>
                      <a:pt x="195" y="155"/>
                    </a:cubicBezTo>
                    <a:cubicBezTo>
                      <a:pt x="190" y="155"/>
                      <a:pt x="189" y="159"/>
                      <a:pt x="189" y="162"/>
                    </a:cubicBezTo>
                    <a:cubicBezTo>
                      <a:pt x="190" y="163"/>
                      <a:pt x="189" y="160"/>
                      <a:pt x="187" y="162"/>
                    </a:cubicBezTo>
                    <a:cubicBezTo>
                      <a:pt x="186" y="162"/>
                      <a:pt x="184" y="162"/>
                      <a:pt x="186" y="160"/>
                    </a:cubicBezTo>
                    <a:cubicBezTo>
                      <a:pt x="189" y="159"/>
                      <a:pt x="189" y="157"/>
                      <a:pt x="187" y="159"/>
                    </a:cubicBezTo>
                    <a:cubicBezTo>
                      <a:pt x="186" y="159"/>
                      <a:pt x="186" y="159"/>
                      <a:pt x="186" y="157"/>
                    </a:cubicBezTo>
                    <a:cubicBezTo>
                      <a:pt x="187" y="157"/>
                      <a:pt x="190" y="155"/>
                      <a:pt x="190" y="154"/>
                    </a:cubicBezTo>
                    <a:cubicBezTo>
                      <a:pt x="190" y="152"/>
                      <a:pt x="187" y="155"/>
                      <a:pt x="187" y="154"/>
                    </a:cubicBezTo>
                    <a:cubicBezTo>
                      <a:pt x="187" y="152"/>
                      <a:pt x="186" y="154"/>
                      <a:pt x="184" y="152"/>
                    </a:cubicBezTo>
                    <a:cubicBezTo>
                      <a:pt x="181" y="151"/>
                      <a:pt x="183" y="154"/>
                      <a:pt x="181" y="154"/>
                    </a:cubicBezTo>
                    <a:cubicBezTo>
                      <a:pt x="180" y="152"/>
                      <a:pt x="178" y="155"/>
                      <a:pt x="180" y="155"/>
                    </a:cubicBezTo>
                    <a:cubicBezTo>
                      <a:pt x="183" y="155"/>
                      <a:pt x="180" y="157"/>
                      <a:pt x="180" y="157"/>
                    </a:cubicBezTo>
                    <a:cubicBezTo>
                      <a:pt x="181" y="157"/>
                      <a:pt x="178" y="157"/>
                      <a:pt x="178" y="159"/>
                    </a:cubicBezTo>
                    <a:cubicBezTo>
                      <a:pt x="178" y="160"/>
                      <a:pt x="177" y="159"/>
                      <a:pt x="178" y="160"/>
                    </a:cubicBezTo>
                    <a:cubicBezTo>
                      <a:pt x="178" y="162"/>
                      <a:pt x="178" y="162"/>
                      <a:pt x="175" y="163"/>
                    </a:cubicBezTo>
                    <a:cubicBezTo>
                      <a:pt x="172" y="165"/>
                      <a:pt x="175" y="160"/>
                      <a:pt x="175" y="159"/>
                    </a:cubicBezTo>
                    <a:cubicBezTo>
                      <a:pt x="175" y="159"/>
                      <a:pt x="177" y="155"/>
                      <a:pt x="175" y="155"/>
                    </a:cubicBezTo>
                    <a:cubicBezTo>
                      <a:pt x="173" y="154"/>
                      <a:pt x="169" y="159"/>
                      <a:pt x="167" y="162"/>
                    </a:cubicBezTo>
                    <a:cubicBezTo>
                      <a:pt x="164" y="165"/>
                      <a:pt x="167" y="163"/>
                      <a:pt x="164" y="166"/>
                    </a:cubicBezTo>
                    <a:cubicBezTo>
                      <a:pt x="163" y="168"/>
                      <a:pt x="163" y="166"/>
                      <a:pt x="163" y="166"/>
                    </a:cubicBezTo>
                    <a:cubicBezTo>
                      <a:pt x="161" y="168"/>
                      <a:pt x="160" y="166"/>
                      <a:pt x="161" y="165"/>
                    </a:cubicBezTo>
                    <a:cubicBezTo>
                      <a:pt x="164" y="163"/>
                      <a:pt x="163" y="163"/>
                      <a:pt x="163" y="163"/>
                    </a:cubicBezTo>
                    <a:cubicBezTo>
                      <a:pt x="166" y="160"/>
                      <a:pt x="161" y="162"/>
                      <a:pt x="166" y="159"/>
                    </a:cubicBezTo>
                    <a:cubicBezTo>
                      <a:pt x="169" y="155"/>
                      <a:pt x="170" y="155"/>
                      <a:pt x="167" y="155"/>
                    </a:cubicBezTo>
                    <a:cubicBezTo>
                      <a:pt x="164" y="155"/>
                      <a:pt x="164" y="152"/>
                      <a:pt x="164" y="155"/>
                    </a:cubicBezTo>
                    <a:cubicBezTo>
                      <a:pt x="164" y="159"/>
                      <a:pt x="164" y="155"/>
                      <a:pt x="163" y="155"/>
                    </a:cubicBezTo>
                    <a:cubicBezTo>
                      <a:pt x="161" y="154"/>
                      <a:pt x="161" y="155"/>
                      <a:pt x="160" y="154"/>
                    </a:cubicBezTo>
                    <a:cubicBezTo>
                      <a:pt x="160" y="154"/>
                      <a:pt x="158" y="154"/>
                      <a:pt x="158" y="155"/>
                    </a:cubicBezTo>
                    <a:cubicBezTo>
                      <a:pt x="160" y="155"/>
                      <a:pt x="160" y="157"/>
                      <a:pt x="158" y="157"/>
                    </a:cubicBezTo>
                    <a:cubicBezTo>
                      <a:pt x="155" y="155"/>
                      <a:pt x="155" y="157"/>
                      <a:pt x="158" y="157"/>
                    </a:cubicBezTo>
                    <a:cubicBezTo>
                      <a:pt x="161" y="159"/>
                      <a:pt x="161" y="160"/>
                      <a:pt x="158" y="159"/>
                    </a:cubicBezTo>
                    <a:cubicBezTo>
                      <a:pt x="155" y="157"/>
                      <a:pt x="158" y="159"/>
                      <a:pt x="154" y="162"/>
                    </a:cubicBezTo>
                    <a:cubicBezTo>
                      <a:pt x="148" y="163"/>
                      <a:pt x="152" y="163"/>
                      <a:pt x="149" y="165"/>
                    </a:cubicBezTo>
                    <a:cubicBezTo>
                      <a:pt x="146" y="166"/>
                      <a:pt x="151" y="166"/>
                      <a:pt x="148" y="166"/>
                    </a:cubicBezTo>
                    <a:cubicBezTo>
                      <a:pt x="146" y="168"/>
                      <a:pt x="151" y="168"/>
                      <a:pt x="149" y="169"/>
                    </a:cubicBezTo>
                    <a:cubicBezTo>
                      <a:pt x="149" y="169"/>
                      <a:pt x="144" y="169"/>
                      <a:pt x="146" y="166"/>
                    </a:cubicBezTo>
                    <a:cubicBezTo>
                      <a:pt x="148" y="165"/>
                      <a:pt x="143" y="165"/>
                      <a:pt x="141" y="165"/>
                    </a:cubicBezTo>
                    <a:cubicBezTo>
                      <a:pt x="140" y="165"/>
                      <a:pt x="140" y="163"/>
                      <a:pt x="140" y="165"/>
                    </a:cubicBezTo>
                    <a:cubicBezTo>
                      <a:pt x="138" y="165"/>
                      <a:pt x="137" y="162"/>
                      <a:pt x="137" y="165"/>
                    </a:cubicBezTo>
                    <a:cubicBezTo>
                      <a:pt x="137" y="168"/>
                      <a:pt x="135" y="163"/>
                      <a:pt x="134" y="165"/>
                    </a:cubicBezTo>
                    <a:cubicBezTo>
                      <a:pt x="131" y="166"/>
                      <a:pt x="134" y="166"/>
                      <a:pt x="134" y="166"/>
                    </a:cubicBezTo>
                    <a:cubicBezTo>
                      <a:pt x="134" y="168"/>
                      <a:pt x="135" y="166"/>
                      <a:pt x="137" y="168"/>
                    </a:cubicBezTo>
                    <a:cubicBezTo>
                      <a:pt x="137" y="168"/>
                      <a:pt x="138" y="168"/>
                      <a:pt x="138" y="169"/>
                    </a:cubicBezTo>
                    <a:cubicBezTo>
                      <a:pt x="137" y="169"/>
                      <a:pt x="137" y="169"/>
                      <a:pt x="138" y="171"/>
                    </a:cubicBezTo>
                    <a:cubicBezTo>
                      <a:pt x="140" y="172"/>
                      <a:pt x="138" y="172"/>
                      <a:pt x="135" y="169"/>
                    </a:cubicBezTo>
                    <a:cubicBezTo>
                      <a:pt x="132" y="168"/>
                      <a:pt x="131" y="168"/>
                      <a:pt x="132" y="169"/>
                    </a:cubicBezTo>
                    <a:cubicBezTo>
                      <a:pt x="132" y="169"/>
                      <a:pt x="131" y="171"/>
                      <a:pt x="131" y="169"/>
                    </a:cubicBezTo>
                    <a:cubicBezTo>
                      <a:pt x="131" y="168"/>
                      <a:pt x="128" y="171"/>
                      <a:pt x="126" y="171"/>
                    </a:cubicBezTo>
                    <a:cubicBezTo>
                      <a:pt x="126" y="172"/>
                      <a:pt x="128" y="176"/>
                      <a:pt x="122" y="179"/>
                    </a:cubicBezTo>
                    <a:cubicBezTo>
                      <a:pt x="125" y="176"/>
                      <a:pt x="125" y="172"/>
                      <a:pt x="125" y="169"/>
                    </a:cubicBezTo>
                    <a:cubicBezTo>
                      <a:pt x="125" y="168"/>
                      <a:pt x="125" y="171"/>
                      <a:pt x="123" y="169"/>
                    </a:cubicBezTo>
                    <a:cubicBezTo>
                      <a:pt x="123" y="169"/>
                      <a:pt x="123" y="169"/>
                      <a:pt x="122" y="171"/>
                    </a:cubicBezTo>
                    <a:cubicBezTo>
                      <a:pt x="120" y="174"/>
                      <a:pt x="122" y="172"/>
                      <a:pt x="120" y="174"/>
                    </a:cubicBezTo>
                    <a:cubicBezTo>
                      <a:pt x="119" y="176"/>
                      <a:pt x="119" y="174"/>
                      <a:pt x="120" y="172"/>
                    </a:cubicBezTo>
                    <a:cubicBezTo>
                      <a:pt x="122" y="169"/>
                      <a:pt x="117" y="171"/>
                      <a:pt x="116" y="172"/>
                    </a:cubicBezTo>
                    <a:cubicBezTo>
                      <a:pt x="111" y="176"/>
                      <a:pt x="114" y="174"/>
                      <a:pt x="114" y="176"/>
                    </a:cubicBezTo>
                    <a:cubicBezTo>
                      <a:pt x="114" y="177"/>
                      <a:pt x="119" y="176"/>
                      <a:pt x="119" y="180"/>
                    </a:cubicBezTo>
                    <a:cubicBezTo>
                      <a:pt x="114" y="179"/>
                      <a:pt x="119" y="179"/>
                      <a:pt x="116" y="177"/>
                    </a:cubicBezTo>
                    <a:cubicBezTo>
                      <a:pt x="112" y="177"/>
                      <a:pt x="114" y="174"/>
                      <a:pt x="111" y="176"/>
                    </a:cubicBezTo>
                    <a:cubicBezTo>
                      <a:pt x="108" y="176"/>
                      <a:pt x="109" y="176"/>
                      <a:pt x="111" y="177"/>
                    </a:cubicBezTo>
                    <a:cubicBezTo>
                      <a:pt x="112" y="179"/>
                      <a:pt x="111" y="180"/>
                      <a:pt x="109" y="177"/>
                    </a:cubicBezTo>
                    <a:cubicBezTo>
                      <a:pt x="109" y="176"/>
                      <a:pt x="106" y="174"/>
                      <a:pt x="108" y="177"/>
                    </a:cubicBezTo>
                    <a:cubicBezTo>
                      <a:pt x="108" y="179"/>
                      <a:pt x="105" y="177"/>
                      <a:pt x="106" y="180"/>
                    </a:cubicBezTo>
                    <a:cubicBezTo>
                      <a:pt x="108" y="182"/>
                      <a:pt x="105" y="180"/>
                      <a:pt x="103" y="183"/>
                    </a:cubicBezTo>
                    <a:cubicBezTo>
                      <a:pt x="100" y="185"/>
                      <a:pt x="106" y="183"/>
                      <a:pt x="103" y="185"/>
                    </a:cubicBezTo>
                    <a:cubicBezTo>
                      <a:pt x="100" y="186"/>
                      <a:pt x="102" y="186"/>
                      <a:pt x="100" y="186"/>
                    </a:cubicBezTo>
                    <a:cubicBezTo>
                      <a:pt x="97" y="188"/>
                      <a:pt x="97" y="186"/>
                      <a:pt x="94" y="190"/>
                    </a:cubicBezTo>
                    <a:cubicBezTo>
                      <a:pt x="93" y="193"/>
                      <a:pt x="99" y="190"/>
                      <a:pt x="99" y="190"/>
                    </a:cubicBezTo>
                    <a:cubicBezTo>
                      <a:pt x="99" y="191"/>
                      <a:pt x="99" y="191"/>
                      <a:pt x="102" y="190"/>
                    </a:cubicBezTo>
                    <a:cubicBezTo>
                      <a:pt x="105" y="188"/>
                      <a:pt x="102" y="191"/>
                      <a:pt x="99" y="193"/>
                    </a:cubicBezTo>
                    <a:cubicBezTo>
                      <a:pt x="96" y="193"/>
                      <a:pt x="97" y="191"/>
                      <a:pt x="94" y="191"/>
                    </a:cubicBezTo>
                    <a:cubicBezTo>
                      <a:pt x="91" y="193"/>
                      <a:pt x="90" y="193"/>
                      <a:pt x="91" y="194"/>
                    </a:cubicBezTo>
                    <a:cubicBezTo>
                      <a:pt x="93" y="194"/>
                      <a:pt x="91" y="194"/>
                      <a:pt x="93" y="194"/>
                    </a:cubicBezTo>
                    <a:cubicBezTo>
                      <a:pt x="96" y="194"/>
                      <a:pt x="93" y="196"/>
                      <a:pt x="93" y="197"/>
                    </a:cubicBezTo>
                    <a:cubicBezTo>
                      <a:pt x="93" y="200"/>
                      <a:pt x="91" y="197"/>
                      <a:pt x="91" y="196"/>
                    </a:cubicBezTo>
                    <a:cubicBezTo>
                      <a:pt x="91" y="194"/>
                      <a:pt x="90" y="193"/>
                      <a:pt x="90" y="194"/>
                    </a:cubicBezTo>
                    <a:cubicBezTo>
                      <a:pt x="88" y="196"/>
                      <a:pt x="88" y="196"/>
                      <a:pt x="88" y="196"/>
                    </a:cubicBezTo>
                    <a:cubicBezTo>
                      <a:pt x="88" y="194"/>
                      <a:pt x="85" y="196"/>
                      <a:pt x="85" y="197"/>
                    </a:cubicBezTo>
                    <a:cubicBezTo>
                      <a:pt x="85" y="197"/>
                      <a:pt x="85" y="196"/>
                      <a:pt x="88" y="197"/>
                    </a:cubicBezTo>
                    <a:cubicBezTo>
                      <a:pt x="90" y="197"/>
                      <a:pt x="90" y="197"/>
                      <a:pt x="90" y="197"/>
                    </a:cubicBezTo>
                    <a:cubicBezTo>
                      <a:pt x="88" y="197"/>
                      <a:pt x="79" y="199"/>
                      <a:pt x="80" y="200"/>
                    </a:cubicBezTo>
                    <a:cubicBezTo>
                      <a:pt x="82" y="202"/>
                      <a:pt x="79" y="202"/>
                      <a:pt x="80" y="202"/>
                    </a:cubicBezTo>
                    <a:cubicBezTo>
                      <a:pt x="84" y="203"/>
                      <a:pt x="84" y="199"/>
                      <a:pt x="88" y="200"/>
                    </a:cubicBezTo>
                    <a:cubicBezTo>
                      <a:pt x="91" y="202"/>
                      <a:pt x="88" y="200"/>
                      <a:pt x="85" y="202"/>
                    </a:cubicBezTo>
                    <a:cubicBezTo>
                      <a:pt x="82" y="202"/>
                      <a:pt x="87" y="203"/>
                      <a:pt x="82" y="203"/>
                    </a:cubicBezTo>
                    <a:cubicBezTo>
                      <a:pt x="77" y="203"/>
                      <a:pt x="82" y="205"/>
                      <a:pt x="82" y="207"/>
                    </a:cubicBezTo>
                    <a:cubicBezTo>
                      <a:pt x="80" y="207"/>
                      <a:pt x="80" y="205"/>
                      <a:pt x="79" y="207"/>
                    </a:cubicBezTo>
                    <a:cubicBezTo>
                      <a:pt x="77" y="207"/>
                      <a:pt x="77" y="208"/>
                      <a:pt x="79" y="208"/>
                    </a:cubicBezTo>
                    <a:cubicBezTo>
                      <a:pt x="79" y="208"/>
                      <a:pt x="80" y="207"/>
                      <a:pt x="84" y="208"/>
                    </a:cubicBezTo>
                    <a:cubicBezTo>
                      <a:pt x="90" y="208"/>
                      <a:pt x="85" y="207"/>
                      <a:pt x="87" y="210"/>
                    </a:cubicBezTo>
                    <a:cubicBezTo>
                      <a:pt x="87" y="211"/>
                      <a:pt x="85" y="208"/>
                      <a:pt x="82" y="208"/>
                    </a:cubicBezTo>
                    <a:cubicBezTo>
                      <a:pt x="80" y="208"/>
                      <a:pt x="79" y="210"/>
                      <a:pt x="77" y="210"/>
                    </a:cubicBezTo>
                    <a:cubicBezTo>
                      <a:pt x="76" y="208"/>
                      <a:pt x="77" y="210"/>
                      <a:pt x="74" y="210"/>
                    </a:cubicBezTo>
                    <a:cubicBezTo>
                      <a:pt x="73" y="210"/>
                      <a:pt x="76" y="211"/>
                      <a:pt x="73" y="211"/>
                    </a:cubicBezTo>
                    <a:cubicBezTo>
                      <a:pt x="68" y="211"/>
                      <a:pt x="73" y="213"/>
                      <a:pt x="71" y="214"/>
                    </a:cubicBezTo>
                    <a:cubicBezTo>
                      <a:pt x="70" y="216"/>
                      <a:pt x="70" y="214"/>
                      <a:pt x="68" y="216"/>
                    </a:cubicBezTo>
                    <a:cubicBezTo>
                      <a:pt x="67" y="217"/>
                      <a:pt x="70" y="216"/>
                      <a:pt x="68" y="217"/>
                    </a:cubicBezTo>
                    <a:cubicBezTo>
                      <a:pt x="67" y="217"/>
                      <a:pt x="68" y="219"/>
                      <a:pt x="68" y="217"/>
                    </a:cubicBezTo>
                    <a:cubicBezTo>
                      <a:pt x="67" y="217"/>
                      <a:pt x="65" y="217"/>
                      <a:pt x="67" y="219"/>
                    </a:cubicBezTo>
                    <a:cubicBezTo>
                      <a:pt x="68" y="219"/>
                      <a:pt x="65" y="221"/>
                      <a:pt x="68" y="221"/>
                    </a:cubicBezTo>
                    <a:cubicBezTo>
                      <a:pt x="71" y="221"/>
                      <a:pt x="65" y="222"/>
                      <a:pt x="67" y="222"/>
                    </a:cubicBezTo>
                    <a:cubicBezTo>
                      <a:pt x="67" y="222"/>
                      <a:pt x="73" y="221"/>
                      <a:pt x="74" y="221"/>
                    </a:cubicBezTo>
                    <a:cubicBezTo>
                      <a:pt x="77" y="221"/>
                      <a:pt x="74" y="222"/>
                      <a:pt x="71" y="222"/>
                    </a:cubicBezTo>
                    <a:cubicBezTo>
                      <a:pt x="68" y="224"/>
                      <a:pt x="67" y="222"/>
                      <a:pt x="65" y="224"/>
                    </a:cubicBezTo>
                    <a:cubicBezTo>
                      <a:pt x="62" y="225"/>
                      <a:pt x="67" y="224"/>
                      <a:pt x="67" y="225"/>
                    </a:cubicBezTo>
                    <a:cubicBezTo>
                      <a:pt x="67" y="227"/>
                      <a:pt x="64" y="225"/>
                      <a:pt x="64" y="228"/>
                    </a:cubicBezTo>
                    <a:cubicBezTo>
                      <a:pt x="62" y="230"/>
                      <a:pt x="61" y="228"/>
                      <a:pt x="61" y="230"/>
                    </a:cubicBezTo>
                    <a:cubicBezTo>
                      <a:pt x="62" y="233"/>
                      <a:pt x="62" y="231"/>
                      <a:pt x="64" y="233"/>
                    </a:cubicBezTo>
                    <a:cubicBezTo>
                      <a:pt x="64" y="235"/>
                      <a:pt x="61" y="235"/>
                      <a:pt x="61" y="236"/>
                    </a:cubicBezTo>
                    <a:cubicBezTo>
                      <a:pt x="62" y="236"/>
                      <a:pt x="62" y="238"/>
                      <a:pt x="59" y="238"/>
                    </a:cubicBezTo>
                    <a:cubicBezTo>
                      <a:pt x="58" y="238"/>
                      <a:pt x="58" y="239"/>
                      <a:pt x="56" y="239"/>
                    </a:cubicBezTo>
                    <a:cubicBezTo>
                      <a:pt x="55" y="239"/>
                      <a:pt x="55" y="241"/>
                      <a:pt x="53" y="241"/>
                    </a:cubicBezTo>
                    <a:cubicBezTo>
                      <a:pt x="52" y="241"/>
                      <a:pt x="50" y="241"/>
                      <a:pt x="50" y="241"/>
                    </a:cubicBezTo>
                    <a:cubicBezTo>
                      <a:pt x="50" y="242"/>
                      <a:pt x="50" y="241"/>
                      <a:pt x="53" y="241"/>
                    </a:cubicBezTo>
                    <a:cubicBezTo>
                      <a:pt x="55" y="242"/>
                      <a:pt x="52" y="244"/>
                      <a:pt x="55" y="242"/>
                    </a:cubicBezTo>
                    <a:cubicBezTo>
                      <a:pt x="56" y="241"/>
                      <a:pt x="56" y="242"/>
                      <a:pt x="55" y="242"/>
                    </a:cubicBezTo>
                    <a:cubicBezTo>
                      <a:pt x="53" y="244"/>
                      <a:pt x="56" y="244"/>
                      <a:pt x="56" y="245"/>
                    </a:cubicBezTo>
                    <a:cubicBezTo>
                      <a:pt x="55" y="247"/>
                      <a:pt x="55" y="247"/>
                      <a:pt x="53" y="247"/>
                    </a:cubicBezTo>
                    <a:cubicBezTo>
                      <a:pt x="52" y="247"/>
                      <a:pt x="52" y="244"/>
                      <a:pt x="50" y="244"/>
                    </a:cubicBezTo>
                    <a:cubicBezTo>
                      <a:pt x="49" y="245"/>
                      <a:pt x="50" y="245"/>
                      <a:pt x="50" y="245"/>
                    </a:cubicBezTo>
                    <a:cubicBezTo>
                      <a:pt x="47" y="245"/>
                      <a:pt x="47" y="247"/>
                      <a:pt x="47" y="249"/>
                    </a:cubicBezTo>
                    <a:cubicBezTo>
                      <a:pt x="47" y="250"/>
                      <a:pt x="44" y="249"/>
                      <a:pt x="44" y="250"/>
                    </a:cubicBezTo>
                    <a:cubicBezTo>
                      <a:pt x="42" y="255"/>
                      <a:pt x="39" y="253"/>
                      <a:pt x="39" y="256"/>
                    </a:cubicBezTo>
                    <a:cubicBezTo>
                      <a:pt x="38" y="258"/>
                      <a:pt x="41" y="256"/>
                      <a:pt x="41" y="256"/>
                    </a:cubicBezTo>
                    <a:cubicBezTo>
                      <a:pt x="41" y="258"/>
                      <a:pt x="42" y="258"/>
                      <a:pt x="42" y="258"/>
                    </a:cubicBezTo>
                    <a:cubicBezTo>
                      <a:pt x="42" y="259"/>
                      <a:pt x="45" y="259"/>
                      <a:pt x="50" y="256"/>
                    </a:cubicBezTo>
                    <a:cubicBezTo>
                      <a:pt x="55" y="253"/>
                      <a:pt x="47" y="255"/>
                      <a:pt x="50" y="253"/>
                    </a:cubicBezTo>
                    <a:cubicBezTo>
                      <a:pt x="53" y="252"/>
                      <a:pt x="52" y="252"/>
                      <a:pt x="53" y="252"/>
                    </a:cubicBezTo>
                    <a:cubicBezTo>
                      <a:pt x="56" y="253"/>
                      <a:pt x="49" y="253"/>
                      <a:pt x="53" y="255"/>
                    </a:cubicBezTo>
                    <a:cubicBezTo>
                      <a:pt x="56" y="255"/>
                      <a:pt x="53" y="256"/>
                      <a:pt x="50" y="258"/>
                    </a:cubicBezTo>
                    <a:cubicBezTo>
                      <a:pt x="47" y="259"/>
                      <a:pt x="50" y="258"/>
                      <a:pt x="49" y="259"/>
                    </a:cubicBezTo>
                    <a:cubicBezTo>
                      <a:pt x="49" y="259"/>
                      <a:pt x="52" y="259"/>
                      <a:pt x="50" y="261"/>
                    </a:cubicBezTo>
                    <a:cubicBezTo>
                      <a:pt x="49" y="261"/>
                      <a:pt x="45" y="259"/>
                      <a:pt x="42" y="261"/>
                    </a:cubicBezTo>
                    <a:cubicBezTo>
                      <a:pt x="41" y="262"/>
                      <a:pt x="42" y="261"/>
                      <a:pt x="41" y="259"/>
                    </a:cubicBezTo>
                    <a:cubicBezTo>
                      <a:pt x="39" y="256"/>
                      <a:pt x="39" y="258"/>
                      <a:pt x="38" y="258"/>
                    </a:cubicBezTo>
                    <a:cubicBezTo>
                      <a:pt x="35" y="259"/>
                      <a:pt x="36" y="261"/>
                      <a:pt x="36" y="259"/>
                    </a:cubicBezTo>
                    <a:cubicBezTo>
                      <a:pt x="35" y="259"/>
                      <a:pt x="33" y="261"/>
                      <a:pt x="30" y="261"/>
                    </a:cubicBezTo>
                    <a:cubicBezTo>
                      <a:pt x="27" y="262"/>
                      <a:pt x="35" y="264"/>
                      <a:pt x="30" y="264"/>
                    </a:cubicBezTo>
                    <a:cubicBezTo>
                      <a:pt x="26" y="264"/>
                      <a:pt x="32" y="266"/>
                      <a:pt x="27" y="266"/>
                    </a:cubicBezTo>
                    <a:cubicBezTo>
                      <a:pt x="23" y="264"/>
                      <a:pt x="29" y="266"/>
                      <a:pt x="26" y="267"/>
                    </a:cubicBezTo>
                    <a:cubicBezTo>
                      <a:pt x="23" y="267"/>
                      <a:pt x="20" y="266"/>
                      <a:pt x="18" y="267"/>
                    </a:cubicBezTo>
                    <a:cubicBezTo>
                      <a:pt x="18" y="267"/>
                      <a:pt x="18" y="270"/>
                      <a:pt x="21" y="269"/>
                    </a:cubicBezTo>
                    <a:cubicBezTo>
                      <a:pt x="26" y="269"/>
                      <a:pt x="21" y="269"/>
                      <a:pt x="23" y="272"/>
                    </a:cubicBezTo>
                    <a:cubicBezTo>
                      <a:pt x="24" y="273"/>
                      <a:pt x="21" y="270"/>
                      <a:pt x="15" y="272"/>
                    </a:cubicBezTo>
                    <a:cubicBezTo>
                      <a:pt x="10" y="273"/>
                      <a:pt x="18" y="272"/>
                      <a:pt x="18" y="273"/>
                    </a:cubicBezTo>
                    <a:cubicBezTo>
                      <a:pt x="20" y="276"/>
                      <a:pt x="18" y="272"/>
                      <a:pt x="13" y="275"/>
                    </a:cubicBezTo>
                    <a:cubicBezTo>
                      <a:pt x="9" y="276"/>
                      <a:pt x="12" y="278"/>
                      <a:pt x="10" y="276"/>
                    </a:cubicBezTo>
                    <a:cubicBezTo>
                      <a:pt x="7" y="276"/>
                      <a:pt x="10" y="278"/>
                      <a:pt x="7" y="278"/>
                    </a:cubicBezTo>
                    <a:cubicBezTo>
                      <a:pt x="4" y="276"/>
                      <a:pt x="3" y="276"/>
                      <a:pt x="4" y="278"/>
                    </a:cubicBezTo>
                    <a:cubicBezTo>
                      <a:pt x="6" y="280"/>
                      <a:pt x="1" y="278"/>
                      <a:pt x="3" y="280"/>
                    </a:cubicBezTo>
                    <a:cubicBezTo>
                      <a:pt x="4" y="281"/>
                      <a:pt x="9" y="280"/>
                      <a:pt x="13" y="281"/>
                    </a:cubicBezTo>
                    <a:cubicBezTo>
                      <a:pt x="17" y="283"/>
                      <a:pt x="12" y="281"/>
                      <a:pt x="10" y="283"/>
                    </a:cubicBezTo>
                    <a:cubicBezTo>
                      <a:pt x="10" y="283"/>
                      <a:pt x="9" y="280"/>
                      <a:pt x="4" y="283"/>
                    </a:cubicBezTo>
                    <a:cubicBezTo>
                      <a:pt x="0" y="284"/>
                      <a:pt x="7" y="286"/>
                      <a:pt x="4" y="287"/>
                    </a:cubicBezTo>
                    <a:cubicBezTo>
                      <a:pt x="0" y="287"/>
                      <a:pt x="4" y="287"/>
                      <a:pt x="3" y="289"/>
                    </a:cubicBezTo>
                    <a:cubicBezTo>
                      <a:pt x="3" y="290"/>
                      <a:pt x="4" y="292"/>
                      <a:pt x="7" y="290"/>
                    </a:cubicBezTo>
                    <a:cubicBezTo>
                      <a:pt x="10" y="289"/>
                      <a:pt x="13" y="292"/>
                      <a:pt x="15" y="290"/>
                    </a:cubicBezTo>
                    <a:cubicBezTo>
                      <a:pt x="15" y="287"/>
                      <a:pt x="17" y="290"/>
                      <a:pt x="20" y="290"/>
                    </a:cubicBezTo>
                    <a:cubicBezTo>
                      <a:pt x="23" y="289"/>
                      <a:pt x="24" y="290"/>
                      <a:pt x="21" y="290"/>
                    </a:cubicBezTo>
                    <a:cubicBezTo>
                      <a:pt x="17" y="292"/>
                      <a:pt x="23" y="295"/>
                      <a:pt x="18" y="292"/>
                    </a:cubicBezTo>
                    <a:cubicBezTo>
                      <a:pt x="15" y="289"/>
                      <a:pt x="15" y="294"/>
                      <a:pt x="13" y="292"/>
                    </a:cubicBezTo>
                    <a:cubicBezTo>
                      <a:pt x="10" y="290"/>
                      <a:pt x="7" y="294"/>
                      <a:pt x="6" y="292"/>
                    </a:cubicBezTo>
                    <a:cubicBezTo>
                      <a:pt x="3" y="292"/>
                      <a:pt x="3" y="292"/>
                      <a:pt x="3" y="294"/>
                    </a:cubicBezTo>
                    <a:cubicBezTo>
                      <a:pt x="3" y="297"/>
                      <a:pt x="6" y="294"/>
                      <a:pt x="6" y="297"/>
                    </a:cubicBezTo>
                    <a:cubicBezTo>
                      <a:pt x="6" y="298"/>
                      <a:pt x="3" y="294"/>
                      <a:pt x="3" y="297"/>
                    </a:cubicBezTo>
                    <a:cubicBezTo>
                      <a:pt x="4" y="300"/>
                      <a:pt x="6" y="297"/>
                      <a:pt x="6" y="298"/>
                    </a:cubicBezTo>
                    <a:cubicBezTo>
                      <a:pt x="6" y="301"/>
                      <a:pt x="3" y="301"/>
                      <a:pt x="3" y="301"/>
                    </a:cubicBezTo>
                    <a:cubicBezTo>
                      <a:pt x="6" y="303"/>
                      <a:pt x="6" y="304"/>
                      <a:pt x="7" y="303"/>
                    </a:cubicBezTo>
                    <a:cubicBezTo>
                      <a:pt x="7" y="301"/>
                      <a:pt x="7" y="304"/>
                      <a:pt x="9" y="304"/>
                    </a:cubicBezTo>
                    <a:cubicBezTo>
                      <a:pt x="9" y="303"/>
                      <a:pt x="7" y="306"/>
                      <a:pt x="9" y="306"/>
                    </a:cubicBezTo>
                    <a:cubicBezTo>
                      <a:pt x="10" y="306"/>
                      <a:pt x="9" y="303"/>
                      <a:pt x="12" y="303"/>
                    </a:cubicBezTo>
                    <a:cubicBezTo>
                      <a:pt x="13" y="301"/>
                      <a:pt x="10" y="306"/>
                      <a:pt x="9" y="308"/>
                    </a:cubicBezTo>
                    <a:cubicBezTo>
                      <a:pt x="6" y="308"/>
                      <a:pt x="10" y="308"/>
                      <a:pt x="9" y="309"/>
                    </a:cubicBezTo>
                    <a:cubicBezTo>
                      <a:pt x="7" y="311"/>
                      <a:pt x="9" y="308"/>
                      <a:pt x="6" y="311"/>
                    </a:cubicBezTo>
                    <a:cubicBezTo>
                      <a:pt x="3" y="314"/>
                      <a:pt x="6" y="317"/>
                      <a:pt x="7" y="315"/>
                    </a:cubicBezTo>
                    <a:cubicBezTo>
                      <a:pt x="7" y="314"/>
                      <a:pt x="9" y="315"/>
                      <a:pt x="9" y="314"/>
                    </a:cubicBezTo>
                    <a:cubicBezTo>
                      <a:pt x="10" y="312"/>
                      <a:pt x="12" y="314"/>
                      <a:pt x="10" y="315"/>
                    </a:cubicBezTo>
                    <a:cubicBezTo>
                      <a:pt x="9" y="315"/>
                      <a:pt x="12" y="315"/>
                      <a:pt x="10" y="317"/>
                    </a:cubicBezTo>
                    <a:cubicBezTo>
                      <a:pt x="9" y="318"/>
                      <a:pt x="12" y="318"/>
                      <a:pt x="10" y="320"/>
                    </a:cubicBezTo>
                    <a:cubicBezTo>
                      <a:pt x="7" y="320"/>
                      <a:pt x="7" y="317"/>
                      <a:pt x="7" y="320"/>
                    </a:cubicBezTo>
                    <a:cubicBezTo>
                      <a:pt x="6" y="323"/>
                      <a:pt x="6" y="323"/>
                      <a:pt x="7" y="323"/>
                    </a:cubicBezTo>
                    <a:cubicBezTo>
                      <a:pt x="9" y="326"/>
                      <a:pt x="10" y="325"/>
                      <a:pt x="10" y="326"/>
                    </a:cubicBezTo>
                    <a:cubicBezTo>
                      <a:pt x="12" y="328"/>
                      <a:pt x="13" y="328"/>
                      <a:pt x="15" y="329"/>
                    </a:cubicBezTo>
                    <a:cubicBezTo>
                      <a:pt x="17" y="329"/>
                      <a:pt x="15" y="329"/>
                      <a:pt x="17" y="331"/>
                    </a:cubicBezTo>
                    <a:cubicBezTo>
                      <a:pt x="17" y="332"/>
                      <a:pt x="17" y="329"/>
                      <a:pt x="18" y="331"/>
                    </a:cubicBezTo>
                    <a:cubicBezTo>
                      <a:pt x="20" y="331"/>
                      <a:pt x="18" y="332"/>
                      <a:pt x="20" y="331"/>
                    </a:cubicBezTo>
                    <a:cubicBezTo>
                      <a:pt x="23" y="331"/>
                      <a:pt x="27" y="331"/>
                      <a:pt x="29" y="329"/>
                    </a:cubicBezTo>
                    <a:cubicBezTo>
                      <a:pt x="30" y="329"/>
                      <a:pt x="32" y="328"/>
                      <a:pt x="33" y="325"/>
                    </a:cubicBezTo>
                    <a:cubicBezTo>
                      <a:pt x="35" y="323"/>
                      <a:pt x="36" y="325"/>
                      <a:pt x="36" y="323"/>
                    </a:cubicBezTo>
                    <a:cubicBezTo>
                      <a:pt x="36" y="321"/>
                      <a:pt x="39" y="323"/>
                      <a:pt x="38" y="321"/>
                    </a:cubicBezTo>
                    <a:cubicBezTo>
                      <a:pt x="36" y="320"/>
                      <a:pt x="41" y="321"/>
                      <a:pt x="39" y="318"/>
                    </a:cubicBezTo>
                    <a:cubicBezTo>
                      <a:pt x="39" y="317"/>
                      <a:pt x="41" y="320"/>
                      <a:pt x="42" y="318"/>
                    </a:cubicBezTo>
                    <a:cubicBezTo>
                      <a:pt x="44" y="318"/>
                      <a:pt x="45" y="320"/>
                      <a:pt x="45" y="317"/>
                    </a:cubicBezTo>
                    <a:cubicBezTo>
                      <a:pt x="45" y="314"/>
                      <a:pt x="49" y="315"/>
                      <a:pt x="45" y="314"/>
                    </a:cubicBezTo>
                    <a:cubicBezTo>
                      <a:pt x="45" y="312"/>
                      <a:pt x="44" y="311"/>
                      <a:pt x="47" y="312"/>
                    </a:cubicBezTo>
                    <a:cubicBezTo>
                      <a:pt x="49" y="314"/>
                      <a:pt x="47" y="309"/>
                      <a:pt x="49" y="311"/>
                    </a:cubicBezTo>
                    <a:cubicBezTo>
                      <a:pt x="49" y="314"/>
                      <a:pt x="47" y="312"/>
                      <a:pt x="49" y="314"/>
                    </a:cubicBezTo>
                    <a:cubicBezTo>
                      <a:pt x="49" y="315"/>
                      <a:pt x="47" y="317"/>
                      <a:pt x="50" y="317"/>
                    </a:cubicBezTo>
                    <a:cubicBezTo>
                      <a:pt x="52" y="317"/>
                      <a:pt x="50" y="317"/>
                      <a:pt x="53" y="317"/>
                    </a:cubicBezTo>
                    <a:cubicBezTo>
                      <a:pt x="53" y="317"/>
                      <a:pt x="53" y="318"/>
                      <a:pt x="55" y="320"/>
                    </a:cubicBezTo>
                    <a:cubicBezTo>
                      <a:pt x="55" y="321"/>
                      <a:pt x="58" y="318"/>
                      <a:pt x="56" y="314"/>
                    </a:cubicBezTo>
                    <a:cubicBezTo>
                      <a:pt x="55" y="311"/>
                      <a:pt x="58" y="311"/>
                      <a:pt x="58" y="309"/>
                    </a:cubicBezTo>
                    <a:cubicBezTo>
                      <a:pt x="56" y="306"/>
                      <a:pt x="59" y="309"/>
                      <a:pt x="61" y="306"/>
                    </a:cubicBezTo>
                    <a:cubicBezTo>
                      <a:pt x="64" y="303"/>
                      <a:pt x="61" y="303"/>
                      <a:pt x="62" y="301"/>
                    </a:cubicBezTo>
                    <a:cubicBezTo>
                      <a:pt x="65" y="300"/>
                      <a:pt x="59" y="294"/>
                      <a:pt x="61" y="292"/>
                    </a:cubicBezTo>
                    <a:cubicBezTo>
                      <a:pt x="61" y="290"/>
                      <a:pt x="64" y="294"/>
                      <a:pt x="64" y="290"/>
                    </a:cubicBezTo>
                    <a:cubicBezTo>
                      <a:pt x="65" y="289"/>
                      <a:pt x="67" y="287"/>
                      <a:pt x="62" y="286"/>
                    </a:cubicBezTo>
                    <a:cubicBezTo>
                      <a:pt x="56" y="283"/>
                      <a:pt x="62" y="278"/>
                      <a:pt x="61" y="273"/>
                    </a:cubicBezTo>
                    <a:cubicBezTo>
                      <a:pt x="58" y="270"/>
                      <a:pt x="61" y="270"/>
                      <a:pt x="59" y="269"/>
                    </a:cubicBezTo>
                    <a:cubicBezTo>
                      <a:pt x="58" y="267"/>
                      <a:pt x="61" y="267"/>
                      <a:pt x="59" y="264"/>
                    </a:cubicBezTo>
                    <a:cubicBezTo>
                      <a:pt x="56" y="261"/>
                      <a:pt x="61" y="261"/>
                      <a:pt x="59" y="259"/>
                    </a:cubicBezTo>
                    <a:cubicBezTo>
                      <a:pt x="59" y="256"/>
                      <a:pt x="65" y="253"/>
                      <a:pt x="67" y="252"/>
                    </a:cubicBezTo>
                    <a:cubicBezTo>
                      <a:pt x="70" y="250"/>
                      <a:pt x="74" y="255"/>
                      <a:pt x="76" y="249"/>
                    </a:cubicBezTo>
                    <a:cubicBezTo>
                      <a:pt x="77" y="245"/>
                      <a:pt x="74" y="247"/>
                      <a:pt x="73" y="245"/>
                    </a:cubicBezTo>
                    <a:cubicBezTo>
                      <a:pt x="70" y="244"/>
                      <a:pt x="77" y="239"/>
                      <a:pt x="77" y="238"/>
                    </a:cubicBezTo>
                    <a:cubicBezTo>
                      <a:pt x="77" y="235"/>
                      <a:pt x="79" y="236"/>
                      <a:pt x="79" y="233"/>
                    </a:cubicBezTo>
                    <a:cubicBezTo>
                      <a:pt x="77" y="228"/>
                      <a:pt x="80" y="230"/>
                      <a:pt x="77" y="224"/>
                    </a:cubicBezTo>
                    <a:cubicBezTo>
                      <a:pt x="77" y="222"/>
                      <a:pt x="88" y="224"/>
                      <a:pt x="85" y="221"/>
                    </a:cubicBezTo>
                    <a:cubicBezTo>
                      <a:pt x="84" y="217"/>
                      <a:pt x="87" y="219"/>
                      <a:pt x="88" y="214"/>
                    </a:cubicBezTo>
                    <a:cubicBezTo>
                      <a:pt x="91" y="211"/>
                      <a:pt x="93" y="213"/>
                      <a:pt x="93" y="210"/>
                    </a:cubicBezTo>
                    <a:cubicBezTo>
                      <a:pt x="94" y="208"/>
                      <a:pt x="91" y="207"/>
                      <a:pt x="91" y="205"/>
                    </a:cubicBezTo>
                    <a:cubicBezTo>
                      <a:pt x="91" y="203"/>
                      <a:pt x="93" y="205"/>
                      <a:pt x="96" y="200"/>
                    </a:cubicBezTo>
                    <a:cubicBezTo>
                      <a:pt x="96" y="197"/>
                      <a:pt x="99" y="197"/>
                      <a:pt x="100" y="196"/>
                    </a:cubicBezTo>
                    <a:cubicBezTo>
                      <a:pt x="102" y="196"/>
                      <a:pt x="103" y="199"/>
                      <a:pt x="106" y="197"/>
                    </a:cubicBezTo>
                    <a:cubicBezTo>
                      <a:pt x="109" y="196"/>
                      <a:pt x="105" y="191"/>
                      <a:pt x="106" y="190"/>
                    </a:cubicBezTo>
                    <a:cubicBezTo>
                      <a:pt x="111" y="186"/>
                      <a:pt x="119" y="194"/>
                      <a:pt x="123" y="191"/>
                    </a:cubicBezTo>
                    <a:cubicBezTo>
                      <a:pt x="126" y="190"/>
                      <a:pt x="119" y="191"/>
                      <a:pt x="123" y="188"/>
                    </a:cubicBezTo>
                    <a:cubicBezTo>
                      <a:pt x="128" y="183"/>
                      <a:pt x="119" y="182"/>
                      <a:pt x="128" y="182"/>
                    </a:cubicBezTo>
                    <a:cubicBezTo>
                      <a:pt x="128" y="180"/>
                      <a:pt x="131" y="183"/>
                      <a:pt x="131" y="182"/>
                    </a:cubicBezTo>
                    <a:cubicBezTo>
                      <a:pt x="131" y="182"/>
                      <a:pt x="129" y="180"/>
                      <a:pt x="131" y="179"/>
                    </a:cubicBezTo>
                    <a:cubicBezTo>
                      <a:pt x="134" y="177"/>
                      <a:pt x="137" y="180"/>
                      <a:pt x="140" y="183"/>
                    </a:cubicBezTo>
                    <a:cubicBezTo>
                      <a:pt x="143" y="186"/>
                      <a:pt x="138" y="186"/>
                      <a:pt x="143" y="186"/>
                    </a:cubicBezTo>
                    <a:cubicBezTo>
                      <a:pt x="149" y="186"/>
                      <a:pt x="146" y="188"/>
                      <a:pt x="149" y="188"/>
                    </a:cubicBezTo>
                    <a:cubicBezTo>
                      <a:pt x="154" y="186"/>
                      <a:pt x="152" y="185"/>
                      <a:pt x="154" y="185"/>
                    </a:cubicBezTo>
                    <a:cubicBezTo>
                      <a:pt x="155" y="186"/>
                      <a:pt x="158" y="186"/>
                      <a:pt x="161" y="190"/>
                    </a:cubicBezTo>
                    <a:cubicBezTo>
                      <a:pt x="161" y="188"/>
                      <a:pt x="163" y="190"/>
                      <a:pt x="163" y="186"/>
                    </a:cubicBezTo>
                    <a:cubicBezTo>
                      <a:pt x="164" y="183"/>
                      <a:pt x="170" y="185"/>
                      <a:pt x="167" y="182"/>
                    </a:cubicBezTo>
                    <a:cubicBezTo>
                      <a:pt x="166" y="179"/>
                      <a:pt x="169" y="179"/>
                      <a:pt x="169" y="176"/>
                    </a:cubicBezTo>
                    <a:cubicBezTo>
                      <a:pt x="169" y="174"/>
                      <a:pt x="170" y="171"/>
                      <a:pt x="173" y="169"/>
                    </a:cubicBezTo>
                    <a:cubicBezTo>
                      <a:pt x="177" y="168"/>
                      <a:pt x="175" y="171"/>
                      <a:pt x="181" y="168"/>
                    </a:cubicBezTo>
                    <a:cubicBezTo>
                      <a:pt x="184" y="166"/>
                      <a:pt x="184" y="166"/>
                      <a:pt x="186" y="169"/>
                    </a:cubicBezTo>
                    <a:cubicBezTo>
                      <a:pt x="187" y="171"/>
                      <a:pt x="195" y="172"/>
                      <a:pt x="196" y="176"/>
                    </a:cubicBezTo>
                    <a:cubicBezTo>
                      <a:pt x="196" y="177"/>
                      <a:pt x="189" y="180"/>
                      <a:pt x="193" y="182"/>
                    </a:cubicBezTo>
                    <a:cubicBezTo>
                      <a:pt x="195" y="183"/>
                      <a:pt x="195" y="182"/>
                      <a:pt x="196" y="179"/>
                    </a:cubicBezTo>
                    <a:close/>
                    <a:moveTo>
                      <a:pt x="154" y="157"/>
                    </a:moveTo>
                    <a:cubicBezTo>
                      <a:pt x="157" y="159"/>
                      <a:pt x="155" y="160"/>
                      <a:pt x="154" y="160"/>
                    </a:cubicBezTo>
                    <a:cubicBezTo>
                      <a:pt x="152" y="162"/>
                      <a:pt x="151" y="157"/>
                      <a:pt x="154" y="157"/>
                    </a:cubicBezTo>
                    <a:close/>
                    <a:moveTo>
                      <a:pt x="149" y="163"/>
                    </a:moveTo>
                    <a:cubicBezTo>
                      <a:pt x="151" y="162"/>
                      <a:pt x="154" y="160"/>
                      <a:pt x="151" y="159"/>
                    </a:cubicBezTo>
                    <a:cubicBezTo>
                      <a:pt x="149" y="159"/>
                      <a:pt x="151" y="160"/>
                      <a:pt x="149" y="160"/>
                    </a:cubicBezTo>
                    <a:cubicBezTo>
                      <a:pt x="146" y="162"/>
                      <a:pt x="144" y="162"/>
                      <a:pt x="148" y="163"/>
                    </a:cubicBezTo>
                    <a:cubicBezTo>
                      <a:pt x="148" y="163"/>
                      <a:pt x="149" y="165"/>
                      <a:pt x="149" y="163"/>
                    </a:cubicBezTo>
                    <a:close/>
                    <a:moveTo>
                      <a:pt x="141" y="163"/>
                    </a:moveTo>
                    <a:cubicBezTo>
                      <a:pt x="144" y="162"/>
                      <a:pt x="146" y="163"/>
                      <a:pt x="146" y="163"/>
                    </a:cubicBezTo>
                    <a:cubicBezTo>
                      <a:pt x="148" y="165"/>
                      <a:pt x="140" y="165"/>
                      <a:pt x="141" y="163"/>
                    </a:cubicBezTo>
                    <a:close/>
                    <a:moveTo>
                      <a:pt x="144" y="160"/>
                    </a:moveTo>
                    <a:cubicBezTo>
                      <a:pt x="146" y="160"/>
                      <a:pt x="146" y="160"/>
                      <a:pt x="149" y="159"/>
                    </a:cubicBezTo>
                    <a:cubicBezTo>
                      <a:pt x="152" y="155"/>
                      <a:pt x="151" y="155"/>
                      <a:pt x="148" y="155"/>
                    </a:cubicBezTo>
                    <a:cubicBezTo>
                      <a:pt x="146" y="157"/>
                      <a:pt x="149" y="157"/>
                      <a:pt x="148" y="157"/>
                    </a:cubicBezTo>
                    <a:cubicBezTo>
                      <a:pt x="146" y="159"/>
                      <a:pt x="144" y="157"/>
                      <a:pt x="144" y="159"/>
                    </a:cubicBezTo>
                    <a:cubicBezTo>
                      <a:pt x="144" y="160"/>
                      <a:pt x="144" y="157"/>
                      <a:pt x="143" y="159"/>
                    </a:cubicBezTo>
                    <a:cubicBezTo>
                      <a:pt x="140" y="159"/>
                      <a:pt x="137" y="160"/>
                      <a:pt x="140" y="160"/>
                    </a:cubicBezTo>
                    <a:cubicBezTo>
                      <a:pt x="141" y="160"/>
                      <a:pt x="138" y="162"/>
                      <a:pt x="141" y="162"/>
                    </a:cubicBezTo>
                    <a:cubicBezTo>
                      <a:pt x="143" y="160"/>
                      <a:pt x="143" y="160"/>
                      <a:pt x="144" y="160"/>
                    </a:cubicBezTo>
                    <a:close/>
                    <a:moveTo>
                      <a:pt x="128" y="168"/>
                    </a:moveTo>
                    <a:cubicBezTo>
                      <a:pt x="129" y="168"/>
                      <a:pt x="129" y="168"/>
                      <a:pt x="129" y="166"/>
                    </a:cubicBezTo>
                    <a:cubicBezTo>
                      <a:pt x="129" y="165"/>
                      <a:pt x="129" y="163"/>
                      <a:pt x="126" y="165"/>
                    </a:cubicBezTo>
                    <a:cubicBezTo>
                      <a:pt x="125" y="166"/>
                      <a:pt x="125" y="166"/>
                      <a:pt x="128" y="168"/>
                    </a:cubicBezTo>
                    <a:close/>
                    <a:moveTo>
                      <a:pt x="122" y="165"/>
                    </a:moveTo>
                    <a:cubicBezTo>
                      <a:pt x="120" y="165"/>
                      <a:pt x="120" y="163"/>
                      <a:pt x="120" y="165"/>
                    </a:cubicBezTo>
                    <a:cubicBezTo>
                      <a:pt x="119" y="166"/>
                      <a:pt x="122" y="168"/>
                      <a:pt x="123" y="166"/>
                    </a:cubicBezTo>
                    <a:cubicBezTo>
                      <a:pt x="125" y="166"/>
                      <a:pt x="123" y="166"/>
                      <a:pt x="122" y="165"/>
                    </a:cubicBezTo>
                    <a:close/>
                    <a:moveTo>
                      <a:pt x="154" y="154"/>
                    </a:moveTo>
                    <a:cubicBezTo>
                      <a:pt x="155" y="154"/>
                      <a:pt x="155" y="154"/>
                      <a:pt x="155" y="154"/>
                    </a:cubicBezTo>
                    <a:cubicBezTo>
                      <a:pt x="157" y="155"/>
                      <a:pt x="155" y="155"/>
                      <a:pt x="154" y="154"/>
                    </a:cubicBezTo>
                    <a:close/>
                    <a:moveTo>
                      <a:pt x="128" y="169"/>
                    </a:moveTo>
                    <a:cubicBezTo>
                      <a:pt x="129" y="169"/>
                      <a:pt x="128" y="171"/>
                      <a:pt x="128" y="171"/>
                    </a:cubicBezTo>
                    <a:cubicBezTo>
                      <a:pt x="126" y="171"/>
                      <a:pt x="128" y="168"/>
                      <a:pt x="128" y="169"/>
                    </a:cubicBezTo>
                    <a:close/>
                    <a:moveTo>
                      <a:pt x="129" y="168"/>
                    </a:moveTo>
                    <a:cubicBezTo>
                      <a:pt x="129" y="166"/>
                      <a:pt x="132" y="168"/>
                      <a:pt x="131" y="169"/>
                    </a:cubicBezTo>
                    <a:cubicBezTo>
                      <a:pt x="129" y="169"/>
                      <a:pt x="129" y="169"/>
                      <a:pt x="129" y="168"/>
                    </a:cubicBezTo>
                    <a:close/>
                    <a:moveTo>
                      <a:pt x="119" y="169"/>
                    </a:moveTo>
                    <a:cubicBezTo>
                      <a:pt x="120" y="168"/>
                      <a:pt x="122" y="168"/>
                      <a:pt x="122" y="168"/>
                    </a:cubicBezTo>
                    <a:cubicBezTo>
                      <a:pt x="122" y="169"/>
                      <a:pt x="119" y="171"/>
                      <a:pt x="119" y="169"/>
                    </a:cubicBezTo>
                    <a:close/>
                    <a:moveTo>
                      <a:pt x="119" y="169"/>
                    </a:moveTo>
                    <a:cubicBezTo>
                      <a:pt x="120" y="168"/>
                      <a:pt x="120" y="168"/>
                      <a:pt x="120" y="168"/>
                    </a:cubicBezTo>
                    <a:cubicBezTo>
                      <a:pt x="119" y="168"/>
                      <a:pt x="119" y="168"/>
                      <a:pt x="117" y="168"/>
                    </a:cubicBezTo>
                    <a:cubicBezTo>
                      <a:pt x="116" y="166"/>
                      <a:pt x="116" y="168"/>
                      <a:pt x="116" y="168"/>
                    </a:cubicBezTo>
                    <a:cubicBezTo>
                      <a:pt x="114" y="168"/>
                      <a:pt x="114" y="168"/>
                      <a:pt x="112" y="169"/>
                    </a:cubicBezTo>
                    <a:cubicBezTo>
                      <a:pt x="112" y="169"/>
                      <a:pt x="114" y="169"/>
                      <a:pt x="116" y="171"/>
                    </a:cubicBezTo>
                    <a:cubicBezTo>
                      <a:pt x="117" y="171"/>
                      <a:pt x="117" y="171"/>
                      <a:pt x="119" y="169"/>
                    </a:cubicBezTo>
                    <a:close/>
                    <a:moveTo>
                      <a:pt x="116" y="166"/>
                    </a:moveTo>
                    <a:cubicBezTo>
                      <a:pt x="114" y="166"/>
                      <a:pt x="116" y="165"/>
                      <a:pt x="117" y="165"/>
                    </a:cubicBezTo>
                    <a:cubicBezTo>
                      <a:pt x="117" y="165"/>
                      <a:pt x="117" y="166"/>
                      <a:pt x="116" y="166"/>
                    </a:cubicBezTo>
                    <a:close/>
                    <a:moveTo>
                      <a:pt x="114" y="166"/>
                    </a:moveTo>
                    <a:cubicBezTo>
                      <a:pt x="114" y="166"/>
                      <a:pt x="114" y="166"/>
                      <a:pt x="112" y="166"/>
                    </a:cubicBezTo>
                    <a:cubicBezTo>
                      <a:pt x="112" y="166"/>
                      <a:pt x="112" y="166"/>
                      <a:pt x="112" y="168"/>
                    </a:cubicBezTo>
                    <a:cubicBezTo>
                      <a:pt x="112" y="169"/>
                      <a:pt x="114" y="166"/>
                      <a:pt x="114" y="166"/>
                    </a:cubicBezTo>
                    <a:close/>
                    <a:moveTo>
                      <a:pt x="112" y="174"/>
                    </a:moveTo>
                    <a:cubicBezTo>
                      <a:pt x="112" y="172"/>
                      <a:pt x="117" y="172"/>
                      <a:pt x="114" y="171"/>
                    </a:cubicBezTo>
                    <a:cubicBezTo>
                      <a:pt x="111" y="169"/>
                      <a:pt x="112" y="171"/>
                      <a:pt x="112" y="171"/>
                    </a:cubicBezTo>
                    <a:cubicBezTo>
                      <a:pt x="111" y="171"/>
                      <a:pt x="111" y="172"/>
                      <a:pt x="111" y="171"/>
                    </a:cubicBezTo>
                    <a:cubicBezTo>
                      <a:pt x="109" y="171"/>
                      <a:pt x="109" y="171"/>
                      <a:pt x="109" y="172"/>
                    </a:cubicBezTo>
                    <a:cubicBezTo>
                      <a:pt x="108" y="174"/>
                      <a:pt x="108" y="172"/>
                      <a:pt x="106" y="174"/>
                    </a:cubicBezTo>
                    <a:cubicBezTo>
                      <a:pt x="106" y="174"/>
                      <a:pt x="106" y="174"/>
                      <a:pt x="111" y="174"/>
                    </a:cubicBezTo>
                    <a:cubicBezTo>
                      <a:pt x="112" y="174"/>
                      <a:pt x="112" y="174"/>
                      <a:pt x="112" y="174"/>
                    </a:cubicBezTo>
                    <a:close/>
                    <a:moveTo>
                      <a:pt x="106" y="179"/>
                    </a:moveTo>
                    <a:cubicBezTo>
                      <a:pt x="105" y="177"/>
                      <a:pt x="106" y="177"/>
                      <a:pt x="106" y="177"/>
                    </a:cubicBezTo>
                    <a:cubicBezTo>
                      <a:pt x="106" y="176"/>
                      <a:pt x="108" y="174"/>
                      <a:pt x="106" y="176"/>
                    </a:cubicBezTo>
                    <a:cubicBezTo>
                      <a:pt x="106" y="176"/>
                      <a:pt x="106" y="174"/>
                      <a:pt x="105" y="174"/>
                    </a:cubicBezTo>
                    <a:cubicBezTo>
                      <a:pt x="105" y="176"/>
                      <a:pt x="105" y="172"/>
                      <a:pt x="103" y="174"/>
                    </a:cubicBezTo>
                    <a:cubicBezTo>
                      <a:pt x="103" y="176"/>
                      <a:pt x="102" y="174"/>
                      <a:pt x="102" y="174"/>
                    </a:cubicBezTo>
                    <a:cubicBezTo>
                      <a:pt x="102" y="176"/>
                      <a:pt x="102" y="174"/>
                      <a:pt x="100" y="176"/>
                    </a:cubicBezTo>
                    <a:cubicBezTo>
                      <a:pt x="99" y="176"/>
                      <a:pt x="102" y="176"/>
                      <a:pt x="102" y="177"/>
                    </a:cubicBezTo>
                    <a:cubicBezTo>
                      <a:pt x="102" y="177"/>
                      <a:pt x="97" y="177"/>
                      <a:pt x="99" y="177"/>
                    </a:cubicBezTo>
                    <a:cubicBezTo>
                      <a:pt x="100" y="179"/>
                      <a:pt x="97" y="177"/>
                      <a:pt x="99" y="179"/>
                    </a:cubicBezTo>
                    <a:cubicBezTo>
                      <a:pt x="99" y="179"/>
                      <a:pt x="97" y="179"/>
                      <a:pt x="99" y="180"/>
                    </a:cubicBezTo>
                    <a:cubicBezTo>
                      <a:pt x="99" y="180"/>
                      <a:pt x="96" y="182"/>
                      <a:pt x="99" y="182"/>
                    </a:cubicBezTo>
                    <a:cubicBezTo>
                      <a:pt x="100" y="182"/>
                      <a:pt x="99" y="183"/>
                      <a:pt x="100" y="182"/>
                    </a:cubicBezTo>
                    <a:cubicBezTo>
                      <a:pt x="102" y="182"/>
                      <a:pt x="102" y="180"/>
                      <a:pt x="102" y="180"/>
                    </a:cubicBezTo>
                    <a:cubicBezTo>
                      <a:pt x="103" y="180"/>
                      <a:pt x="102" y="182"/>
                      <a:pt x="105" y="180"/>
                    </a:cubicBezTo>
                    <a:cubicBezTo>
                      <a:pt x="106" y="180"/>
                      <a:pt x="106" y="180"/>
                      <a:pt x="106" y="179"/>
                    </a:cubicBezTo>
                    <a:close/>
                    <a:moveTo>
                      <a:pt x="100" y="185"/>
                    </a:moveTo>
                    <a:cubicBezTo>
                      <a:pt x="99" y="183"/>
                      <a:pt x="100" y="183"/>
                      <a:pt x="102" y="183"/>
                    </a:cubicBezTo>
                    <a:cubicBezTo>
                      <a:pt x="102" y="185"/>
                      <a:pt x="100" y="185"/>
                      <a:pt x="100" y="185"/>
                    </a:cubicBezTo>
                    <a:close/>
                    <a:moveTo>
                      <a:pt x="97" y="186"/>
                    </a:moveTo>
                    <a:cubicBezTo>
                      <a:pt x="97" y="185"/>
                      <a:pt x="100" y="186"/>
                      <a:pt x="99" y="186"/>
                    </a:cubicBezTo>
                    <a:cubicBezTo>
                      <a:pt x="97" y="186"/>
                      <a:pt x="96" y="186"/>
                      <a:pt x="97" y="186"/>
                    </a:cubicBezTo>
                    <a:close/>
                    <a:moveTo>
                      <a:pt x="82" y="199"/>
                    </a:moveTo>
                    <a:cubicBezTo>
                      <a:pt x="82" y="199"/>
                      <a:pt x="82" y="197"/>
                      <a:pt x="84" y="197"/>
                    </a:cubicBezTo>
                    <a:cubicBezTo>
                      <a:pt x="84" y="197"/>
                      <a:pt x="84" y="197"/>
                      <a:pt x="82" y="199"/>
                    </a:cubicBezTo>
                    <a:close/>
                    <a:moveTo>
                      <a:pt x="82" y="193"/>
                    </a:moveTo>
                    <a:cubicBezTo>
                      <a:pt x="84" y="191"/>
                      <a:pt x="82" y="191"/>
                      <a:pt x="82" y="191"/>
                    </a:cubicBezTo>
                    <a:cubicBezTo>
                      <a:pt x="82" y="191"/>
                      <a:pt x="80" y="191"/>
                      <a:pt x="79" y="191"/>
                    </a:cubicBezTo>
                    <a:cubicBezTo>
                      <a:pt x="77" y="191"/>
                      <a:pt x="79" y="193"/>
                      <a:pt x="77" y="193"/>
                    </a:cubicBezTo>
                    <a:cubicBezTo>
                      <a:pt x="76" y="193"/>
                      <a:pt x="77" y="193"/>
                      <a:pt x="76" y="194"/>
                    </a:cubicBezTo>
                    <a:cubicBezTo>
                      <a:pt x="76" y="194"/>
                      <a:pt x="76" y="196"/>
                      <a:pt x="79" y="194"/>
                    </a:cubicBezTo>
                    <a:cubicBezTo>
                      <a:pt x="79" y="194"/>
                      <a:pt x="80" y="194"/>
                      <a:pt x="82" y="193"/>
                    </a:cubicBezTo>
                    <a:close/>
                    <a:moveTo>
                      <a:pt x="85" y="188"/>
                    </a:moveTo>
                    <a:cubicBezTo>
                      <a:pt x="87" y="188"/>
                      <a:pt x="84" y="186"/>
                      <a:pt x="85" y="186"/>
                    </a:cubicBezTo>
                    <a:cubicBezTo>
                      <a:pt x="87" y="185"/>
                      <a:pt x="84" y="182"/>
                      <a:pt x="84" y="183"/>
                    </a:cubicBezTo>
                    <a:cubicBezTo>
                      <a:pt x="82" y="183"/>
                      <a:pt x="84" y="185"/>
                      <a:pt x="82" y="185"/>
                    </a:cubicBezTo>
                    <a:cubicBezTo>
                      <a:pt x="80" y="185"/>
                      <a:pt x="82" y="186"/>
                      <a:pt x="80" y="186"/>
                    </a:cubicBezTo>
                    <a:cubicBezTo>
                      <a:pt x="79" y="186"/>
                      <a:pt x="80" y="185"/>
                      <a:pt x="79" y="185"/>
                    </a:cubicBezTo>
                    <a:cubicBezTo>
                      <a:pt x="79" y="186"/>
                      <a:pt x="77" y="185"/>
                      <a:pt x="77" y="186"/>
                    </a:cubicBezTo>
                    <a:cubicBezTo>
                      <a:pt x="77" y="186"/>
                      <a:pt x="76" y="188"/>
                      <a:pt x="77" y="188"/>
                    </a:cubicBezTo>
                    <a:cubicBezTo>
                      <a:pt x="79" y="190"/>
                      <a:pt x="79" y="188"/>
                      <a:pt x="82" y="186"/>
                    </a:cubicBezTo>
                    <a:cubicBezTo>
                      <a:pt x="85" y="186"/>
                      <a:pt x="79" y="188"/>
                      <a:pt x="80" y="190"/>
                    </a:cubicBezTo>
                    <a:cubicBezTo>
                      <a:pt x="82" y="190"/>
                      <a:pt x="84" y="188"/>
                      <a:pt x="85" y="188"/>
                    </a:cubicBezTo>
                    <a:close/>
                    <a:moveTo>
                      <a:pt x="87" y="185"/>
                    </a:moveTo>
                    <a:cubicBezTo>
                      <a:pt x="87" y="185"/>
                      <a:pt x="87" y="183"/>
                      <a:pt x="88" y="183"/>
                    </a:cubicBezTo>
                    <a:cubicBezTo>
                      <a:pt x="90" y="183"/>
                      <a:pt x="90" y="182"/>
                      <a:pt x="91" y="180"/>
                    </a:cubicBezTo>
                    <a:cubicBezTo>
                      <a:pt x="91" y="179"/>
                      <a:pt x="91" y="177"/>
                      <a:pt x="90" y="179"/>
                    </a:cubicBezTo>
                    <a:cubicBezTo>
                      <a:pt x="88" y="180"/>
                      <a:pt x="87" y="180"/>
                      <a:pt x="87" y="183"/>
                    </a:cubicBezTo>
                    <a:cubicBezTo>
                      <a:pt x="85" y="183"/>
                      <a:pt x="85" y="183"/>
                      <a:pt x="87" y="185"/>
                    </a:cubicBezTo>
                    <a:close/>
                    <a:moveTo>
                      <a:pt x="93" y="183"/>
                    </a:moveTo>
                    <a:cubicBezTo>
                      <a:pt x="96" y="183"/>
                      <a:pt x="96" y="183"/>
                      <a:pt x="96" y="183"/>
                    </a:cubicBezTo>
                    <a:cubicBezTo>
                      <a:pt x="94" y="185"/>
                      <a:pt x="93" y="183"/>
                      <a:pt x="93" y="183"/>
                    </a:cubicBezTo>
                    <a:close/>
                    <a:moveTo>
                      <a:pt x="91" y="185"/>
                    </a:moveTo>
                    <a:cubicBezTo>
                      <a:pt x="91" y="185"/>
                      <a:pt x="93" y="186"/>
                      <a:pt x="90" y="188"/>
                    </a:cubicBezTo>
                    <a:cubicBezTo>
                      <a:pt x="88" y="190"/>
                      <a:pt x="91" y="186"/>
                      <a:pt x="90" y="186"/>
                    </a:cubicBezTo>
                    <a:cubicBezTo>
                      <a:pt x="88" y="186"/>
                      <a:pt x="91" y="185"/>
                      <a:pt x="90" y="183"/>
                    </a:cubicBezTo>
                    <a:cubicBezTo>
                      <a:pt x="88" y="183"/>
                      <a:pt x="87" y="185"/>
                      <a:pt x="87" y="186"/>
                    </a:cubicBezTo>
                    <a:cubicBezTo>
                      <a:pt x="85" y="188"/>
                      <a:pt x="88" y="190"/>
                      <a:pt x="85" y="190"/>
                    </a:cubicBezTo>
                    <a:cubicBezTo>
                      <a:pt x="84" y="190"/>
                      <a:pt x="85" y="190"/>
                      <a:pt x="84" y="193"/>
                    </a:cubicBezTo>
                    <a:cubicBezTo>
                      <a:pt x="82" y="194"/>
                      <a:pt x="85" y="191"/>
                      <a:pt x="87" y="193"/>
                    </a:cubicBezTo>
                    <a:cubicBezTo>
                      <a:pt x="88" y="194"/>
                      <a:pt x="88" y="191"/>
                      <a:pt x="88" y="191"/>
                    </a:cubicBezTo>
                    <a:cubicBezTo>
                      <a:pt x="90" y="193"/>
                      <a:pt x="90" y="193"/>
                      <a:pt x="90" y="191"/>
                    </a:cubicBezTo>
                    <a:cubicBezTo>
                      <a:pt x="91" y="190"/>
                      <a:pt x="91" y="190"/>
                      <a:pt x="93" y="190"/>
                    </a:cubicBezTo>
                    <a:cubicBezTo>
                      <a:pt x="96" y="188"/>
                      <a:pt x="94" y="185"/>
                      <a:pt x="93" y="185"/>
                    </a:cubicBezTo>
                    <a:cubicBezTo>
                      <a:pt x="93" y="183"/>
                      <a:pt x="93" y="183"/>
                      <a:pt x="91" y="185"/>
                    </a:cubicBezTo>
                    <a:close/>
                    <a:moveTo>
                      <a:pt x="91" y="191"/>
                    </a:moveTo>
                    <a:cubicBezTo>
                      <a:pt x="93" y="190"/>
                      <a:pt x="94" y="190"/>
                      <a:pt x="94" y="190"/>
                    </a:cubicBezTo>
                    <a:cubicBezTo>
                      <a:pt x="93" y="191"/>
                      <a:pt x="91" y="193"/>
                      <a:pt x="91" y="191"/>
                    </a:cubicBezTo>
                    <a:close/>
                    <a:moveTo>
                      <a:pt x="117" y="166"/>
                    </a:moveTo>
                    <a:cubicBezTo>
                      <a:pt x="119" y="165"/>
                      <a:pt x="120" y="166"/>
                      <a:pt x="120" y="166"/>
                    </a:cubicBezTo>
                    <a:cubicBezTo>
                      <a:pt x="119" y="166"/>
                      <a:pt x="117" y="166"/>
                      <a:pt x="117" y="166"/>
                    </a:cubicBezTo>
                    <a:close/>
                    <a:moveTo>
                      <a:pt x="74" y="193"/>
                    </a:moveTo>
                    <a:cubicBezTo>
                      <a:pt x="76" y="193"/>
                      <a:pt x="76" y="193"/>
                      <a:pt x="76" y="193"/>
                    </a:cubicBezTo>
                    <a:cubicBezTo>
                      <a:pt x="76" y="194"/>
                      <a:pt x="74" y="193"/>
                      <a:pt x="74" y="193"/>
                    </a:cubicBezTo>
                    <a:close/>
                    <a:moveTo>
                      <a:pt x="70" y="196"/>
                    </a:moveTo>
                    <a:cubicBezTo>
                      <a:pt x="70" y="196"/>
                      <a:pt x="70" y="197"/>
                      <a:pt x="71" y="196"/>
                    </a:cubicBezTo>
                    <a:cubicBezTo>
                      <a:pt x="71" y="196"/>
                      <a:pt x="71" y="196"/>
                      <a:pt x="73" y="196"/>
                    </a:cubicBezTo>
                    <a:cubicBezTo>
                      <a:pt x="73" y="196"/>
                      <a:pt x="73" y="194"/>
                      <a:pt x="74" y="194"/>
                    </a:cubicBezTo>
                    <a:cubicBezTo>
                      <a:pt x="76" y="194"/>
                      <a:pt x="74" y="194"/>
                      <a:pt x="73" y="193"/>
                    </a:cubicBezTo>
                    <a:cubicBezTo>
                      <a:pt x="71" y="193"/>
                      <a:pt x="71" y="193"/>
                      <a:pt x="70" y="194"/>
                    </a:cubicBezTo>
                    <a:cubicBezTo>
                      <a:pt x="70" y="196"/>
                      <a:pt x="71" y="196"/>
                      <a:pt x="70" y="196"/>
                    </a:cubicBezTo>
                    <a:close/>
                    <a:moveTo>
                      <a:pt x="70" y="196"/>
                    </a:moveTo>
                    <a:cubicBezTo>
                      <a:pt x="71" y="196"/>
                      <a:pt x="68" y="194"/>
                      <a:pt x="68" y="196"/>
                    </a:cubicBezTo>
                    <a:cubicBezTo>
                      <a:pt x="68" y="197"/>
                      <a:pt x="68" y="196"/>
                      <a:pt x="68" y="197"/>
                    </a:cubicBezTo>
                    <a:cubicBezTo>
                      <a:pt x="68" y="197"/>
                      <a:pt x="68" y="197"/>
                      <a:pt x="70" y="196"/>
                    </a:cubicBezTo>
                    <a:close/>
                    <a:moveTo>
                      <a:pt x="65" y="197"/>
                    </a:moveTo>
                    <a:cubicBezTo>
                      <a:pt x="65" y="200"/>
                      <a:pt x="65" y="200"/>
                      <a:pt x="67" y="199"/>
                    </a:cubicBezTo>
                    <a:cubicBezTo>
                      <a:pt x="67" y="197"/>
                      <a:pt x="67" y="197"/>
                      <a:pt x="67" y="196"/>
                    </a:cubicBezTo>
                    <a:cubicBezTo>
                      <a:pt x="67" y="196"/>
                      <a:pt x="67" y="196"/>
                      <a:pt x="65" y="197"/>
                    </a:cubicBezTo>
                    <a:close/>
                    <a:moveTo>
                      <a:pt x="87" y="197"/>
                    </a:moveTo>
                    <a:cubicBezTo>
                      <a:pt x="88" y="197"/>
                      <a:pt x="88" y="197"/>
                      <a:pt x="88" y="197"/>
                    </a:cubicBezTo>
                    <a:cubicBezTo>
                      <a:pt x="90" y="197"/>
                      <a:pt x="87" y="197"/>
                      <a:pt x="87" y="197"/>
                    </a:cubicBezTo>
                    <a:close/>
                    <a:moveTo>
                      <a:pt x="64" y="224"/>
                    </a:moveTo>
                    <a:cubicBezTo>
                      <a:pt x="64" y="222"/>
                      <a:pt x="62" y="222"/>
                      <a:pt x="62" y="222"/>
                    </a:cubicBezTo>
                    <a:cubicBezTo>
                      <a:pt x="62" y="224"/>
                      <a:pt x="61" y="225"/>
                      <a:pt x="62" y="225"/>
                    </a:cubicBezTo>
                    <a:cubicBezTo>
                      <a:pt x="62" y="224"/>
                      <a:pt x="64" y="225"/>
                      <a:pt x="64" y="224"/>
                    </a:cubicBezTo>
                    <a:close/>
                    <a:moveTo>
                      <a:pt x="64" y="227"/>
                    </a:moveTo>
                    <a:cubicBezTo>
                      <a:pt x="65" y="225"/>
                      <a:pt x="65" y="225"/>
                      <a:pt x="64" y="225"/>
                    </a:cubicBezTo>
                    <a:cubicBezTo>
                      <a:pt x="64" y="225"/>
                      <a:pt x="62" y="225"/>
                      <a:pt x="62" y="227"/>
                    </a:cubicBezTo>
                    <a:cubicBezTo>
                      <a:pt x="62" y="227"/>
                      <a:pt x="62" y="227"/>
                      <a:pt x="64" y="227"/>
                    </a:cubicBezTo>
                    <a:close/>
                    <a:moveTo>
                      <a:pt x="59" y="235"/>
                    </a:moveTo>
                    <a:cubicBezTo>
                      <a:pt x="59" y="236"/>
                      <a:pt x="58" y="236"/>
                      <a:pt x="59" y="236"/>
                    </a:cubicBezTo>
                    <a:cubicBezTo>
                      <a:pt x="61" y="236"/>
                      <a:pt x="59" y="235"/>
                      <a:pt x="61" y="235"/>
                    </a:cubicBezTo>
                    <a:cubicBezTo>
                      <a:pt x="62" y="235"/>
                      <a:pt x="62" y="235"/>
                      <a:pt x="62" y="233"/>
                    </a:cubicBezTo>
                    <a:cubicBezTo>
                      <a:pt x="61" y="231"/>
                      <a:pt x="61" y="231"/>
                      <a:pt x="61" y="233"/>
                    </a:cubicBezTo>
                    <a:cubicBezTo>
                      <a:pt x="61" y="233"/>
                      <a:pt x="59" y="233"/>
                      <a:pt x="59" y="235"/>
                    </a:cubicBezTo>
                    <a:close/>
                    <a:moveTo>
                      <a:pt x="56" y="230"/>
                    </a:moveTo>
                    <a:cubicBezTo>
                      <a:pt x="56" y="230"/>
                      <a:pt x="58" y="228"/>
                      <a:pt x="59" y="230"/>
                    </a:cubicBezTo>
                    <a:cubicBezTo>
                      <a:pt x="59" y="230"/>
                      <a:pt x="56" y="231"/>
                      <a:pt x="56" y="230"/>
                    </a:cubicBezTo>
                    <a:close/>
                    <a:moveTo>
                      <a:pt x="59" y="238"/>
                    </a:moveTo>
                    <a:cubicBezTo>
                      <a:pt x="58" y="238"/>
                      <a:pt x="59" y="238"/>
                      <a:pt x="61" y="238"/>
                    </a:cubicBezTo>
                    <a:cubicBezTo>
                      <a:pt x="62" y="236"/>
                      <a:pt x="61" y="236"/>
                      <a:pt x="59" y="236"/>
                    </a:cubicBezTo>
                    <a:cubicBezTo>
                      <a:pt x="59" y="238"/>
                      <a:pt x="59" y="236"/>
                      <a:pt x="59" y="238"/>
                    </a:cubicBezTo>
                    <a:close/>
                    <a:moveTo>
                      <a:pt x="55" y="238"/>
                    </a:moveTo>
                    <a:cubicBezTo>
                      <a:pt x="56" y="238"/>
                      <a:pt x="58" y="238"/>
                      <a:pt x="58" y="238"/>
                    </a:cubicBezTo>
                    <a:cubicBezTo>
                      <a:pt x="56" y="238"/>
                      <a:pt x="55" y="238"/>
                      <a:pt x="55" y="238"/>
                    </a:cubicBezTo>
                    <a:close/>
                    <a:moveTo>
                      <a:pt x="53" y="245"/>
                    </a:moveTo>
                    <a:cubicBezTo>
                      <a:pt x="55" y="245"/>
                      <a:pt x="55" y="245"/>
                      <a:pt x="53" y="245"/>
                    </a:cubicBezTo>
                    <a:cubicBezTo>
                      <a:pt x="53" y="245"/>
                      <a:pt x="53" y="244"/>
                      <a:pt x="52" y="244"/>
                    </a:cubicBezTo>
                    <a:cubicBezTo>
                      <a:pt x="52" y="245"/>
                      <a:pt x="52" y="245"/>
                      <a:pt x="53" y="245"/>
                    </a:cubicBezTo>
                    <a:close/>
                    <a:moveTo>
                      <a:pt x="53" y="244"/>
                    </a:moveTo>
                    <a:cubicBezTo>
                      <a:pt x="53" y="244"/>
                      <a:pt x="55" y="244"/>
                      <a:pt x="53" y="244"/>
                    </a:cubicBezTo>
                    <a:cubicBezTo>
                      <a:pt x="53" y="244"/>
                      <a:pt x="52" y="242"/>
                      <a:pt x="53" y="244"/>
                    </a:cubicBezTo>
                    <a:close/>
                    <a:moveTo>
                      <a:pt x="50" y="244"/>
                    </a:moveTo>
                    <a:cubicBezTo>
                      <a:pt x="52" y="242"/>
                      <a:pt x="52" y="244"/>
                      <a:pt x="52" y="244"/>
                    </a:cubicBezTo>
                    <a:cubicBezTo>
                      <a:pt x="50" y="244"/>
                      <a:pt x="50" y="244"/>
                      <a:pt x="50" y="244"/>
                    </a:cubicBezTo>
                    <a:close/>
                    <a:moveTo>
                      <a:pt x="64" y="222"/>
                    </a:moveTo>
                    <a:cubicBezTo>
                      <a:pt x="65" y="221"/>
                      <a:pt x="65" y="221"/>
                      <a:pt x="65" y="221"/>
                    </a:cubicBezTo>
                    <a:cubicBezTo>
                      <a:pt x="67" y="222"/>
                      <a:pt x="65" y="222"/>
                      <a:pt x="64" y="222"/>
                    </a:cubicBezTo>
                    <a:close/>
                    <a:moveTo>
                      <a:pt x="26" y="261"/>
                    </a:moveTo>
                    <a:cubicBezTo>
                      <a:pt x="24" y="261"/>
                      <a:pt x="29" y="259"/>
                      <a:pt x="29" y="261"/>
                    </a:cubicBezTo>
                    <a:cubicBezTo>
                      <a:pt x="29" y="261"/>
                      <a:pt x="27" y="262"/>
                      <a:pt x="26" y="261"/>
                    </a:cubicBezTo>
                    <a:close/>
                    <a:moveTo>
                      <a:pt x="33" y="256"/>
                    </a:moveTo>
                    <a:cubicBezTo>
                      <a:pt x="35" y="256"/>
                      <a:pt x="33" y="255"/>
                      <a:pt x="33" y="255"/>
                    </a:cubicBezTo>
                    <a:cubicBezTo>
                      <a:pt x="32" y="256"/>
                      <a:pt x="29" y="256"/>
                      <a:pt x="29" y="258"/>
                    </a:cubicBezTo>
                    <a:cubicBezTo>
                      <a:pt x="30" y="258"/>
                      <a:pt x="32" y="258"/>
                      <a:pt x="33" y="256"/>
                    </a:cubicBezTo>
                    <a:close/>
                    <a:moveTo>
                      <a:pt x="32" y="259"/>
                    </a:moveTo>
                    <a:cubicBezTo>
                      <a:pt x="35" y="259"/>
                      <a:pt x="36" y="259"/>
                      <a:pt x="36" y="259"/>
                    </a:cubicBezTo>
                    <a:cubicBezTo>
                      <a:pt x="36" y="258"/>
                      <a:pt x="35" y="259"/>
                      <a:pt x="35" y="258"/>
                    </a:cubicBezTo>
                    <a:cubicBezTo>
                      <a:pt x="35" y="256"/>
                      <a:pt x="32" y="258"/>
                      <a:pt x="32" y="258"/>
                    </a:cubicBezTo>
                    <a:cubicBezTo>
                      <a:pt x="30" y="259"/>
                      <a:pt x="29" y="259"/>
                      <a:pt x="29" y="259"/>
                    </a:cubicBezTo>
                    <a:cubicBezTo>
                      <a:pt x="29" y="261"/>
                      <a:pt x="30" y="261"/>
                      <a:pt x="32" y="259"/>
                    </a:cubicBezTo>
                    <a:close/>
                    <a:moveTo>
                      <a:pt x="27" y="264"/>
                    </a:moveTo>
                    <a:cubicBezTo>
                      <a:pt x="26" y="262"/>
                      <a:pt x="27" y="262"/>
                      <a:pt x="29" y="264"/>
                    </a:cubicBezTo>
                    <a:cubicBezTo>
                      <a:pt x="27" y="264"/>
                      <a:pt x="27" y="264"/>
                      <a:pt x="27" y="264"/>
                    </a:cubicBezTo>
                    <a:close/>
                    <a:moveTo>
                      <a:pt x="24" y="266"/>
                    </a:moveTo>
                    <a:cubicBezTo>
                      <a:pt x="26" y="266"/>
                      <a:pt x="24" y="264"/>
                      <a:pt x="24" y="266"/>
                    </a:cubicBezTo>
                    <a:cubicBezTo>
                      <a:pt x="23" y="266"/>
                      <a:pt x="23" y="264"/>
                      <a:pt x="23" y="266"/>
                    </a:cubicBezTo>
                    <a:cubicBezTo>
                      <a:pt x="21" y="267"/>
                      <a:pt x="24" y="267"/>
                      <a:pt x="24" y="266"/>
                    </a:cubicBezTo>
                    <a:close/>
                    <a:moveTo>
                      <a:pt x="17" y="270"/>
                    </a:moveTo>
                    <a:cubicBezTo>
                      <a:pt x="15" y="270"/>
                      <a:pt x="18" y="269"/>
                      <a:pt x="18" y="270"/>
                    </a:cubicBezTo>
                    <a:cubicBezTo>
                      <a:pt x="17" y="270"/>
                      <a:pt x="17" y="270"/>
                      <a:pt x="17" y="270"/>
                    </a:cubicBezTo>
                    <a:close/>
                    <a:moveTo>
                      <a:pt x="10" y="273"/>
                    </a:moveTo>
                    <a:cubicBezTo>
                      <a:pt x="12" y="275"/>
                      <a:pt x="10" y="276"/>
                      <a:pt x="9" y="276"/>
                    </a:cubicBezTo>
                    <a:cubicBezTo>
                      <a:pt x="9" y="275"/>
                      <a:pt x="10" y="273"/>
                      <a:pt x="10" y="273"/>
                    </a:cubicBezTo>
                    <a:close/>
                    <a:moveTo>
                      <a:pt x="7" y="276"/>
                    </a:moveTo>
                    <a:cubicBezTo>
                      <a:pt x="7" y="275"/>
                      <a:pt x="9" y="275"/>
                      <a:pt x="9" y="276"/>
                    </a:cubicBezTo>
                    <a:cubicBezTo>
                      <a:pt x="7" y="276"/>
                      <a:pt x="7" y="276"/>
                      <a:pt x="7" y="276"/>
                    </a:cubicBezTo>
                    <a:close/>
                    <a:moveTo>
                      <a:pt x="1" y="283"/>
                    </a:moveTo>
                    <a:cubicBezTo>
                      <a:pt x="1" y="281"/>
                      <a:pt x="3" y="281"/>
                      <a:pt x="4" y="281"/>
                    </a:cubicBezTo>
                    <a:cubicBezTo>
                      <a:pt x="4" y="281"/>
                      <a:pt x="3" y="283"/>
                      <a:pt x="1" y="283"/>
                    </a:cubicBezTo>
                    <a:close/>
                    <a:moveTo>
                      <a:pt x="1" y="292"/>
                    </a:moveTo>
                    <a:cubicBezTo>
                      <a:pt x="1" y="292"/>
                      <a:pt x="1" y="290"/>
                      <a:pt x="3" y="290"/>
                    </a:cubicBezTo>
                    <a:cubicBezTo>
                      <a:pt x="3" y="290"/>
                      <a:pt x="3" y="292"/>
                      <a:pt x="1" y="292"/>
                    </a:cubicBezTo>
                    <a:close/>
                    <a:moveTo>
                      <a:pt x="6" y="308"/>
                    </a:moveTo>
                    <a:cubicBezTo>
                      <a:pt x="6" y="306"/>
                      <a:pt x="6" y="306"/>
                      <a:pt x="7" y="308"/>
                    </a:cubicBezTo>
                    <a:cubicBezTo>
                      <a:pt x="7" y="308"/>
                      <a:pt x="7" y="306"/>
                      <a:pt x="9" y="306"/>
                    </a:cubicBezTo>
                    <a:cubicBezTo>
                      <a:pt x="9" y="304"/>
                      <a:pt x="6" y="304"/>
                      <a:pt x="6" y="306"/>
                    </a:cubicBezTo>
                    <a:cubicBezTo>
                      <a:pt x="4" y="308"/>
                      <a:pt x="6" y="309"/>
                      <a:pt x="7" y="309"/>
                    </a:cubicBezTo>
                    <a:cubicBezTo>
                      <a:pt x="7" y="309"/>
                      <a:pt x="7" y="308"/>
                      <a:pt x="6" y="308"/>
                    </a:cubicBezTo>
                    <a:close/>
                    <a:moveTo>
                      <a:pt x="4" y="317"/>
                    </a:moveTo>
                    <a:cubicBezTo>
                      <a:pt x="6" y="317"/>
                      <a:pt x="4" y="312"/>
                      <a:pt x="4" y="314"/>
                    </a:cubicBezTo>
                    <a:cubicBezTo>
                      <a:pt x="4" y="315"/>
                      <a:pt x="3" y="317"/>
                      <a:pt x="4" y="317"/>
                    </a:cubicBezTo>
                    <a:close/>
                    <a:moveTo>
                      <a:pt x="4" y="311"/>
                    </a:moveTo>
                    <a:cubicBezTo>
                      <a:pt x="4" y="312"/>
                      <a:pt x="4" y="309"/>
                      <a:pt x="4" y="309"/>
                    </a:cubicBezTo>
                    <a:cubicBezTo>
                      <a:pt x="6" y="309"/>
                      <a:pt x="6" y="311"/>
                      <a:pt x="6" y="309"/>
                    </a:cubicBezTo>
                    <a:cubicBezTo>
                      <a:pt x="6" y="309"/>
                      <a:pt x="6" y="309"/>
                      <a:pt x="4" y="308"/>
                    </a:cubicBezTo>
                    <a:cubicBezTo>
                      <a:pt x="4" y="308"/>
                      <a:pt x="4" y="309"/>
                      <a:pt x="4" y="311"/>
                    </a:cubicBezTo>
                    <a:close/>
                    <a:moveTo>
                      <a:pt x="3" y="303"/>
                    </a:moveTo>
                    <a:cubicBezTo>
                      <a:pt x="3" y="300"/>
                      <a:pt x="3" y="300"/>
                      <a:pt x="3" y="300"/>
                    </a:cubicBezTo>
                    <a:cubicBezTo>
                      <a:pt x="3" y="301"/>
                      <a:pt x="4" y="304"/>
                      <a:pt x="3" y="303"/>
                    </a:cubicBezTo>
                    <a:close/>
                    <a:moveTo>
                      <a:pt x="4" y="300"/>
                    </a:moveTo>
                    <a:cubicBezTo>
                      <a:pt x="4" y="301"/>
                      <a:pt x="3" y="300"/>
                      <a:pt x="3" y="298"/>
                    </a:cubicBezTo>
                    <a:cubicBezTo>
                      <a:pt x="4" y="300"/>
                      <a:pt x="4" y="300"/>
                      <a:pt x="4" y="300"/>
                    </a:cubicBezTo>
                    <a:close/>
                    <a:moveTo>
                      <a:pt x="3" y="298"/>
                    </a:moveTo>
                    <a:cubicBezTo>
                      <a:pt x="4" y="298"/>
                      <a:pt x="3" y="297"/>
                      <a:pt x="3" y="297"/>
                    </a:cubicBezTo>
                    <a:cubicBezTo>
                      <a:pt x="1" y="295"/>
                      <a:pt x="1" y="297"/>
                      <a:pt x="3" y="298"/>
                    </a:cubicBezTo>
                    <a:close/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07" name="Freeform 201"/>
              <p:cNvSpPr>
                <a:spLocks noEditPoints="1"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4207831" y="2269611"/>
                <a:ext cx="187146" cy="306445"/>
              </a:xfrm>
              <a:custGeom>
                <a:avLst/>
                <a:gdLst/>
                <a:ahLst/>
                <a:cxnLst>
                  <a:cxn ang="0">
                    <a:pos x="32" y="78"/>
                  </a:cxn>
                  <a:cxn ang="0">
                    <a:pos x="29" y="67"/>
                  </a:cxn>
                  <a:cxn ang="0">
                    <a:pos x="25" y="62"/>
                  </a:cxn>
                  <a:cxn ang="0">
                    <a:pos x="23" y="64"/>
                  </a:cxn>
                  <a:cxn ang="0">
                    <a:pos x="23" y="55"/>
                  </a:cxn>
                  <a:cxn ang="0">
                    <a:pos x="20" y="52"/>
                  </a:cxn>
                  <a:cxn ang="0">
                    <a:pos x="22" y="44"/>
                  </a:cxn>
                  <a:cxn ang="0">
                    <a:pos x="25" y="34"/>
                  </a:cxn>
                  <a:cxn ang="0">
                    <a:pos x="32" y="30"/>
                  </a:cxn>
                  <a:cxn ang="0">
                    <a:pos x="35" y="39"/>
                  </a:cxn>
                  <a:cxn ang="0">
                    <a:pos x="52" y="42"/>
                  </a:cxn>
                  <a:cxn ang="0">
                    <a:pos x="46" y="59"/>
                  </a:cxn>
                  <a:cxn ang="0">
                    <a:pos x="53" y="67"/>
                  </a:cxn>
                  <a:cxn ang="0">
                    <a:pos x="67" y="89"/>
                  </a:cxn>
                  <a:cxn ang="0">
                    <a:pos x="69" y="101"/>
                  </a:cxn>
                  <a:cxn ang="0">
                    <a:pos x="75" y="114"/>
                  </a:cxn>
                  <a:cxn ang="0">
                    <a:pos x="79" y="118"/>
                  </a:cxn>
                  <a:cxn ang="0">
                    <a:pos x="60" y="126"/>
                  </a:cxn>
                  <a:cxn ang="0">
                    <a:pos x="46" y="128"/>
                  </a:cxn>
                  <a:cxn ang="0">
                    <a:pos x="28" y="134"/>
                  </a:cxn>
                  <a:cxn ang="0">
                    <a:pos x="29" y="128"/>
                  </a:cxn>
                  <a:cxn ang="0">
                    <a:pos x="43" y="121"/>
                  </a:cxn>
                  <a:cxn ang="0">
                    <a:pos x="38" y="118"/>
                  </a:cxn>
                  <a:cxn ang="0">
                    <a:pos x="26" y="112"/>
                  </a:cxn>
                  <a:cxn ang="0">
                    <a:pos x="31" y="101"/>
                  </a:cxn>
                  <a:cxn ang="0">
                    <a:pos x="40" y="95"/>
                  </a:cxn>
                  <a:cxn ang="0">
                    <a:pos x="44" y="90"/>
                  </a:cxn>
                  <a:cxn ang="0">
                    <a:pos x="40" y="78"/>
                  </a:cxn>
                  <a:cxn ang="0">
                    <a:pos x="23" y="83"/>
                  </a:cxn>
                  <a:cxn ang="0">
                    <a:pos x="23" y="78"/>
                  </a:cxn>
                  <a:cxn ang="0">
                    <a:pos x="14" y="72"/>
                  </a:cxn>
                  <a:cxn ang="0">
                    <a:pos x="11" y="84"/>
                  </a:cxn>
                  <a:cxn ang="0">
                    <a:pos x="22" y="84"/>
                  </a:cxn>
                  <a:cxn ang="0">
                    <a:pos x="31" y="95"/>
                  </a:cxn>
                  <a:cxn ang="0">
                    <a:pos x="25" y="66"/>
                  </a:cxn>
                  <a:cxn ang="0">
                    <a:pos x="55" y="128"/>
                  </a:cxn>
                  <a:cxn ang="0">
                    <a:pos x="13" y="38"/>
                  </a:cxn>
                  <a:cxn ang="0">
                    <a:pos x="16" y="38"/>
                  </a:cxn>
                  <a:cxn ang="0">
                    <a:pos x="17" y="33"/>
                  </a:cxn>
                  <a:cxn ang="0">
                    <a:pos x="11" y="42"/>
                  </a:cxn>
                  <a:cxn ang="0">
                    <a:pos x="9" y="48"/>
                  </a:cxn>
                  <a:cxn ang="0">
                    <a:pos x="16" y="45"/>
                  </a:cxn>
                  <a:cxn ang="0">
                    <a:pos x="22" y="47"/>
                  </a:cxn>
                  <a:cxn ang="0">
                    <a:pos x="16" y="42"/>
                  </a:cxn>
                  <a:cxn ang="0">
                    <a:pos x="19" y="58"/>
                  </a:cxn>
                  <a:cxn ang="0">
                    <a:pos x="17" y="55"/>
                  </a:cxn>
                  <a:cxn ang="0">
                    <a:pos x="17" y="67"/>
                  </a:cxn>
                  <a:cxn ang="0">
                    <a:pos x="16" y="66"/>
                  </a:cxn>
                  <a:cxn ang="0">
                    <a:pos x="20" y="64"/>
                  </a:cxn>
                  <a:cxn ang="0">
                    <a:pos x="44" y="25"/>
                  </a:cxn>
                  <a:cxn ang="0">
                    <a:pos x="43" y="22"/>
                  </a:cxn>
                  <a:cxn ang="0">
                    <a:pos x="44" y="27"/>
                  </a:cxn>
                  <a:cxn ang="0">
                    <a:pos x="46" y="21"/>
                  </a:cxn>
                  <a:cxn ang="0">
                    <a:pos x="46" y="22"/>
                  </a:cxn>
                  <a:cxn ang="0">
                    <a:pos x="58" y="11"/>
                  </a:cxn>
                  <a:cxn ang="0">
                    <a:pos x="58" y="5"/>
                  </a:cxn>
                  <a:cxn ang="0">
                    <a:pos x="53" y="8"/>
                  </a:cxn>
                  <a:cxn ang="0">
                    <a:pos x="58" y="11"/>
                  </a:cxn>
                  <a:cxn ang="0">
                    <a:pos x="58" y="3"/>
                  </a:cxn>
                  <a:cxn ang="0">
                    <a:pos x="60" y="2"/>
                  </a:cxn>
                </a:cxnLst>
                <a:rect l="0" t="0" r="r" b="b"/>
                <a:pathLst>
                  <a:path w="82" h="135">
                    <a:moveTo>
                      <a:pt x="40" y="75"/>
                    </a:moveTo>
                    <a:cubicBezTo>
                      <a:pt x="38" y="78"/>
                      <a:pt x="38" y="75"/>
                      <a:pt x="37" y="76"/>
                    </a:cubicBezTo>
                    <a:cubicBezTo>
                      <a:pt x="35" y="80"/>
                      <a:pt x="32" y="75"/>
                      <a:pt x="32" y="76"/>
                    </a:cubicBezTo>
                    <a:cubicBezTo>
                      <a:pt x="34" y="78"/>
                      <a:pt x="32" y="80"/>
                      <a:pt x="32" y="78"/>
                    </a:cubicBezTo>
                    <a:cubicBezTo>
                      <a:pt x="31" y="76"/>
                      <a:pt x="28" y="75"/>
                      <a:pt x="28" y="78"/>
                    </a:cubicBezTo>
                    <a:cubicBezTo>
                      <a:pt x="29" y="81"/>
                      <a:pt x="26" y="76"/>
                      <a:pt x="26" y="75"/>
                    </a:cubicBezTo>
                    <a:cubicBezTo>
                      <a:pt x="28" y="73"/>
                      <a:pt x="28" y="76"/>
                      <a:pt x="28" y="73"/>
                    </a:cubicBezTo>
                    <a:cubicBezTo>
                      <a:pt x="28" y="70"/>
                      <a:pt x="32" y="70"/>
                      <a:pt x="29" y="67"/>
                    </a:cubicBezTo>
                    <a:cubicBezTo>
                      <a:pt x="28" y="64"/>
                      <a:pt x="29" y="64"/>
                      <a:pt x="31" y="62"/>
                    </a:cubicBezTo>
                    <a:cubicBezTo>
                      <a:pt x="28" y="59"/>
                      <a:pt x="29" y="64"/>
                      <a:pt x="28" y="64"/>
                    </a:cubicBezTo>
                    <a:cubicBezTo>
                      <a:pt x="26" y="62"/>
                      <a:pt x="28" y="64"/>
                      <a:pt x="26" y="64"/>
                    </a:cubicBezTo>
                    <a:cubicBezTo>
                      <a:pt x="25" y="62"/>
                      <a:pt x="26" y="61"/>
                      <a:pt x="25" y="62"/>
                    </a:cubicBezTo>
                    <a:cubicBezTo>
                      <a:pt x="23" y="62"/>
                      <a:pt x="26" y="64"/>
                      <a:pt x="25" y="66"/>
                    </a:cubicBezTo>
                    <a:cubicBezTo>
                      <a:pt x="23" y="67"/>
                      <a:pt x="23" y="72"/>
                      <a:pt x="22" y="72"/>
                    </a:cubicBezTo>
                    <a:cubicBezTo>
                      <a:pt x="20" y="70"/>
                      <a:pt x="25" y="64"/>
                      <a:pt x="23" y="66"/>
                    </a:cubicBezTo>
                    <a:cubicBezTo>
                      <a:pt x="23" y="66"/>
                      <a:pt x="23" y="66"/>
                      <a:pt x="23" y="64"/>
                    </a:cubicBezTo>
                    <a:cubicBezTo>
                      <a:pt x="23" y="62"/>
                      <a:pt x="22" y="62"/>
                      <a:pt x="23" y="61"/>
                    </a:cubicBezTo>
                    <a:cubicBezTo>
                      <a:pt x="23" y="59"/>
                      <a:pt x="22" y="59"/>
                      <a:pt x="23" y="58"/>
                    </a:cubicBezTo>
                    <a:cubicBezTo>
                      <a:pt x="25" y="58"/>
                      <a:pt x="23" y="56"/>
                      <a:pt x="25" y="55"/>
                    </a:cubicBezTo>
                    <a:cubicBezTo>
                      <a:pt x="26" y="53"/>
                      <a:pt x="26" y="53"/>
                      <a:pt x="23" y="55"/>
                    </a:cubicBezTo>
                    <a:cubicBezTo>
                      <a:pt x="22" y="56"/>
                      <a:pt x="23" y="55"/>
                      <a:pt x="22" y="55"/>
                    </a:cubicBezTo>
                    <a:cubicBezTo>
                      <a:pt x="20" y="55"/>
                      <a:pt x="19" y="55"/>
                      <a:pt x="20" y="55"/>
                    </a:cubicBezTo>
                    <a:cubicBezTo>
                      <a:pt x="22" y="53"/>
                      <a:pt x="23" y="53"/>
                      <a:pt x="20" y="53"/>
                    </a:cubicBezTo>
                    <a:cubicBezTo>
                      <a:pt x="17" y="53"/>
                      <a:pt x="19" y="52"/>
                      <a:pt x="20" y="52"/>
                    </a:cubicBezTo>
                    <a:cubicBezTo>
                      <a:pt x="20" y="53"/>
                      <a:pt x="22" y="52"/>
                      <a:pt x="22" y="52"/>
                    </a:cubicBezTo>
                    <a:cubicBezTo>
                      <a:pt x="19" y="50"/>
                      <a:pt x="23" y="50"/>
                      <a:pt x="22" y="48"/>
                    </a:cubicBezTo>
                    <a:cubicBezTo>
                      <a:pt x="22" y="48"/>
                      <a:pt x="22" y="48"/>
                      <a:pt x="23" y="47"/>
                    </a:cubicBezTo>
                    <a:cubicBezTo>
                      <a:pt x="23" y="45"/>
                      <a:pt x="22" y="47"/>
                      <a:pt x="22" y="44"/>
                    </a:cubicBezTo>
                    <a:cubicBezTo>
                      <a:pt x="20" y="41"/>
                      <a:pt x="23" y="42"/>
                      <a:pt x="22" y="39"/>
                    </a:cubicBezTo>
                    <a:cubicBezTo>
                      <a:pt x="20" y="38"/>
                      <a:pt x="23" y="38"/>
                      <a:pt x="25" y="39"/>
                    </a:cubicBezTo>
                    <a:cubicBezTo>
                      <a:pt x="25" y="39"/>
                      <a:pt x="25" y="38"/>
                      <a:pt x="25" y="36"/>
                    </a:cubicBezTo>
                    <a:cubicBezTo>
                      <a:pt x="23" y="34"/>
                      <a:pt x="28" y="36"/>
                      <a:pt x="25" y="34"/>
                    </a:cubicBezTo>
                    <a:cubicBezTo>
                      <a:pt x="23" y="31"/>
                      <a:pt x="29" y="36"/>
                      <a:pt x="26" y="33"/>
                    </a:cubicBezTo>
                    <a:cubicBezTo>
                      <a:pt x="25" y="31"/>
                      <a:pt x="28" y="33"/>
                      <a:pt x="28" y="30"/>
                    </a:cubicBezTo>
                    <a:cubicBezTo>
                      <a:pt x="26" y="28"/>
                      <a:pt x="28" y="28"/>
                      <a:pt x="29" y="30"/>
                    </a:cubicBezTo>
                    <a:cubicBezTo>
                      <a:pt x="31" y="30"/>
                      <a:pt x="31" y="28"/>
                      <a:pt x="32" y="30"/>
                    </a:cubicBezTo>
                    <a:cubicBezTo>
                      <a:pt x="34" y="30"/>
                      <a:pt x="37" y="28"/>
                      <a:pt x="40" y="28"/>
                    </a:cubicBezTo>
                    <a:cubicBezTo>
                      <a:pt x="41" y="30"/>
                      <a:pt x="38" y="28"/>
                      <a:pt x="41" y="28"/>
                    </a:cubicBezTo>
                    <a:cubicBezTo>
                      <a:pt x="44" y="28"/>
                      <a:pt x="43" y="30"/>
                      <a:pt x="43" y="30"/>
                    </a:cubicBezTo>
                    <a:cubicBezTo>
                      <a:pt x="44" y="31"/>
                      <a:pt x="37" y="38"/>
                      <a:pt x="35" y="39"/>
                    </a:cubicBezTo>
                    <a:cubicBezTo>
                      <a:pt x="34" y="39"/>
                      <a:pt x="38" y="38"/>
                      <a:pt x="37" y="39"/>
                    </a:cubicBezTo>
                    <a:cubicBezTo>
                      <a:pt x="35" y="41"/>
                      <a:pt x="34" y="42"/>
                      <a:pt x="35" y="42"/>
                    </a:cubicBezTo>
                    <a:cubicBezTo>
                      <a:pt x="38" y="42"/>
                      <a:pt x="38" y="39"/>
                      <a:pt x="43" y="41"/>
                    </a:cubicBezTo>
                    <a:cubicBezTo>
                      <a:pt x="49" y="41"/>
                      <a:pt x="52" y="39"/>
                      <a:pt x="52" y="42"/>
                    </a:cubicBezTo>
                    <a:cubicBezTo>
                      <a:pt x="53" y="44"/>
                      <a:pt x="52" y="44"/>
                      <a:pt x="50" y="50"/>
                    </a:cubicBezTo>
                    <a:cubicBezTo>
                      <a:pt x="47" y="56"/>
                      <a:pt x="46" y="56"/>
                      <a:pt x="44" y="56"/>
                    </a:cubicBezTo>
                    <a:cubicBezTo>
                      <a:pt x="43" y="56"/>
                      <a:pt x="46" y="56"/>
                      <a:pt x="44" y="58"/>
                    </a:cubicBezTo>
                    <a:cubicBezTo>
                      <a:pt x="44" y="58"/>
                      <a:pt x="49" y="58"/>
                      <a:pt x="46" y="59"/>
                    </a:cubicBezTo>
                    <a:cubicBezTo>
                      <a:pt x="44" y="61"/>
                      <a:pt x="44" y="59"/>
                      <a:pt x="43" y="61"/>
                    </a:cubicBezTo>
                    <a:cubicBezTo>
                      <a:pt x="43" y="62"/>
                      <a:pt x="38" y="62"/>
                      <a:pt x="41" y="62"/>
                    </a:cubicBezTo>
                    <a:cubicBezTo>
                      <a:pt x="46" y="64"/>
                      <a:pt x="43" y="59"/>
                      <a:pt x="47" y="62"/>
                    </a:cubicBezTo>
                    <a:cubicBezTo>
                      <a:pt x="52" y="64"/>
                      <a:pt x="50" y="66"/>
                      <a:pt x="53" y="67"/>
                    </a:cubicBezTo>
                    <a:cubicBezTo>
                      <a:pt x="55" y="69"/>
                      <a:pt x="53" y="70"/>
                      <a:pt x="57" y="75"/>
                    </a:cubicBezTo>
                    <a:cubicBezTo>
                      <a:pt x="58" y="81"/>
                      <a:pt x="58" y="80"/>
                      <a:pt x="61" y="80"/>
                    </a:cubicBezTo>
                    <a:cubicBezTo>
                      <a:pt x="64" y="81"/>
                      <a:pt x="63" y="84"/>
                      <a:pt x="66" y="84"/>
                    </a:cubicBezTo>
                    <a:cubicBezTo>
                      <a:pt x="67" y="86"/>
                      <a:pt x="64" y="86"/>
                      <a:pt x="67" y="89"/>
                    </a:cubicBezTo>
                    <a:cubicBezTo>
                      <a:pt x="70" y="92"/>
                      <a:pt x="69" y="92"/>
                      <a:pt x="66" y="90"/>
                    </a:cubicBezTo>
                    <a:cubicBezTo>
                      <a:pt x="64" y="89"/>
                      <a:pt x="64" y="90"/>
                      <a:pt x="67" y="92"/>
                    </a:cubicBezTo>
                    <a:cubicBezTo>
                      <a:pt x="69" y="94"/>
                      <a:pt x="72" y="98"/>
                      <a:pt x="70" y="98"/>
                    </a:cubicBezTo>
                    <a:cubicBezTo>
                      <a:pt x="69" y="100"/>
                      <a:pt x="67" y="101"/>
                      <a:pt x="69" y="101"/>
                    </a:cubicBezTo>
                    <a:cubicBezTo>
                      <a:pt x="70" y="101"/>
                      <a:pt x="70" y="103"/>
                      <a:pt x="72" y="100"/>
                    </a:cubicBezTo>
                    <a:cubicBezTo>
                      <a:pt x="72" y="98"/>
                      <a:pt x="81" y="100"/>
                      <a:pt x="81" y="104"/>
                    </a:cubicBezTo>
                    <a:cubicBezTo>
                      <a:pt x="82" y="112"/>
                      <a:pt x="76" y="112"/>
                      <a:pt x="78" y="114"/>
                    </a:cubicBezTo>
                    <a:cubicBezTo>
                      <a:pt x="79" y="114"/>
                      <a:pt x="76" y="112"/>
                      <a:pt x="75" y="114"/>
                    </a:cubicBezTo>
                    <a:cubicBezTo>
                      <a:pt x="73" y="115"/>
                      <a:pt x="76" y="114"/>
                      <a:pt x="75" y="117"/>
                    </a:cubicBezTo>
                    <a:cubicBezTo>
                      <a:pt x="75" y="117"/>
                      <a:pt x="70" y="117"/>
                      <a:pt x="72" y="117"/>
                    </a:cubicBezTo>
                    <a:cubicBezTo>
                      <a:pt x="73" y="118"/>
                      <a:pt x="72" y="118"/>
                      <a:pt x="73" y="118"/>
                    </a:cubicBezTo>
                    <a:cubicBezTo>
                      <a:pt x="75" y="120"/>
                      <a:pt x="79" y="117"/>
                      <a:pt x="79" y="118"/>
                    </a:cubicBezTo>
                    <a:cubicBezTo>
                      <a:pt x="78" y="120"/>
                      <a:pt x="79" y="121"/>
                      <a:pt x="76" y="123"/>
                    </a:cubicBezTo>
                    <a:cubicBezTo>
                      <a:pt x="73" y="123"/>
                      <a:pt x="76" y="125"/>
                      <a:pt x="73" y="125"/>
                    </a:cubicBezTo>
                    <a:cubicBezTo>
                      <a:pt x="72" y="125"/>
                      <a:pt x="70" y="128"/>
                      <a:pt x="67" y="126"/>
                    </a:cubicBezTo>
                    <a:cubicBezTo>
                      <a:pt x="64" y="125"/>
                      <a:pt x="61" y="128"/>
                      <a:pt x="60" y="126"/>
                    </a:cubicBezTo>
                    <a:cubicBezTo>
                      <a:pt x="60" y="125"/>
                      <a:pt x="60" y="126"/>
                      <a:pt x="58" y="126"/>
                    </a:cubicBezTo>
                    <a:cubicBezTo>
                      <a:pt x="55" y="125"/>
                      <a:pt x="58" y="126"/>
                      <a:pt x="53" y="126"/>
                    </a:cubicBezTo>
                    <a:cubicBezTo>
                      <a:pt x="50" y="128"/>
                      <a:pt x="53" y="129"/>
                      <a:pt x="50" y="128"/>
                    </a:cubicBezTo>
                    <a:cubicBezTo>
                      <a:pt x="47" y="128"/>
                      <a:pt x="49" y="131"/>
                      <a:pt x="46" y="128"/>
                    </a:cubicBezTo>
                    <a:cubicBezTo>
                      <a:pt x="44" y="125"/>
                      <a:pt x="41" y="129"/>
                      <a:pt x="40" y="128"/>
                    </a:cubicBezTo>
                    <a:cubicBezTo>
                      <a:pt x="40" y="128"/>
                      <a:pt x="40" y="134"/>
                      <a:pt x="37" y="132"/>
                    </a:cubicBezTo>
                    <a:cubicBezTo>
                      <a:pt x="35" y="131"/>
                      <a:pt x="35" y="131"/>
                      <a:pt x="32" y="131"/>
                    </a:cubicBezTo>
                    <a:cubicBezTo>
                      <a:pt x="29" y="131"/>
                      <a:pt x="29" y="132"/>
                      <a:pt x="28" y="134"/>
                    </a:cubicBezTo>
                    <a:cubicBezTo>
                      <a:pt x="26" y="134"/>
                      <a:pt x="28" y="135"/>
                      <a:pt x="26" y="135"/>
                    </a:cubicBezTo>
                    <a:cubicBezTo>
                      <a:pt x="25" y="135"/>
                      <a:pt x="25" y="134"/>
                      <a:pt x="23" y="134"/>
                    </a:cubicBezTo>
                    <a:cubicBezTo>
                      <a:pt x="22" y="135"/>
                      <a:pt x="22" y="132"/>
                      <a:pt x="25" y="132"/>
                    </a:cubicBezTo>
                    <a:cubicBezTo>
                      <a:pt x="26" y="132"/>
                      <a:pt x="26" y="129"/>
                      <a:pt x="29" y="128"/>
                    </a:cubicBezTo>
                    <a:cubicBezTo>
                      <a:pt x="31" y="128"/>
                      <a:pt x="29" y="128"/>
                      <a:pt x="31" y="126"/>
                    </a:cubicBezTo>
                    <a:cubicBezTo>
                      <a:pt x="32" y="125"/>
                      <a:pt x="29" y="123"/>
                      <a:pt x="32" y="123"/>
                    </a:cubicBezTo>
                    <a:cubicBezTo>
                      <a:pt x="35" y="123"/>
                      <a:pt x="32" y="120"/>
                      <a:pt x="35" y="120"/>
                    </a:cubicBezTo>
                    <a:cubicBezTo>
                      <a:pt x="40" y="120"/>
                      <a:pt x="38" y="121"/>
                      <a:pt x="43" y="121"/>
                    </a:cubicBezTo>
                    <a:cubicBezTo>
                      <a:pt x="46" y="120"/>
                      <a:pt x="41" y="120"/>
                      <a:pt x="47" y="117"/>
                    </a:cubicBezTo>
                    <a:cubicBezTo>
                      <a:pt x="47" y="115"/>
                      <a:pt x="47" y="115"/>
                      <a:pt x="49" y="114"/>
                    </a:cubicBezTo>
                    <a:cubicBezTo>
                      <a:pt x="46" y="115"/>
                      <a:pt x="46" y="117"/>
                      <a:pt x="44" y="117"/>
                    </a:cubicBezTo>
                    <a:cubicBezTo>
                      <a:pt x="43" y="117"/>
                      <a:pt x="41" y="121"/>
                      <a:pt x="38" y="118"/>
                    </a:cubicBezTo>
                    <a:cubicBezTo>
                      <a:pt x="35" y="115"/>
                      <a:pt x="32" y="118"/>
                      <a:pt x="34" y="117"/>
                    </a:cubicBezTo>
                    <a:cubicBezTo>
                      <a:pt x="34" y="115"/>
                      <a:pt x="32" y="114"/>
                      <a:pt x="29" y="115"/>
                    </a:cubicBezTo>
                    <a:cubicBezTo>
                      <a:pt x="28" y="117"/>
                      <a:pt x="26" y="115"/>
                      <a:pt x="26" y="114"/>
                    </a:cubicBezTo>
                    <a:cubicBezTo>
                      <a:pt x="28" y="112"/>
                      <a:pt x="25" y="114"/>
                      <a:pt x="26" y="112"/>
                    </a:cubicBezTo>
                    <a:cubicBezTo>
                      <a:pt x="28" y="109"/>
                      <a:pt x="28" y="112"/>
                      <a:pt x="32" y="109"/>
                    </a:cubicBezTo>
                    <a:cubicBezTo>
                      <a:pt x="37" y="106"/>
                      <a:pt x="34" y="104"/>
                      <a:pt x="35" y="103"/>
                    </a:cubicBezTo>
                    <a:cubicBezTo>
                      <a:pt x="37" y="101"/>
                      <a:pt x="34" y="103"/>
                      <a:pt x="35" y="101"/>
                    </a:cubicBezTo>
                    <a:cubicBezTo>
                      <a:pt x="35" y="98"/>
                      <a:pt x="32" y="103"/>
                      <a:pt x="31" y="101"/>
                    </a:cubicBezTo>
                    <a:cubicBezTo>
                      <a:pt x="31" y="101"/>
                      <a:pt x="29" y="103"/>
                      <a:pt x="31" y="101"/>
                    </a:cubicBezTo>
                    <a:cubicBezTo>
                      <a:pt x="31" y="100"/>
                      <a:pt x="32" y="100"/>
                      <a:pt x="34" y="97"/>
                    </a:cubicBezTo>
                    <a:cubicBezTo>
                      <a:pt x="35" y="95"/>
                      <a:pt x="35" y="97"/>
                      <a:pt x="37" y="95"/>
                    </a:cubicBezTo>
                    <a:cubicBezTo>
                      <a:pt x="37" y="95"/>
                      <a:pt x="37" y="97"/>
                      <a:pt x="40" y="95"/>
                    </a:cubicBezTo>
                    <a:cubicBezTo>
                      <a:pt x="41" y="94"/>
                      <a:pt x="43" y="97"/>
                      <a:pt x="43" y="95"/>
                    </a:cubicBezTo>
                    <a:cubicBezTo>
                      <a:pt x="41" y="94"/>
                      <a:pt x="43" y="94"/>
                      <a:pt x="44" y="95"/>
                    </a:cubicBezTo>
                    <a:cubicBezTo>
                      <a:pt x="44" y="97"/>
                      <a:pt x="44" y="95"/>
                      <a:pt x="44" y="94"/>
                    </a:cubicBezTo>
                    <a:cubicBezTo>
                      <a:pt x="41" y="90"/>
                      <a:pt x="44" y="90"/>
                      <a:pt x="44" y="90"/>
                    </a:cubicBezTo>
                    <a:cubicBezTo>
                      <a:pt x="41" y="89"/>
                      <a:pt x="46" y="87"/>
                      <a:pt x="44" y="87"/>
                    </a:cubicBezTo>
                    <a:cubicBezTo>
                      <a:pt x="44" y="86"/>
                      <a:pt x="46" y="84"/>
                      <a:pt x="44" y="84"/>
                    </a:cubicBezTo>
                    <a:cubicBezTo>
                      <a:pt x="43" y="84"/>
                      <a:pt x="43" y="87"/>
                      <a:pt x="41" y="86"/>
                    </a:cubicBezTo>
                    <a:cubicBezTo>
                      <a:pt x="40" y="83"/>
                      <a:pt x="37" y="83"/>
                      <a:pt x="40" y="78"/>
                    </a:cubicBezTo>
                    <a:cubicBezTo>
                      <a:pt x="43" y="73"/>
                      <a:pt x="40" y="78"/>
                      <a:pt x="41" y="75"/>
                    </a:cubicBezTo>
                    <a:cubicBezTo>
                      <a:pt x="43" y="75"/>
                      <a:pt x="40" y="75"/>
                      <a:pt x="40" y="75"/>
                    </a:cubicBezTo>
                    <a:close/>
                    <a:moveTo>
                      <a:pt x="22" y="84"/>
                    </a:moveTo>
                    <a:cubicBezTo>
                      <a:pt x="22" y="83"/>
                      <a:pt x="23" y="84"/>
                      <a:pt x="23" y="83"/>
                    </a:cubicBezTo>
                    <a:cubicBezTo>
                      <a:pt x="22" y="83"/>
                      <a:pt x="22" y="83"/>
                      <a:pt x="22" y="83"/>
                    </a:cubicBezTo>
                    <a:cubicBezTo>
                      <a:pt x="23" y="81"/>
                      <a:pt x="23" y="80"/>
                      <a:pt x="23" y="81"/>
                    </a:cubicBezTo>
                    <a:cubicBezTo>
                      <a:pt x="23" y="83"/>
                      <a:pt x="25" y="83"/>
                      <a:pt x="25" y="81"/>
                    </a:cubicBezTo>
                    <a:cubicBezTo>
                      <a:pt x="23" y="78"/>
                      <a:pt x="23" y="78"/>
                      <a:pt x="23" y="78"/>
                    </a:cubicBezTo>
                    <a:cubicBezTo>
                      <a:pt x="22" y="80"/>
                      <a:pt x="20" y="80"/>
                      <a:pt x="22" y="78"/>
                    </a:cubicBezTo>
                    <a:cubicBezTo>
                      <a:pt x="23" y="78"/>
                      <a:pt x="23" y="76"/>
                      <a:pt x="22" y="76"/>
                    </a:cubicBezTo>
                    <a:cubicBezTo>
                      <a:pt x="20" y="76"/>
                      <a:pt x="20" y="73"/>
                      <a:pt x="19" y="72"/>
                    </a:cubicBezTo>
                    <a:cubicBezTo>
                      <a:pt x="19" y="70"/>
                      <a:pt x="16" y="72"/>
                      <a:pt x="14" y="72"/>
                    </a:cubicBezTo>
                    <a:cubicBezTo>
                      <a:pt x="11" y="72"/>
                      <a:pt x="13" y="73"/>
                      <a:pt x="9" y="73"/>
                    </a:cubicBezTo>
                    <a:cubicBezTo>
                      <a:pt x="6" y="75"/>
                      <a:pt x="9" y="78"/>
                      <a:pt x="6" y="78"/>
                    </a:cubicBezTo>
                    <a:cubicBezTo>
                      <a:pt x="3" y="78"/>
                      <a:pt x="8" y="80"/>
                      <a:pt x="5" y="81"/>
                    </a:cubicBezTo>
                    <a:cubicBezTo>
                      <a:pt x="0" y="83"/>
                      <a:pt x="11" y="87"/>
                      <a:pt x="11" y="84"/>
                    </a:cubicBezTo>
                    <a:cubicBezTo>
                      <a:pt x="11" y="83"/>
                      <a:pt x="13" y="81"/>
                      <a:pt x="13" y="83"/>
                    </a:cubicBezTo>
                    <a:cubicBezTo>
                      <a:pt x="14" y="86"/>
                      <a:pt x="14" y="84"/>
                      <a:pt x="14" y="86"/>
                    </a:cubicBezTo>
                    <a:cubicBezTo>
                      <a:pt x="16" y="87"/>
                      <a:pt x="16" y="86"/>
                      <a:pt x="17" y="86"/>
                    </a:cubicBezTo>
                    <a:cubicBezTo>
                      <a:pt x="20" y="86"/>
                      <a:pt x="19" y="89"/>
                      <a:pt x="22" y="84"/>
                    </a:cubicBezTo>
                    <a:close/>
                    <a:moveTo>
                      <a:pt x="32" y="83"/>
                    </a:moveTo>
                    <a:cubicBezTo>
                      <a:pt x="34" y="83"/>
                      <a:pt x="32" y="87"/>
                      <a:pt x="31" y="86"/>
                    </a:cubicBezTo>
                    <a:cubicBezTo>
                      <a:pt x="28" y="86"/>
                      <a:pt x="32" y="81"/>
                      <a:pt x="32" y="83"/>
                    </a:cubicBezTo>
                    <a:close/>
                    <a:moveTo>
                      <a:pt x="31" y="95"/>
                    </a:moveTo>
                    <a:cubicBezTo>
                      <a:pt x="32" y="92"/>
                      <a:pt x="35" y="95"/>
                      <a:pt x="34" y="97"/>
                    </a:cubicBezTo>
                    <a:cubicBezTo>
                      <a:pt x="32" y="98"/>
                      <a:pt x="31" y="97"/>
                      <a:pt x="31" y="95"/>
                    </a:cubicBezTo>
                    <a:close/>
                    <a:moveTo>
                      <a:pt x="26" y="69"/>
                    </a:moveTo>
                    <a:cubicBezTo>
                      <a:pt x="25" y="69"/>
                      <a:pt x="25" y="67"/>
                      <a:pt x="25" y="66"/>
                    </a:cubicBezTo>
                    <a:cubicBezTo>
                      <a:pt x="26" y="64"/>
                      <a:pt x="28" y="69"/>
                      <a:pt x="26" y="69"/>
                    </a:cubicBezTo>
                    <a:close/>
                    <a:moveTo>
                      <a:pt x="55" y="128"/>
                    </a:moveTo>
                    <a:cubicBezTo>
                      <a:pt x="57" y="126"/>
                      <a:pt x="58" y="126"/>
                      <a:pt x="58" y="128"/>
                    </a:cubicBezTo>
                    <a:cubicBezTo>
                      <a:pt x="60" y="128"/>
                      <a:pt x="58" y="129"/>
                      <a:pt x="55" y="128"/>
                    </a:cubicBezTo>
                    <a:close/>
                    <a:moveTo>
                      <a:pt x="14" y="34"/>
                    </a:moveTo>
                    <a:cubicBezTo>
                      <a:pt x="13" y="36"/>
                      <a:pt x="13" y="33"/>
                      <a:pt x="13" y="34"/>
                    </a:cubicBezTo>
                    <a:cubicBezTo>
                      <a:pt x="11" y="34"/>
                      <a:pt x="11" y="36"/>
                      <a:pt x="11" y="36"/>
                    </a:cubicBezTo>
                    <a:cubicBezTo>
                      <a:pt x="13" y="38"/>
                      <a:pt x="9" y="36"/>
                      <a:pt x="13" y="38"/>
                    </a:cubicBezTo>
                    <a:cubicBezTo>
                      <a:pt x="14" y="38"/>
                      <a:pt x="9" y="38"/>
                      <a:pt x="11" y="39"/>
                    </a:cubicBezTo>
                    <a:cubicBezTo>
                      <a:pt x="13" y="41"/>
                      <a:pt x="13" y="39"/>
                      <a:pt x="14" y="39"/>
                    </a:cubicBezTo>
                    <a:cubicBezTo>
                      <a:pt x="14" y="39"/>
                      <a:pt x="14" y="39"/>
                      <a:pt x="14" y="38"/>
                    </a:cubicBezTo>
                    <a:cubicBezTo>
                      <a:pt x="16" y="38"/>
                      <a:pt x="17" y="38"/>
                      <a:pt x="16" y="38"/>
                    </a:cubicBezTo>
                    <a:cubicBezTo>
                      <a:pt x="16" y="36"/>
                      <a:pt x="17" y="36"/>
                      <a:pt x="17" y="36"/>
                    </a:cubicBezTo>
                    <a:cubicBezTo>
                      <a:pt x="16" y="36"/>
                      <a:pt x="17" y="36"/>
                      <a:pt x="17" y="34"/>
                    </a:cubicBezTo>
                    <a:cubicBezTo>
                      <a:pt x="17" y="33"/>
                      <a:pt x="17" y="34"/>
                      <a:pt x="19" y="34"/>
                    </a:cubicBezTo>
                    <a:cubicBezTo>
                      <a:pt x="20" y="33"/>
                      <a:pt x="17" y="34"/>
                      <a:pt x="17" y="33"/>
                    </a:cubicBezTo>
                    <a:cubicBezTo>
                      <a:pt x="19" y="33"/>
                      <a:pt x="19" y="31"/>
                      <a:pt x="19" y="30"/>
                    </a:cubicBezTo>
                    <a:cubicBezTo>
                      <a:pt x="19" y="30"/>
                      <a:pt x="16" y="31"/>
                      <a:pt x="14" y="33"/>
                    </a:cubicBezTo>
                    <a:cubicBezTo>
                      <a:pt x="13" y="33"/>
                      <a:pt x="14" y="34"/>
                      <a:pt x="14" y="34"/>
                    </a:cubicBezTo>
                    <a:close/>
                    <a:moveTo>
                      <a:pt x="11" y="42"/>
                    </a:moveTo>
                    <a:cubicBezTo>
                      <a:pt x="13" y="41"/>
                      <a:pt x="11" y="41"/>
                      <a:pt x="11" y="41"/>
                    </a:cubicBezTo>
                    <a:cubicBezTo>
                      <a:pt x="9" y="41"/>
                      <a:pt x="9" y="41"/>
                      <a:pt x="8" y="41"/>
                    </a:cubicBezTo>
                    <a:cubicBezTo>
                      <a:pt x="8" y="42"/>
                      <a:pt x="11" y="44"/>
                      <a:pt x="11" y="42"/>
                    </a:cubicBezTo>
                    <a:close/>
                    <a:moveTo>
                      <a:pt x="9" y="48"/>
                    </a:moveTo>
                    <a:cubicBezTo>
                      <a:pt x="11" y="48"/>
                      <a:pt x="9" y="47"/>
                      <a:pt x="9" y="47"/>
                    </a:cubicBezTo>
                    <a:cubicBezTo>
                      <a:pt x="11" y="45"/>
                      <a:pt x="11" y="45"/>
                      <a:pt x="9" y="45"/>
                    </a:cubicBezTo>
                    <a:cubicBezTo>
                      <a:pt x="8" y="44"/>
                      <a:pt x="8" y="48"/>
                      <a:pt x="9" y="48"/>
                    </a:cubicBezTo>
                    <a:close/>
                    <a:moveTo>
                      <a:pt x="16" y="45"/>
                    </a:moveTo>
                    <a:cubicBezTo>
                      <a:pt x="17" y="45"/>
                      <a:pt x="16" y="45"/>
                      <a:pt x="17" y="47"/>
                    </a:cubicBezTo>
                    <a:cubicBezTo>
                      <a:pt x="17" y="48"/>
                      <a:pt x="19" y="47"/>
                      <a:pt x="20" y="47"/>
                    </a:cubicBezTo>
                    <a:cubicBezTo>
                      <a:pt x="22" y="47"/>
                      <a:pt x="19" y="48"/>
                      <a:pt x="20" y="50"/>
                    </a:cubicBezTo>
                    <a:cubicBezTo>
                      <a:pt x="22" y="47"/>
                      <a:pt x="22" y="47"/>
                      <a:pt x="22" y="47"/>
                    </a:cubicBezTo>
                    <a:cubicBezTo>
                      <a:pt x="23" y="45"/>
                      <a:pt x="22" y="47"/>
                      <a:pt x="20" y="45"/>
                    </a:cubicBezTo>
                    <a:cubicBezTo>
                      <a:pt x="19" y="45"/>
                      <a:pt x="19" y="41"/>
                      <a:pt x="17" y="41"/>
                    </a:cubicBezTo>
                    <a:cubicBezTo>
                      <a:pt x="17" y="41"/>
                      <a:pt x="17" y="42"/>
                      <a:pt x="17" y="44"/>
                    </a:cubicBezTo>
                    <a:cubicBezTo>
                      <a:pt x="16" y="42"/>
                      <a:pt x="16" y="42"/>
                      <a:pt x="16" y="42"/>
                    </a:cubicBezTo>
                    <a:cubicBezTo>
                      <a:pt x="14" y="42"/>
                      <a:pt x="16" y="44"/>
                      <a:pt x="16" y="44"/>
                    </a:cubicBezTo>
                    <a:cubicBezTo>
                      <a:pt x="16" y="44"/>
                      <a:pt x="13" y="44"/>
                      <a:pt x="14" y="45"/>
                    </a:cubicBezTo>
                    <a:cubicBezTo>
                      <a:pt x="16" y="45"/>
                      <a:pt x="16" y="44"/>
                      <a:pt x="16" y="45"/>
                    </a:cubicBezTo>
                    <a:close/>
                    <a:moveTo>
                      <a:pt x="19" y="58"/>
                    </a:moveTo>
                    <a:cubicBezTo>
                      <a:pt x="19" y="58"/>
                      <a:pt x="17" y="58"/>
                      <a:pt x="17" y="59"/>
                    </a:cubicBezTo>
                    <a:cubicBezTo>
                      <a:pt x="17" y="59"/>
                      <a:pt x="20" y="58"/>
                      <a:pt x="22" y="58"/>
                    </a:cubicBezTo>
                    <a:cubicBezTo>
                      <a:pt x="23" y="58"/>
                      <a:pt x="22" y="56"/>
                      <a:pt x="20" y="56"/>
                    </a:cubicBezTo>
                    <a:cubicBezTo>
                      <a:pt x="19" y="55"/>
                      <a:pt x="19" y="53"/>
                      <a:pt x="17" y="55"/>
                    </a:cubicBezTo>
                    <a:cubicBezTo>
                      <a:pt x="17" y="56"/>
                      <a:pt x="17" y="56"/>
                      <a:pt x="19" y="56"/>
                    </a:cubicBezTo>
                    <a:cubicBezTo>
                      <a:pt x="20" y="56"/>
                      <a:pt x="19" y="56"/>
                      <a:pt x="19" y="58"/>
                    </a:cubicBezTo>
                    <a:close/>
                    <a:moveTo>
                      <a:pt x="17" y="66"/>
                    </a:moveTo>
                    <a:cubicBezTo>
                      <a:pt x="19" y="67"/>
                      <a:pt x="17" y="67"/>
                      <a:pt x="17" y="67"/>
                    </a:cubicBezTo>
                    <a:cubicBezTo>
                      <a:pt x="17" y="69"/>
                      <a:pt x="19" y="67"/>
                      <a:pt x="19" y="67"/>
                    </a:cubicBezTo>
                    <a:cubicBezTo>
                      <a:pt x="20" y="66"/>
                      <a:pt x="19" y="66"/>
                      <a:pt x="19" y="64"/>
                    </a:cubicBezTo>
                    <a:cubicBezTo>
                      <a:pt x="19" y="62"/>
                      <a:pt x="17" y="64"/>
                      <a:pt x="17" y="64"/>
                    </a:cubicBezTo>
                    <a:cubicBezTo>
                      <a:pt x="17" y="62"/>
                      <a:pt x="14" y="66"/>
                      <a:pt x="16" y="66"/>
                    </a:cubicBezTo>
                    <a:cubicBezTo>
                      <a:pt x="17" y="67"/>
                      <a:pt x="17" y="64"/>
                      <a:pt x="17" y="66"/>
                    </a:cubicBezTo>
                    <a:close/>
                    <a:moveTo>
                      <a:pt x="20" y="64"/>
                    </a:moveTo>
                    <a:cubicBezTo>
                      <a:pt x="19" y="62"/>
                      <a:pt x="20" y="61"/>
                      <a:pt x="22" y="61"/>
                    </a:cubicBezTo>
                    <a:cubicBezTo>
                      <a:pt x="23" y="59"/>
                      <a:pt x="20" y="66"/>
                      <a:pt x="20" y="64"/>
                    </a:cubicBezTo>
                    <a:close/>
                    <a:moveTo>
                      <a:pt x="41" y="27"/>
                    </a:moveTo>
                    <a:cubicBezTo>
                      <a:pt x="41" y="27"/>
                      <a:pt x="40" y="25"/>
                      <a:pt x="41" y="25"/>
                    </a:cubicBezTo>
                    <a:cubicBezTo>
                      <a:pt x="41" y="25"/>
                      <a:pt x="43" y="27"/>
                      <a:pt x="41" y="27"/>
                    </a:cubicBezTo>
                    <a:close/>
                    <a:moveTo>
                      <a:pt x="44" y="25"/>
                    </a:moveTo>
                    <a:cubicBezTo>
                      <a:pt x="44" y="27"/>
                      <a:pt x="46" y="25"/>
                      <a:pt x="46" y="24"/>
                    </a:cubicBezTo>
                    <a:cubicBezTo>
                      <a:pt x="46" y="24"/>
                      <a:pt x="44" y="25"/>
                      <a:pt x="44" y="24"/>
                    </a:cubicBezTo>
                    <a:cubicBezTo>
                      <a:pt x="44" y="24"/>
                      <a:pt x="43" y="25"/>
                      <a:pt x="43" y="24"/>
                    </a:cubicBezTo>
                    <a:cubicBezTo>
                      <a:pt x="44" y="22"/>
                      <a:pt x="43" y="22"/>
                      <a:pt x="43" y="22"/>
                    </a:cubicBezTo>
                    <a:cubicBezTo>
                      <a:pt x="41" y="22"/>
                      <a:pt x="40" y="24"/>
                      <a:pt x="41" y="24"/>
                    </a:cubicBezTo>
                    <a:cubicBezTo>
                      <a:pt x="43" y="25"/>
                      <a:pt x="43" y="24"/>
                      <a:pt x="44" y="25"/>
                    </a:cubicBezTo>
                    <a:close/>
                    <a:moveTo>
                      <a:pt x="44" y="27"/>
                    </a:moveTo>
                    <a:cubicBezTo>
                      <a:pt x="44" y="25"/>
                      <a:pt x="44" y="27"/>
                      <a:pt x="44" y="27"/>
                    </a:cubicBezTo>
                    <a:cubicBezTo>
                      <a:pt x="43" y="27"/>
                      <a:pt x="43" y="27"/>
                      <a:pt x="44" y="27"/>
                    </a:cubicBezTo>
                    <a:close/>
                    <a:moveTo>
                      <a:pt x="46" y="21"/>
                    </a:moveTo>
                    <a:cubicBezTo>
                      <a:pt x="47" y="21"/>
                      <a:pt x="47" y="19"/>
                      <a:pt x="47" y="21"/>
                    </a:cubicBezTo>
                    <a:cubicBezTo>
                      <a:pt x="46" y="21"/>
                      <a:pt x="46" y="19"/>
                      <a:pt x="46" y="21"/>
                    </a:cubicBezTo>
                    <a:cubicBezTo>
                      <a:pt x="46" y="22"/>
                      <a:pt x="46" y="21"/>
                      <a:pt x="46" y="21"/>
                    </a:cubicBezTo>
                    <a:close/>
                    <a:moveTo>
                      <a:pt x="46" y="22"/>
                    </a:moveTo>
                    <a:cubicBezTo>
                      <a:pt x="46" y="21"/>
                      <a:pt x="47" y="22"/>
                      <a:pt x="47" y="22"/>
                    </a:cubicBezTo>
                    <a:cubicBezTo>
                      <a:pt x="46" y="24"/>
                      <a:pt x="46" y="24"/>
                      <a:pt x="46" y="22"/>
                    </a:cubicBezTo>
                    <a:close/>
                    <a:moveTo>
                      <a:pt x="43" y="19"/>
                    </a:moveTo>
                    <a:cubicBezTo>
                      <a:pt x="44" y="19"/>
                      <a:pt x="44" y="21"/>
                      <a:pt x="44" y="21"/>
                    </a:cubicBezTo>
                    <a:cubicBezTo>
                      <a:pt x="44" y="21"/>
                      <a:pt x="43" y="21"/>
                      <a:pt x="43" y="19"/>
                    </a:cubicBezTo>
                    <a:close/>
                    <a:moveTo>
                      <a:pt x="58" y="11"/>
                    </a:moveTo>
                    <a:cubicBezTo>
                      <a:pt x="58" y="10"/>
                      <a:pt x="58" y="10"/>
                      <a:pt x="58" y="8"/>
                    </a:cubicBezTo>
                    <a:cubicBezTo>
                      <a:pt x="58" y="8"/>
                      <a:pt x="58" y="8"/>
                      <a:pt x="60" y="5"/>
                    </a:cubicBezTo>
                    <a:cubicBezTo>
                      <a:pt x="60" y="3"/>
                      <a:pt x="58" y="7"/>
                      <a:pt x="58" y="5"/>
                    </a:cubicBezTo>
                    <a:cubicBezTo>
                      <a:pt x="58" y="5"/>
                      <a:pt x="58" y="3"/>
                      <a:pt x="58" y="5"/>
                    </a:cubicBezTo>
                    <a:cubicBezTo>
                      <a:pt x="57" y="7"/>
                      <a:pt x="57" y="5"/>
                      <a:pt x="57" y="3"/>
                    </a:cubicBezTo>
                    <a:cubicBezTo>
                      <a:pt x="58" y="2"/>
                      <a:pt x="53" y="5"/>
                      <a:pt x="55" y="5"/>
                    </a:cubicBezTo>
                    <a:cubicBezTo>
                      <a:pt x="55" y="5"/>
                      <a:pt x="57" y="5"/>
                      <a:pt x="57" y="7"/>
                    </a:cubicBezTo>
                    <a:cubicBezTo>
                      <a:pt x="57" y="7"/>
                      <a:pt x="53" y="7"/>
                      <a:pt x="53" y="8"/>
                    </a:cubicBezTo>
                    <a:cubicBezTo>
                      <a:pt x="53" y="10"/>
                      <a:pt x="55" y="8"/>
                      <a:pt x="55" y="8"/>
                    </a:cubicBezTo>
                    <a:cubicBezTo>
                      <a:pt x="57" y="10"/>
                      <a:pt x="57" y="8"/>
                      <a:pt x="57" y="8"/>
                    </a:cubicBezTo>
                    <a:cubicBezTo>
                      <a:pt x="58" y="10"/>
                      <a:pt x="55" y="11"/>
                      <a:pt x="57" y="13"/>
                    </a:cubicBezTo>
                    <a:cubicBezTo>
                      <a:pt x="58" y="14"/>
                      <a:pt x="58" y="11"/>
                      <a:pt x="58" y="11"/>
                    </a:cubicBezTo>
                    <a:close/>
                    <a:moveTo>
                      <a:pt x="60" y="3"/>
                    </a:moveTo>
                    <a:cubicBezTo>
                      <a:pt x="60" y="2"/>
                      <a:pt x="60" y="2"/>
                      <a:pt x="60" y="2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8" y="3"/>
                      <a:pt x="58" y="3"/>
                      <a:pt x="58" y="3"/>
                    </a:cubicBezTo>
                    <a:cubicBezTo>
                      <a:pt x="60" y="5"/>
                      <a:pt x="58" y="3"/>
                      <a:pt x="60" y="3"/>
                    </a:cubicBezTo>
                    <a:close/>
                    <a:moveTo>
                      <a:pt x="60" y="2"/>
                    </a:moveTo>
                    <a:cubicBezTo>
                      <a:pt x="60" y="0"/>
                      <a:pt x="60" y="0"/>
                      <a:pt x="61" y="0"/>
                    </a:cubicBezTo>
                    <a:cubicBezTo>
                      <a:pt x="61" y="0"/>
                      <a:pt x="61" y="2"/>
                      <a:pt x="60" y="2"/>
                    </a:cubicBezTo>
                    <a:close/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08" name="Freeform 202"/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4226546" y="2228673"/>
                <a:ext cx="9358" cy="7018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0"/>
                  </a:cxn>
                  <a:cxn ang="0">
                    <a:pos x="3" y="1"/>
                  </a:cxn>
                  <a:cxn ang="0">
                    <a:pos x="1" y="3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cubicBezTo>
                      <a:pt x="1" y="1"/>
                      <a:pt x="0" y="0"/>
                      <a:pt x="1" y="0"/>
                    </a:cubicBezTo>
                    <a:cubicBezTo>
                      <a:pt x="1" y="0"/>
                      <a:pt x="1" y="0"/>
                      <a:pt x="3" y="1"/>
                    </a:cubicBezTo>
                    <a:cubicBezTo>
                      <a:pt x="4" y="1"/>
                      <a:pt x="3" y="3"/>
                      <a:pt x="1" y="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09" name="Freeform 203"/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4238243" y="2235691"/>
                <a:ext cx="4679" cy="701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0" y="1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cubicBezTo>
                      <a:pt x="0" y="0"/>
                      <a:pt x="2" y="1"/>
                      <a:pt x="2" y="3"/>
                    </a:cubicBezTo>
                    <a:cubicBezTo>
                      <a:pt x="2" y="3"/>
                      <a:pt x="2" y="3"/>
                      <a:pt x="0" y="3"/>
                    </a:cubicBezTo>
                    <a:cubicBezTo>
                      <a:pt x="0" y="1"/>
                      <a:pt x="0" y="1"/>
                      <a:pt x="0" y="1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10" name="Freeform 204"/>
              <p:cNvSpPr>
                <a:spLocks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4235903" y="2247387"/>
                <a:ext cx="7018" cy="81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3" y="3"/>
                  </a:cxn>
                  <a:cxn ang="0">
                    <a:pos x="1" y="3"/>
                  </a:cxn>
                  <a:cxn ang="0">
                    <a:pos x="0" y="0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cubicBezTo>
                      <a:pt x="1" y="0"/>
                      <a:pt x="0" y="0"/>
                      <a:pt x="1" y="0"/>
                    </a:cubicBezTo>
                    <a:cubicBezTo>
                      <a:pt x="3" y="1"/>
                      <a:pt x="1" y="3"/>
                      <a:pt x="3" y="3"/>
                    </a:cubicBezTo>
                    <a:cubicBezTo>
                      <a:pt x="3" y="3"/>
                      <a:pt x="3" y="4"/>
                      <a:pt x="1" y="3"/>
                    </a:cubicBezTo>
                    <a:cubicBezTo>
                      <a:pt x="1" y="1"/>
                      <a:pt x="0" y="0"/>
                      <a:pt x="0" y="0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11" name="Freeform 205"/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4233564" y="2223995"/>
                <a:ext cx="9358" cy="14036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3" y="3"/>
                  </a:cxn>
                  <a:cxn ang="0">
                    <a:pos x="3" y="5"/>
                  </a:cxn>
                  <a:cxn ang="0">
                    <a:pos x="0" y="2"/>
                  </a:cxn>
                </a:cxnLst>
                <a:rect l="0" t="0" r="r" b="b"/>
                <a:pathLst>
                  <a:path w="4" h="6">
                    <a:moveTo>
                      <a:pt x="0" y="2"/>
                    </a:moveTo>
                    <a:cubicBezTo>
                      <a:pt x="0" y="2"/>
                      <a:pt x="0" y="2"/>
                      <a:pt x="0" y="0"/>
                    </a:cubicBezTo>
                    <a:cubicBezTo>
                      <a:pt x="0" y="0"/>
                      <a:pt x="0" y="0"/>
                      <a:pt x="1" y="2"/>
                    </a:cubicBezTo>
                    <a:cubicBezTo>
                      <a:pt x="1" y="3"/>
                      <a:pt x="1" y="2"/>
                      <a:pt x="3" y="3"/>
                    </a:cubicBezTo>
                    <a:cubicBezTo>
                      <a:pt x="4" y="5"/>
                      <a:pt x="4" y="6"/>
                      <a:pt x="3" y="5"/>
                    </a:cubicBezTo>
                    <a:cubicBezTo>
                      <a:pt x="1" y="2"/>
                      <a:pt x="1" y="3"/>
                      <a:pt x="0" y="2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12" name="Freeform 206"/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4235903" y="2223995"/>
                <a:ext cx="9358" cy="7018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3" y="2"/>
                  </a:cxn>
                  <a:cxn ang="0">
                    <a:pos x="3" y="2"/>
                  </a:cxn>
                  <a:cxn ang="0">
                    <a:pos x="1" y="3"/>
                  </a:cxn>
                </a:cxnLst>
                <a:rect l="0" t="0" r="r" b="b"/>
                <a:pathLst>
                  <a:path w="4" h="3">
                    <a:moveTo>
                      <a:pt x="1" y="3"/>
                    </a:moveTo>
                    <a:cubicBezTo>
                      <a:pt x="1" y="2"/>
                      <a:pt x="0" y="2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0" y="0"/>
                      <a:pt x="1" y="0"/>
                    </a:cubicBezTo>
                    <a:cubicBezTo>
                      <a:pt x="3" y="0"/>
                      <a:pt x="1" y="2"/>
                      <a:pt x="3" y="2"/>
                    </a:cubicBezTo>
                    <a:cubicBezTo>
                      <a:pt x="4" y="2"/>
                      <a:pt x="3" y="2"/>
                      <a:pt x="3" y="2"/>
                    </a:cubicBezTo>
                    <a:cubicBezTo>
                      <a:pt x="4" y="3"/>
                      <a:pt x="3" y="3"/>
                      <a:pt x="1" y="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13" name="Freeform 207"/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4242921" y="2221656"/>
                <a:ext cx="5848" cy="7018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3"/>
                  </a:cxn>
                  <a:cxn ang="0">
                    <a:pos x="1" y="3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0" y="3"/>
                      <a:pt x="1" y="1"/>
                      <a:pt x="1" y="1"/>
                    </a:cubicBezTo>
                    <a:cubicBezTo>
                      <a:pt x="0" y="0"/>
                      <a:pt x="1" y="1"/>
                      <a:pt x="1" y="1"/>
                    </a:cubicBezTo>
                    <a:cubicBezTo>
                      <a:pt x="1" y="3"/>
                      <a:pt x="3" y="3"/>
                      <a:pt x="1" y="3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14" name="Freeform 208"/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4242921" y="2221656"/>
                <a:ext cx="2339" cy="701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1" h="3">
                    <a:moveTo>
                      <a:pt x="0" y="1"/>
                    </a:moveTo>
                    <a:cubicBezTo>
                      <a:pt x="0" y="3"/>
                      <a:pt x="0" y="1"/>
                      <a:pt x="0" y="0"/>
                    </a:cubicBezTo>
                    <a:cubicBezTo>
                      <a:pt x="0" y="0"/>
                      <a:pt x="1" y="1"/>
                      <a:pt x="0" y="1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15" name="Freeform 209"/>
              <p:cNvSpPr>
                <a:spLocks noEditPoints="1"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4190287" y="2739805"/>
                <a:ext cx="249138" cy="198839"/>
              </a:xfrm>
              <a:custGeom>
                <a:avLst/>
                <a:gdLst/>
                <a:ahLst/>
                <a:cxnLst>
                  <a:cxn ang="0">
                    <a:pos x="3" y="16"/>
                  </a:cxn>
                  <a:cxn ang="0">
                    <a:pos x="2" y="11"/>
                  </a:cxn>
                  <a:cxn ang="0">
                    <a:pos x="8" y="6"/>
                  </a:cxn>
                  <a:cxn ang="0">
                    <a:pos x="11" y="2"/>
                  </a:cxn>
                  <a:cxn ang="0">
                    <a:pos x="22" y="3"/>
                  </a:cxn>
                  <a:cxn ang="0">
                    <a:pos x="32" y="3"/>
                  </a:cxn>
                  <a:cxn ang="0">
                    <a:pos x="49" y="5"/>
                  </a:cxn>
                  <a:cxn ang="0">
                    <a:pos x="57" y="5"/>
                  </a:cxn>
                  <a:cxn ang="0">
                    <a:pos x="61" y="5"/>
                  </a:cxn>
                  <a:cxn ang="0">
                    <a:pos x="64" y="8"/>
                  </a:cxn>
                  <a:cxn ang="0">
                    <a:pos x="71" y="11"/>
                  </a:cxn>
                  <a:cxn ang="0">
                    <a:pos x="75" y="12"/>
                  </a:cxn>
                  <a:cxn ang="0">
                    <a:pos x="80" y="12"/>
                  </a:cxn>
                  <a:cxn ang="0">
                    <a:pos x="87" y="14"/>
                  </a:cxn>
                  <a:cxn ang="0">
                    <a:pos x="89" y="16"/>
                  </a:cxn>
                  <a:cxn ang="0">
                    <a:pos x="95" y="16"/>
                  </a:cxn>
                  <a:cxn ang="0">
                    <a:pos x="100" y="16"/>
                  </a:cxn>
                  <a:cxn ang="0">
                    <a:pos x="101" y="20"/>
                  </a:cxn>
                  <a:cxn ang="0">
                    <a:pos x="93" y="28"/>
                  </a:cxn>
                  <a:cxn ang="0">
                    <a:pos x="81" y="33"/>
                  </a:cxn>
                  <a:cxn ang="0">
                    <a:pos x="81" y="37"/>
                  </a:cxn>
                  <a:cxn ang="0">
                    <a:pos x="74" y="52"/>
                  </a:cxn>
                  <a:cxn ang="0">
                    <a:pos x="77" y="58"/>
                  </a:cxn>
                  <a:cxn ang="0">
                    <a:pos x="69" y="69"/>
                  </a:cxn>
                  <a:cxn ang="0">
                    <a:pos x="66" y="70"/>
                  </a:cxn>
                  <a:cxn ang="0">
                    <a:pos x="57" y="78"/>
                  </a:cxn>
                  <a:cxn ang="0">
                    <a:pos x="46" y="80"/>
                  </a:cxn>
                  <a:cxn ang="0">
                    <a:pos x="40" y="81"/>
                  </a:cxn>
                  <a:cxn ang="0">
                    <a:pos x="34" y="83"/>
                  </a:cxn>
                  <a:cxn ang="0">
                    <a:pos x="31" y="86"/>
                  </a:cxn>
                  <a:cxn ang="0">
                    <a:pos x="28" y="86"/>
                  </a:cxn>
                  <a:cxn ang="0">
                    <a:pos x="23" y="78"/>
                  </a:cxn>
                  <a:cxn ang="0">
                    <a:pos x="16" y="73"/>
                  </a:cxn>
                  <a:cxn ang="0">
                    <a:pos x="19" y="66"/>
                  </a:cxn>
                  <a:cxn ang="0">
                    <a:pos x="19" y="62"/>
                  </a:cxn>
                  <a:cxn ang="0">
                    <a:pos x="19" y="56"/>
                  </a:cxn>
                  <a:cxn ang="0">
                    <a:pos x="17" y="52"/>
                  </a:cxn>
                  <a:cxn ang="0">
                    <a:pos x="17" y="47"/>
                  </a:cxn>
                  <a:cxn ang="0">
                    <a:pos x="20" y="42"/>
                  </a:cxn>
                  <a:cxn ang="0">
                    <a:pos x="20" y="33"/>
                  </a:cxn>
                  <a:cxn ang="0">
                    <a:pos x="25" y="25"/>
                  </a:cxn>
                  <a:cxn ang="0">
                    <a:pos x="20" y="20"/>
                  </a:cxn>
                  <a:cxn ang="0">
                    <a:pos x="14" y="22"/>
                  </a:cxn>
                  <a:cxn ang="0">
                    <a:pos x="10" y="22"/>
                  </a:cxn>
                  <a:cxn ang="0">
                    <a:pos x="11" y="19"/>
                  </a:cxn>
                  <a:cxn ang="0">
                    <a:pos x="5" y="22"/>
                  </a:cxn>
                  <a:cxn ang="0">
                    <a:pos x="3" y="16"/>
                  </a:cxn>
                  <a:cxn ang="0">
                    <a:pos x="97" y="48"/>
                  </a:cxn>
                  <a:cxn ang="0">
                    <a:pos x="98" y="52"/>
                  </a:cxn>
                  <a:cxn ang="0">
                    <a:pos x="103" y="47"/>
                  </a:cxn>
                  <a:cxn ang="0">
                    <a:pos x="101" y="45"/>
                  </a:cxn>
                  <a:cxn ang="0">
                    <a:pos x="95" y="48"/>
                  </a:cxn>
                  <a:cxn ang="0">
                    <a:pos x="97" y="48"/>
                  </a:cxn>
                  <a:cxn ang="0">
                    <a:pos x="109" y="44"/>
                  </a:cxn>
                  <a:cxn ang="0">
                    <a:pos x="109" y="44"/>
                  </a:cxn>
                  <a:cxn ang="0">
                    <a:pos x="106" y="44"/>
                  </a:cxn>
                  <a:cxn ang="0">
                    <a:pos x="109" y="44"/>
                  </a:cxn>
                  <a:cxn ang="0">
                    <a:pos x="87" y="53"/>
                  </a:cxn>
                  <a:cxn ang="0">
                    <a:pos x="84" y="56"/>
                  </a:cxn>
                  <a:cxn ang="0">
                    <a:pos x="87" y="53"/>
                  </a:cxn>
                </a:cxnLst>
                <a:rect l="0" t="0" r="r" b="b"/>
                <a:pathLst>
                  <a:path w="110" h="88">
                    <a:moveTo>
                      <a:pt x="3" y="16"/>
                    </a:moveTo>
                    <a:cubicBezTo>
                      <a:pt x="2" y="12"/>
                      <a:pt x="3" y="11"/>
                      <a:pt x="2" y="11"/>
                    </a:cubicBezTo>
                    <a:cubicBezTo>
                      <a:pt x="0" y="9"/>
                      <a:pt x="3" y="6"/>
                      <a:pt x="8" y="6"/>
                    </a:cubicBezTo>
                    <a:cubicBezTo>
                      <a:pt x="11" y="6"/>
                      <a:pt x="8" y="3"/>
                      <a:pt x="11" y="2"/>
                    </a:cubicBezTo>
                    <a:cubicBezTo>
                      <a:pt x="16" y="0"/>
                      <a:pt x="16" y="3"/>
                      <a:pt x="22" y="3"/>
                    </a:cubicBezTo>
                    <a:cubicBezTo>
                      <a:pt x="28" y="3"/>
                      <a:pt x="28" y="2"/>
                      <a:pt x="32" y="3"/>
                    </a:cubicBezTo>
                    <a:cubicBezTo>
                      <a:pt x="40" y="6"/>
                      <a:pt x="43" y="3"/>
                      <a:pt x="49" y="5"/>
                    </a:cubicBezTo>
                    <a:cubicBezTo>
                      <a:pt x="54" y="6"/>
                      <a:pt x="52" y="3"/>
                      <a:pt x="57" y="5"/>
                    </a:cubicBezTo>
                    <a:cubicBezTo>
                      <a:pt x="58" y="6"/>
                      <a:pt x="60" y="5"/>
                      <a:pt x="61" y="5"/>
                    </a:cubicBezTo>
                    <a:cubicBezTo>
                      <a:pt x="63" y="6"/>
                      <a:pt x="64" y="5"/>
                      <a:pt x="64" y="8"/>
                    </a:cubicBezTo>
                    <a:cubicBezTo>
                      <a:pt x="64" y="9"/>
                      <a:pt x="69" y="8"/>
                      <a:pt x="71" y="11"/>
                    </a:cubicBezTo>
                    <a:cubicBezTo>
                      <a:pt x="71" y="12"/>
                      <a:pt x="74" y="11"/>
                      <a:pt x="75" y="12"/>
                    </a:cubicBezTo>
                    <a:cubicBezTo>
                      <a:pt x="77" y="14"/>
                      <a:pt x="77" y="11"/>
                      <a:pt x="80" y="12"/>
                    </a:cubicBezTo>
                    <a:cubicBezTo>
                      <a:pt x="83" y="12"/>
                      <a:pt x="78" y="8"/>
                      <a:pt x="87" y="14"/>
                    </a:cubicBezTo>
                    <a:cubicBezTo>
                      <a:pt x="87" y="16"/>
                      <a:pt x="89" y="16"/>
                      <a:pt x="89" y="16"/>
                    </a:cubicBezTo>
                    <a:cubicBezTo>
                      <a:pt x="93" y="17"/>
                      <a:pt x="93" y="16"/>
                      <a:pt x="95" y="16"/>
                    </a:cubicBezTo>
                    <a:cubicBezTo>
                      <a:pt x="98" y="17"/>
                      <a:pt x="97" y="16"/>
                      <a:pt x="100" y="16"/>
                    </a:cubicBezTo>
                    <a:cubicBezTo>
                      <a:pt x="104" y="19"/>
                      <a:pt x="100" y="17"/>
                      <a:pt x="101" y="20"/>
                    </a:cubicBezTo>
                    <a:cubicBezTo>
                      <a:pt x="103" y="23"/>
                      <a:pt x="93" y="25"/>
                      <a:pt x="93" y="28"/>
                    </a:cubicBezTo>
                    <a:cubicBezTo>
                      <a:pt x="92" y="30"/>
                      <a:pt x="83" y="30"/>
                      <a:pt x="81" y="33"/>
                    </a:cubicBezTo>
                    <a:cubicBezTo>
                      <a:pt x="81" y="36"/>
                      <a:pt x="86" y="34"/>
                      <a:pt x="81" y="37"/>
                    </a:cubicBezTo>
                    <a:cubicBezTo>
                      <a:pt x="78" y="37"/>
                      <a:pt x="72" y="47"/>
                      <a:pt x="74" y="52"/>
                    </a:cubicBezTo>
                    <a:cubicBezTo>
                      <a:pt x="74" y="56"/>
                      <a:pt x="77" y="56"/>
                      <a:pt x="77" y="58"/>
                    </a:cubicBezTo>
                    <a:cubicBezTo>
                      <a:pt x="77" y="58"/>
                      <a:pt x="68" y="62"/>
                      <a:pt x="69" y="69"/>
                    </a:cubicBezTo>
                    <a:cubicBezTo>
                      <a:pt x="69" y="70"/>
                      <a:pt x="69" y="70"/>
                      <a:pt x="66" y="70"/>
                    </a:cubicBezTo>
                    <a:cubicBezTo>
                      <a:pt x="60" y="70"/>
                      <a:pt x="60" y="81"/>
                      <a:pt x="57" y="78"/>
                    </a:cubicBezTo>
                    <a:cubicBezTo>
                      <a:pt x="55" y="77"/>
                      <a:pt x="51" y="81"/>
                      <a:pt x="46" y="80"/>
                    </a:cubicBezTo>
                    <a:cubicBezTo>
                      <a:pt x="43" y="78"/>
                      <a:pt x="40" y="80"/>
                      <a:pt x="40" y="81"/>
                    </a:cubicBezTo>
                    <a:cubicBezTo>
                      <a:pt x="38" y="83"/>
                      <a:pt x="35" y="81"/>
                      <a:pt x="34" y="83"/>
                    </a:cubicBezTo>
                    <a:cubicBezTo>
                      <a:pt x="32" y="86"/>
                      <a:pt x="32" y="86"/>
                      <a:pt x="31" y="86"/>
                    </a:cubicBezTo>
                    <a:cubicBezTo>
                      <a:pt x="31" y="88"/>
                      <a:pt x="31" y="88"/>
                      <a:pt x="28" y="86"/>
                    </a:cubicBezTo>
                    <a:cubicBezTo>
                      <a:pt x="25" y="83"/>
                      <a:pt x="23" y="81"/>
                      <a:pt x="23" y="78"/>
                    </a:cubicBezTo>
                    <a:cubicBezTo>
                      <a:pt x="23" y="77"/>
                      <a:pt x="20" y="72"/>
                      <a:pt x="16" y="73"/>
                    </a:cubicBezTo>
                    <a:cubicBezTo>
                      <a:pt x="16" y="72"/>
                      <a:pt x="16" y="67"/>
                      <a:pt x="19" y="66"/>
                    </a:cubicBezTo>
                    <a:cubicBezTo>
                      <a:pt x="22" y="62"/>
                      <a:pt x="20" y="62"/>
                      <a:pt x="19" y="62"/>
                    </a:cubicBezTo>
                    <a:cubicBezTo>
                      <a:pt x="17" y="62"/>
                      <a:pt x="16" y="61"/>
                      <a:pt x="19" y="56"/>
                    </a:cubicBezTo>
                    <a:cubicBezTo>
                      <a:pt x="22" y="52"/>
                      <a:pt x="19" y="55"/>
                      <a:pt x="17" y="52"/>
                    </a:cubicBezTo>
                    <a:cubicBezTo>
                      <a:pt x="17" y="47"/>
                      <a:pt x="14" y="47"/>
                      <a:pt x="17" y="47"/>
                    </a:cubicBezTo>
                    <a:cubicBezTo>
                      <a:pt x="20" y="47"/>
                      <a:pt x="20" y="45"/>
                      <a:pt x="20" y="42"/>
                    </a:cubicBezTo>
                    <a:cubicBezTo>
                      <a:pt x="19" y="41"/>
                      <a:pt x="22" y="41"/>
                      <a:pt x="20" y="33"/>
                    </a:cubicBezTo>
                    <a:cubicBezTo>
                      <a:pt x="20" y="31"/>
                      <a:pt x="29" y="25"/>
                      <a:pt x="25" y="25"/>
                    </a:cubicBezTo>
                    <a:cubicBezTo>
                      <a:pt x="22" y="23"/>
                      <a:pt x="25" y="22"/>
                      <a:pt x="20" y="20"/>
                    </a:cubicBezTo>
                    <a:cubicBezTo>
                      <a:pt x="16" y="20"/>
                      <a:pt x="19" y="23"/>
                      <a:pt x="14" y="22"/>
                    </a:cubicBezTo>
                    <a:cubicBezTo>
                      <a:pt x="11" y="20"/>
                      <a:pt x="11" y="23"/>
                      <a:pt x="10" y="22"/>
                    </a:cubicBezTo>
                    <a:cubicBezTo>
                      <a:pt x="8" y="22"/>
                      <a:pt x="13" y="20"/>
                      <a:pt x="11" y="19"/>
                    </a:cubicBezTo>
                    <a:cubicBezTo>
                      <a:pt x="10" y="19"/>
                      <a:pt x="10" y="19"/>
                      <a:pt x="5" y="22"/>
                    </a:cubicBezTo>
                    <a:cubicBezTo>
                      <a:pt x="3" y="20"/>
                      <a:pt x="5" y="17"/>
                      <a:pt x="3" y="16"/>
                    </a:cubicBezTo>
                    <a:close/>
                    <a:moveTo>
                      <a:pt x="97" y="48"/>
                    </a:moveTo>
                    <a:cubicBezTo>
                      <a:pt x="98" y="48"/>
                      <a:pt x="97" y="50"/>
                      <a:pt x="98" y="52"/>
                    </a:cubicBezTo>
                    <a:cubicBezTo>
                      <a:pt x="101" y="52"/>
                      <a:pt x="101" y="48"/>
                      <a:pt x="103" y="47"/>
                    </a:cubicBezTo>
                    <a:cubicBezTo>
                      <a:pt x="104" y="44"/>
                      <a:pt x="101" y="47"/>
                      <a:pt x="101" y="45"/>
                    </a:cubicBezTo>
                    <a:cubicBezTo>
                      <a:pt x="100" y="42"/>
                      <a:pt x="93" y="47"/>
                      <a:pt x="95" y="48"/>
                    </a:cubicBezTo>
                    <a:cubicBezTo>
                      <a:pt x="95" y="48"/>
                      <a:pt x="93" y="48"/>
                      <a:pt x="97" y="48"/>
                    </a:cubicBezTo>
                    <a:close/>
                    <a:moveTo>
                      <a:pt x="109" y="44"/>
                    </a:moveTo>
                    <a:cubicBezTo>
                      <a:pt x="109" y="45"/>
                      <a:pt x="110" y="45"/>
                      <a:pt x="109" y="44"/>
                    </a:cubicBezTo>
                    <a:cubicBezTo>
                      <a:pt x="109" y="42"/>
                      <a:pt x="106" y="42"/>
                      <a:pt x="106" y="44"/>
                    </a:cubicBezTo>
                    <a:cubicBezTo>
                      <a:pt x="106" y="44"/>
                      <a:pt x="107" y="44"/>
                      <a:pt x="109" y="44"/>
                    </a:cubicBezTo>
                    <a:close/>
                    <a:moveTo>
                      <a:pt x="87" y="53"/>
                    </a:moveTo>
                    <a:cubicBezTo>
                      <a:pt x="89" y="55"/>
                      <a:pt x="86" y="56"/>
                      <a:pt x="84" y="56"/>
                    </a:cubicBezTo>
                    <a:cubicBezTo>
                      <a:pt x="84" y="55"/>
                      <a:pt x="86" y="52"/>
                      <a:pt x="87" y="53"/>
                    </a:cubicBezTo>
                    <a:close/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16" name="Freeform 210"/>
              <p:cNvSpPr>
                <a:spLocks noEditPoints="1"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6467613" y="3343338"/>
                <a:ext cx="175449" cy="333346"/>
              </a:xfrm>
              <a:custGeom>
                <a:avLst/>
                <a:gdLst/>
                <a:ahLst/>
                <a:cxnLst>
                  <a:cxn ang="0">
                    <a:pos x="38" y="38"/>
                  </a:cxn>
                  <a:cxn ang="0">
                    <a:pos x="56" y="52"/>
                  </a:cxn>
                  <a:cxn ang="0">
                    <a:pos x="59" y="78"/>
                  </a:cxn>
                  <a:cxn ang="0">
                    <a:pos x="62" y="84"/>
                  </a:cxn>
                  <a:cxn ang="0">
                    <a:pos x="64" y="81"/>
                  </a:cxn>
                  <a:cxn ang="0">
                    <a:pos x="58" y="72"/>
                  </a:cxn>
                  <a:cxn ang="0">
                    <a:pos x="48" y="95"/>
                  </a:cxn>
                  <a:cxn ang="0">
                    <a:pos x="47" y="78"/>
                  </a:cxn>
                  <a:cxn ang="0">
                    <a:pos x="42" y="91"/>
                  </a:cxn>
                  <a:cxn ang="0">
                    <a:pos x="45" y="80"/>
                  </a:cxn>
                  <a:cxn ang="0">
                    <a:pos x="53" y="66"/>
                  </a:cxn>
                  <a:cxn ang="0">
                    <a:pos x="50" y="66"/>
                  </a:cxn>
                  <a:cxn ang="0">
                    <a:pos x="68" y="80"/>
                  </a:cxn>
                  <a:cxn ang="0">
                    <a:pos x="53" y="77"/>
                  </a:cxn>
                  <a:cxn ang="0">
                    <a:pos x="55" y="81"/>
                  </a:cxn>
                  <a:cxn ang="0">
                    <a:pos x="50" y="87"/>
                  </a:cxn>
                  <a:cxn ang="0">
                    <a:pos x="59" y="89"/>
                  </a:cxn>
                  <a:cxn ang="0">
                    <a:pos x="55" y="87"/>
                  </a:cxn>
                  <a:cxn ang="0">
                    <a:pos x="41" y="114"/>
                  </a:cxn>
                  <a:cxn ang="0">
                    <a:pos x="47" y="111"/>
                  </a:cxn>
                  <a:cxn ang="0">
                    <a:pos x="53" y="109"/>
                  </a:cxn>
                  <a:cxn ang="0">
                    <a:pos x="56" y="123"/>
                  </a:cxn>
                  <a:cxn ang="0">
                    <a:pos x="67" y="130"/>
                  </a:cxn>
                  <a:cxn ang="0">
                    <a:pos x="68" y="114"/>
                  </a:cxn>
                  <a:cxn ang="0">
                    <a:pos x="71" y="119"/>
                  </a:cxn>
                  <a:cxn ang="0">
                    <a:pos x="74" y="109"/>
                  </a:cxn>
                  <a:cxn ang="0">
                    <a:pos x="73" y="97"/>
                  </a:cxn>
                  <a:cxn ang="0">
                    <a:pos x="67" y="94"/>
                  </a:cxn>
                  <a:cxn ang="0">
                    <a:pos x="58" y="103"/>
                  </a:cxn>
                  <a:cxn ang="0">
                    <a:pos x="50" y="100"/>
                  </a:cxn>
                  <a:cxn ang="0">
                    <a:pos x="42" y="106"/>
                  </a:cxn>
                  <a:cxn ang="0">
                    <a:pos x="41" y="122"/>
                  </a:cxn>
                  <a:cxn ang="0">
                    <a:pos x="33" y="126"/>
                  </a:cxn>
                  <a:cxn ang="0">
                    <a:pos x="52" y="97"/>
                  </a:cxn>
                  <a:cxn ang="0">
                    <a:pos x="61" y="97"/>
                  </a:cxn>
                  <a:cxn ang="0">
                    <a:pos x="39" y="61"/>
                  </a:cxn>
                  <a:cxn ang="0">
                    <a:pos x="38" y="53"/>
                  </a:cxn>
                  <a:cxn ang="0">
                    <a:pos x="42" y="63"/>
                  </a:cxn>
                  <a:cxn ang="0">
                    <a:pos x="50" y="61"/>
                  </a:cxn>
                  <a:cxn ang="0">
                    <a:pos x="52" y="61"/>
                  </a:cxn>
                  <a:cxn ang="0">
                    <a:pos x="23" y="81"/>
                  </a:cxn>
                  <a:cxn ang="0">
                    <a:pos x="67" y="73"/>
                  </a:cxn>
                  <a:cxn ang="0">
                    <a:pos x="59" y="67"/>
                  </a:cxn>
                  <a:cxn ang="0">
                    <a:pos x="68" y="77"/>
                  </a:cxn>
                  <a:cxn ang="0">
                    <a:pos x="70" y="87"/>
                  </a:cxn>
                  <a:cxn ang="0">
                    <a:pos x="47" y="77"/>
                  </a:cxn>
                  <a:cxn ang="0">
                    <a:pos x="39" y="70"/>
                  </a:cxn>
                  <a:cxn ang="0">
                    <a:pos x="35" y="63"/>
                  </a:cxn>
                  <a:cxn ang="0">
                    <a:pos x="27" y="56"/>
                  </a:cxn>
                  <a:cxn ang="0">
                    <a:pos x="11" y="94"/>
                  </a:cxn>
                  <a:cxn ang="0">
                    <a:pos x="20" y="73"/>
                  </a:cxn>
                  <a:cxn ang="0">
                    <a:pos x="7" y="94"/>
                  </a:cxn>
                  <a:cxn ang="0">
                    <a:pos x="53" y="56"/>
                  </a:cxn>
                  <a:cxn ang="0">
                    <a:pos x="47" y="50"/>
                  </a:cxn>
                  <a:cxn ang="0">
                    <a:pos x="36" y="41"/>
                  </a:cxn>
                  <a:cxn ang="0">
                    <a:pos x="42" y="19"/>
                  </a:cxn>
                  <a:cxn ang="0">
                    <a:pos x="26" y="8"/>
                  </a:cxn>
                  <a:cxn ang="0">
                    <a:pos x="21" y="28"/>
                  </a:cxn>
                  <a:cxn ang="0">
                    <a:pos x="29" y="41"/>
                  </a:cxn>
                  <a:cxn ang="0">
                    <a:pos x="35" y="49"/>
                  </a:cxn>
                  <a:cxn ang="0">
                    <a:pos x="45" y="52"/>
                  </a:cxn>
                  <a:cxn ang="0">
                    <a:pos x="56" y="59"/>
                  </a:cxn>
                  <a:cxn ang="0">
                    <a:pos x="77" y="142"/>
                  </a:cxn>
                </a:cxnLst>
                <a:rect l="0" t="0" r="r" b="b"/>
                <a:pathLst>
                  <a:path w="77" h="147">
                    <a:moveTo>
                      <a:pt x="38" y="38"/>
                    </a:moveTo>
                    <a:cubicBezTo>
                      <a:pt x="38" y="36"/>
                      <a:pt x="38" y="38"/>
                      <a:pt x="39" y="39"/>
                    </a:cubicBezTo>
                    <a:cubicBezTo>
                      <a:pt x="39" y="41"/>
                      <a:pt x="38" y="42"/>
                      <a:pt x="38" y="41"/>
                    </a:cubicBezTo>
                    <a:cubicBezTo>
                      <a:pt x="38" y="38"/>
                      <a:pt x="36" y="38"/>
                      <a:pt x="38" y="38"/>
                    </a:cubicBezTo>
                    <a:close/>
                    <a:moveTo>
                      <a:pt x="58" y="50"/>
                    </a:moveTo>
                    <a:cubicBezTo>
                      <a:pt x="58" y="49"/>
                      <a:pt x="58" y="49"/>
                      <a:pt x="58" y="49"/>
                    </a:cubicBezTo>
                    <a:cubicBezTo>
                      <a:pt x="56" y="47"/>
                      <a:pt x="55" y="45"/>
                      <a:pt x="56" y="49"/>
                    </a:cubicBezTo>
                    <a:cubicBezTo>
                      <a:pt x="56" y="52"/>
                      <a:pt x="55" y="50"/>
                      <a:pt x="56" y="52"/>
                    </a:cubicBezTo>
                    <a:cubicBezTo>
                      <a:pt x="56" y="53"/>
                      <a:pt x="58" y="52"/>
                      <a:pt x="58" y="50"/>
                    </a:cubicBezTo>
                    <a:close/>
                    <a:moveTo>
                      <a:pt x="58" y="75"/>
                    </a:moveTo>
                    <a:cubicBezTo>
                      <a:pt x="58" y="77"/>
                      <a:pt x="59" y="77"/>
                      <a:pt x="58" y="78"/>
                    </a:cubicBezTo>
                    <a:cubicBezTo>
                      <a:pt x="56" y="78"/>
                      <a:pt x="59" y="80"/>
                      <a:pt x="59" y="78"/>
                    </a:cubicBezTo>
                    <a:cubicBezTo>
                      <a:pt x="59" y="77"/>
                      <a:pt x="62" y="80"/>
                      <a:pt x="61" y="81"/>
                    </a:cubicBezTo>
                    <a:cubicBezTo>
                      <a:pt x="59" y="83"/>
                      <a:pt x="61" y="83"/>
                      <a:pt x="61" y="84"/>
                    </a:cubicBezTo>
                    <a:cubicBezTo>
                      <a:pt x="61" y="86"/>
                      <a:pt x="61" y="86"/>
                      <a:pt x="62" y="86"/>
                    </a:cubicBezTo>
                    <a:cubicBezTo>
                      <a:pt x="64" y="87"/>
                      <a:pt x="62" y="84"/>
                      <a:pt x="62" y="84"/>
                    </a:cubicBezTo>
                    <a:cubicBezTo>
                      <a:pt x="64" y="84"/>
                      <a:pt x="64" y="86"/>
                      <a:pt x="64" y="87"/>
                    </a:cubicBezTo>
                    <a:cubicBezTo>
                      <a:pt x="65" y="89"/>
                      <a:pt x="65" y="87"/>
                      <a:pt x="64" y="86"/>
                    </a:cubicBezTo>
                    <a:cubicBezTo>
                      <a:pt x="64" y="84"/>
                      <a:pt x="67" y="84"/>
                      <a:pt x="65" y="83"/>
                    </a:cubicBezTo>
                    <a:cubicBezTo>
                      <a:pt x="64" y="83"/>
                      <a:pt x="65" y="81"/>
                      <a:pt x="64" y="81"/>
                    </a:cubicBezTo>
                    <a:cubicBezTo>
                      <a:pt x="62" y="80"/>
                      <a:pt x="64" y="75"/>
                      <a:pt x="62" y="75"/>
                    </a:cubicBezTo>
                    <a:cubicBezTo>
                      <a:pt x="62" y="75"/>
                      <a:pt x="64" y="73"/>
                      <a:pt x="62" y="73"/>
                    </a:cubicBezTo>
                    <a:cubicBezTo>
                      <a:pt x="61" y="73"/>
                      <a:pt x="61" y="75"/>
                      <a:pt x="59" y="73"/>
                    </a:cubicBezTo>
                    <a:cubicBezTo>
                      <a:pt x="58" y="72"/>
                      <a:pt x="58" y="72"/>
                      <a:pt x="58" y="72"/>
                    </a:cubicBezTo>
                    <a:cubicBezTo>
                      <a:pt x="56" y="73"/>
                      <a:pt x="58" y="75"/>
                      <a:pt x="58" y="75"/>
                    </a:cubicBezTo>
                    <a:close/>
                    <a:moveTo>
                      <a:pt x="42" y="91"/>
                    </a:moveTo>
                    <a:cubicBezTo>
                      <a:pt x="44" y="94"/>
                      <a:pt x="45" y="92"/>
                      <a:pt x="45" y="95"/>
                    </a:cubicBezTo>
                    <a:cubicBezTo>
                      <a:pt x="47" y="98"/>
                      <a:pt x="48" y="97"/>
                      <a:pt x="48" y="95"/>
                    </a:cubicBezTo>
                    <a:cubicBezTo>
                      <a:pt x="50" y="94"/>
                      <a:pt x="47" y="91"/>
                      <a:pt x="48" y="87"/>
                    </a:cubicBezTo>
                    <a:cubicBezTo>
                      <a:pt x="50" y="86"/>
                      <a:pt x="48" y="86"/>
                      <a:pt x="50" y="83"/>
                    </a:cubicBezTo>
                    <a:cubicBezTo>
                      <a:pt x="52" y="81"/>
                      <a:pt x="52" y="78"/>
                      <a:pt x="50" y="78"/>
                    </a:cubicBezTo>
                    <a:cubicBezTo>
                      <a:pt x="48" y="78"/>
                      <a:pt x="48" y="77"/>
                      <a:pt x="47" y="78"/>
                    </a:cubicBezTo>
                    <a:cubicBezTo>
                      <a:pt x="45" y="80"/>
                      <a:pt x="47" y="81"/>
                      <a:pt x="45" y="81"/>
                    </a:cubicBezTo>
                    <a:cubicBezTo>
                      <a:pt x="44" y="83"/>
                      <a:pt x="47" y="86"/>
                      <a:pt x="45" y="87"/>
                    </a:cubicBezTo>
                    <a:cubicBezTo>
                      <a:pt x="42" y="89"/>
                      <a:pt x="42" y="86"/>
                      <a:pt x="42" y="89"/>
                    </a:cubicBezTo>
                    <a:cubicBezTo>
                      <a:pt x="42" y="91"/>
                      <a:pt x="42" y="91"/>
                      <a:pt x="42" y="91"/>
                    </a:cubicBezTo>
                    <a:close/>
                    <a:moveTo>
                      <a:pt x="45" y="80"/>
                    </a:moveTo>
                    <a:cubicBezTo>
                      <a:pt x="44" y="80"/>
                      <a:pt x="42" y="81"/>
                      <a:pt x="44" y="81"/>
                    </a:cubicBezTo>
                    <a:cubicBezTo>
                      <a:pt x="44" y="83"/>
                      <a:pt x="42" y="83"/>
                      <a:pt x="44" y="83"/>
                    </a:cubicBezTo>
                    <a:cubicBezTo>
                      <a:pt x="44" y="84"/>
                      <a:pt x="45" y="81"/>
                      <a:pt x="45" y="80"/>
                    </a:cubicBezTo>
                    <a:close/>
                    <a:moveTo>
                      <a:pt x="50" y="66"/>
                    </a:moveTo>
                    <a:cubicBezTo>
                      <a:pt x="52" y="64"/>
                      <a:pt x="52" y="69"/>
                      <a:pt x="53" y="69"/>
                    </a:cubicBezTo>
                    <a:cubicBezTo>
                      <a:pt x="55" y="69"/>
                      <a:pt x="56" y="72"/>
                      <a:pt x="56" y="70"/>
                    </a:cubicBezTo>
                    <a:cubicBezTo>
                      <a:pt x="55" y="67"/>
                      <a:pt x="55" y="66"/>
                      <a:pt x="53" y="66"/>
                    </a:cubicBezTo>
                    <a:cubicBezTo>
                      <a:pt x="52" y="64"/>
                      <a:pt x="52" y="63"/>
                      <a:pt x="50" y="63"/>
                    </a:cubicBezTo>
                    <a:cubicBezTo>
                      <a:pt x="50" y="63"/>
                      <a:pt x="48" y="61"/>
                      <a:pt x="48" y="63"/>
                    </a:cubicBezTo>
                    <a:cubicBezTo>
                      <a:pt x="48" y="64"/>
                      <a:pt x="48" y="66"/>
                      <a:pt x="48" y="69"/>
                    </a:cubicBezTo>
                    <a:cubicBezTo>
                      <a:pt x="47" y="69"/>
                      <a:pt x="50" y="67"/>
                      <a:pt x="50" y="66"/>
                    </a:cubicBezTo>
                    <a:close/>
                    <a:moveTo>
                      <a:pt x="59" y="70"/>
                    </a:moveTo>
                    <a:cubicBezTo>
                      <a:pt x="59" y="70"/>
                      <a:pt x="61" y="73"/>
                      <a:pt x="59" y="72"/>
                    </a:cubicBezTo>
                    <a:cubicBezTo>
                      <a:pt x="58" y="72"/>
                      <a:pt x="58" y="70"/>
                      <a:pt x="59" y="70"/>
                    </a:cubicBezTo>
                    <a:close/>
                    <a:moveTo>
                      <a:pt x="68" y="80"/>
                    </a:moveTo>
                    <a:cubicBezTo>
                      <a:pt x="68" y="80"/>
                      <a:pt x="70" y="80"/>
                      <a:pt x="68" y="80"/>
                    </a:cubicBezTo>
                    <a:cubicBezTo>
                      <a:pt x="68" y="81"/>
                      <a:pt x="68" y="80"/>
                      <a:pt x="68" y="80"/>
                    </a:cubicBezTo>
                    <a:close/>
                    <a:moveTo>
                      <a:pt x="53" y="75"/>
                    </a:moveTo>
                    <a:cubicBezTo>
                      <a:pt x="53" y="73"/>
                      <a:pt x="53" y="77"/>
                      <a:pt x="53" y="77"/>
                    </a:cubicBezTo>
                    <a:cubicBezTo>
                      <a:pt x="53" y="77"/>
                      <a:pt x="52" y="75"/>
                      <a:pt x="53" y="75"/>
                    </a:cubicBezTo>
                    <a:close/>
                    <a:moveTo>
                      <a:pt x="52" y="91"/>
                    </a:moveTo>
                    <a:cubicBezTo>
                      <a:pt x="52" y="87"/>
                      <a:pt x="52" y="89"/>
                      <a:pt x="52" y="87"/>
                    </a:cubicBezTo>
                    <a:cubicBezTo>
                      <a:pt x="52" y="84"/>
                      <a:pt x="56" y="84"/>
                      <a:pt x="55" y="81"/>
                    </a:cubicBezTo>
                    <a:cubicBezTo>
                      <a:pt x="55" y="80"/>
                      <a:pt x="56" y="80"/>
                      <a:pt x="56" y="78"/>
                    </a:cubicBezTo>
                    <a:cubicBezTo>
                      <a:pt x="55" y="77"/>
                      <a:pt x="56" y="72"/>
                      <a:pt x="55" y="77"/>
                    </a:cubicBezTo>
                    <a:cubicBezTo>
                      <a:pt x="53" y="80"/>
                      <a:pt x="53" y="78"/>
                      <a:pt x="53" y="81"/>
                    </a:cubicBezTo>
                    <a:cubicBezTo>
                      <a:pt x="52" y="84"/>
                      <a:pt x="50" y="86"/>
                      <a:pt x="50" y="87"/>
                    </a:cubicBezTo>
                    <a:cubicBezTo>
                      <a:pt x="50" y="89"/>
                      <a:pt x="50" y="89"/>
                      <a:pt x="50" y="92"/>
                    </a:cubicBezTo>
                    <a:cubicBezTo>
                      <a:pt x="50" y="94"/>
                      <a:pt x="50" y="92"/>
                      <a:pt x="52" y="91"/>
                    </a:cubicBezTo>
                    <a:close/>
                    <a:moveTo>
                      <a:pt x="58" y="91"/>
                    </a:moveTo>
                    <a:cubicBezTo>
                      <a:pt x="59" y="89"/>
                      <a:pt x="59" y="91"/>
                      <a:pt x="59" y="89"/>
                    </a:cubicBezTo>
                    <a:cubicBezTo>
                      <a:pt x="59" y="87"/>
                      <a:pt x="61" y="86"/>
                      <a:pt x="59" y="86"/>
                    </a:cubicBezTo>
                    <a:cubicBezTo>
                      <a:pt x="59" y="86"/>
                      <a:pt x="59" y="87"/>
                      <a:pt x="58" y="86"/>
                    </a:cubicBezTo>
                    <a:cubicBezTo>
                      <a:pt x="58" y="86"/>
                      <a:pt x="56" y="84"/>
                      <a:pt x="56" y="86"/>
                    </a:cubicBezTo>
                    <a:cubicBezTo>
                      <a:pt x="55" y="87"/>
                      <a:pt x="55" y="87"/>
                      <a:pt x="55" y="87"/>
                    </a:cubicBezTo>
                    <a:cubicBezTo>
                      <a:pt x="53" y="87"/>
                      <a:pt x="53" y="89"/>
                      <a:pt x="53" y="91"/>
                    </a:cubicBezTo>
                    <a:cubicBezTo>
                      <a:pt x="55" y="92"/>
                      <a:pt x="58" y="91"/>
                      <a:pt x="58" y="91"/>
                    </a:cubicBezTo>
                    <a:close/>
                    <a:moveTo>
                      <a:pt x="39" y="117"/>
                    </a:moveTo>
                    <a:cubicBezTo>
                      <a:pt x="41" y="119"/>
                      <a:pt x="41" y="116"/>
                      <a:pt x="41" y="114"/>
                    </a:cubicBezTo>
                    <a:cubicBezTo>
                      <a:pt x="42" y="112"/>
                      <a:pt x="41" y="112"/>
                      <a:pt x="42" y="112"/>
                    </a:cubicBezTo>
                    <a:cubicBezTo>
                      <a:pt x="44" y="111"/>
                      <a:pt x="42" y="111"/>
                      <a:pt x="44" y="109"/>
                    </a:cubicBezTo>
                    <a:cubicBezTo>
                      <a:pt x="45" y="108"/>
                      <a:pt x="45" y="109"/>
                      <a:pt x="45" y="111"/>
                    </a:cubicBezTo>
                    <a:cubicBezTo>
                      <a:pt x="44" y="112"/>
                      <a:pt x="47" y="112"/>
                      <a:pt x="47" y="111"/>
                    </a:cubicBezTo>
                    <a:cubicBezTo>
                      <a:pt x="48" y="108"/>
                      <a:pt x="47" y="112"/>
                      <a:pt x="48" y="112"/>
                    </a:cubicBezTo>
                    <a:cubicBezTo>
                      <a:pt x="50" y="112"/>
                      <a:pt x="52" y="114"/>
                      <a:pt x="50" y="112"/>
                    </a:cubicBezTo>
                    <a:cubicBezTo>
                      <a:pt x="50" y="111"/>
                      <a:pt x="52" y="109"/>
                      <a:pt x="50" y="109"/>
                    </a:cubicBezTo>
                    <a:cubicBezTo>
                      <a:pt x="50" y="109"/>
                      <a:pt x="52" y="108"/>
                      <a:pt x="53" y="109"/>
                    </a:cubicBezTo>
                    <a:cubicBezTo>
                      <a:pt x="53" y="111"/>
                      <a:pt x="55" y="109"/>
                      <a:pt x="56" y="111"/>
                    </a:cubicBezTo>
                    <a:cubicBezTo>
                      <a:pt x="56" y="114"/>
                      <a:pt x="56" y="112"/>
                      <a:pt x="56" y="114"/>
                    </a:cubicBezTo>
                    <a:cubicBezTo>
                      <a:pt x="56" y="114"/>
                      <a:pt x="53" y="116"/>
                      <a:pt x="55" y="119"/>
                    </a:cubicBezTo>
                    <a:cubicBezTo>
                      <a:pt x="55" y="120"/>
                      <a:pt x="55" y="123"/>
                      <a:pt x="56" y="123"/>
                    </a:cubicBezTo>
                    <a:cubicBezTo>
                      <a:pt x="58" y="125"/>
                      <a:pt x="55" y="125"/>
                      <a:pt x="58" y="126"/>
                    </a:cubicBezTo>
                    <a:cubicBezTo>
                      <a:pt x="61" y="128"/>
                      <a:pt x="62" y="130"/>
                      <a:pt x="64" y="126"/>
                    </a:cubicBezTo>
                    <a:cubicBezTo>
                      <a:pt x="64" y="125"/>
                      <a:pt x="65" y="125"/>
                      <a:pt x="65" y="126"/>
                    </a:cubicBezTo>
                    <a:cubicBezTo>
                      <a:pt x="64" y="128"/>
                      <a:pt x="65" y="133"/>
                      <a:pt x="67" y="130"/>
                    </a:cubicBezTo>
                    <a:cubicBezTo>
                      <a:pt x="68" y="128"/>
                      <a:pt x="68" y="125"/>
                      <a:pt x="68" y="123"/>
                    </a:cubicBezTo>
                    <a:cubicBezTo>
                      <a:pt x="67" y="122"/>
                      <a:pt x="67" y="120"/>
                      <a:pt x="67" y="120"/>
                    </a:cubicBezTo>
                    <a:cubicBezTo>
                      <a:pt x="65" y="120"/>
                      <a:pt x="65" y="117"/>
                      <a:pt x="67" y="117"/>
                    </a:cubicBezTo>
                    <a:cubicBezTo>
                      <a:pt x="68" y="116"/>
                      <a:pt x="67" y="114"/>
                      <a:pt x="68" y="114"/>
                    </a:cubicBezTo>
                    <a:cubicBezTo>
                      <a:pt x="70" y="112"/>
                      <a:pt x="68" y="114"/>
                      <a:pt x="70" y="116"/>
                    </a:cubicBezTo>
                    <a:cubicBezTo>
                      <a:pt x="70" y="117"/>
                      <a:pt x="70" y="117"/>
                      <a:pt x="71" y="119"/>
                    </a:cubicBezTo>
                    <a:cubicBezTo>
                      <a:pt x="71" y="120"/>
                      <a:pt x="70" y="119"/>
                      <a:pt x="71" y="123"/>
                    </a:cubicBezTo>
                    <a:cubicBezTo>
                      <a:pt x="73" y="125"/>
                      <a:pt x="73" y="122"/>
                      <a:pt x="71" y="119"/>
                    </a:cubicBezTo>
                    <a:cubicBezTo>
                      <a:pt x="71" y="116"/>
                      <a:pt x="74" y="120"/>
                      <a:pt x="73" y="117"/>
                    </a:cubicBezTo>
                    <a:cubicBezTo>
                      <a:pt x="73" y="116"/>
                      <a:pt x="74" y="119"/>
                      <a:pt x="74" y="116"/>
                    </a:cubicBezTo>
                    <a:cubicBezTo>
                      <a:pt x="76" y="114"/>
                      <a:pt x="76" y="112"/>
                      <a:pt x="74" y="111"/>
                    </a:cubicBezTo>
                    <a:cubicBezTo>
                      <a:pt x="74" y="109"/>
                      <a:pt x="74" y="109"/>
                      <a:pt x="74" y="109"/>
                    </a:cubicBezTo>
                    <a:cubicBezTo>
                      <a:pt x="73" y="108"/>
                      <a:pt x="74" y="105"/>
                      <a:pt x="74" y="105"/>
                    </a:cubicBezTo>
                    <a:cubicBezTo>
                      <a:pt x="73" y="103"/>
                      <a:pt x="74" y="101"/>
                      <a:pt x="73" y="101"/>
                    </a:cubicBezTo>
                    <a:cubicBezTo>
                      <a:pt x="71" y="101"/>
                      <a:pt x="71" y="101"/>
                      <a:pt x="71" y="100"/>
                    </a:cubicBezTo>
                    <a:cubicBezTo>
                      <a:pt x="73" y="100"/>
                      <a:pt x="74" y="98"/>
                      <a:pt x="73" y="97"/>
                    </a:cubicBezTo>
                    <a:cubicBezTo>
                      <a:pt x="71" y="95"/>
                      <a:pt x="73" y="94"/>
                      <a:pt x="71" y="94"/>
                    </a:cubicBezTo>
                    <a:cubicBezTo>
                      <a:pt x="70" y="95"/>
                      <a:pt x="71" y="92"/>
                      <a:pt x="68" y="92"/>
                    </a:cubicBezTo>
                    <a:cubicBezTo>
                      <a:pt x="67" y="91"/>
                      <a:pt x="68" y="91"/>
                      <a:pt x="67" y="89"/>
                    </a:cubicBezTo>
                    <a:cubicBezTo>
                      <a:pt x="65" y="89"/>
                      <a:pt x="65" y="89"/>
                      <a:pt x="67" y="94"/>
                    </a:cubicBezTo>
                    <a:cubicBezTo>
                      <a:pt x="68" y="98"/>
                      <a:pt x="65" y="97"/>
                      <a:pt x="65" y="97"/>
                    </a:cubicBezTo>
                    <a:cubicBezTo>
                      <a:pt x="64" y="95"/>
                      <a:pt x="65" y="100"/>
                      <a:pt x="62" y="98"/>
                    </a:cubicBezTo>
                    <a:cubicBezTo>
                      <a:pt x="61" y="95"/>
                      <a:pt x="61" y="98"/>
                      <a:pt x="61" y="101"/>
                    </a:cubicBezTo>
                    <a:cubicBezTo>
                      <a:pt x="61" y="105"/>
                      <a:pt x="58" y="98"/>
                      <a:pt x="58" y="103"/>
                    </a:cubicBezTo>
                    <a:cubicBezTo>
                      <a:pt x="56" y="106"/>
                      <a:pt x="56" y="105"/>
                      <a:pt x="55" y="106"/>
                    </a:cubicBezTo>
                    <a:cubicBezTo>
                      <a:pt x="52" y="108"/>
                      <a:pt x="55" y="106"/>
                      <a:pt x="53" y="103"/>
                    </a:cubicBezTo>
                    <a:cubicBezTo>
                      <a:pt x="53" y="101"/>
                      <a:pt x="53" y="100"/>
                      <a:pt x="52" y="101"/>
                    </a:cubicBezTo>
                    <a:cubicBezTo>
                      <a:pt x="50" y="101"/>
                      <a:pt x="52" y="100"/>
                      <a:pt x="50" y="100"/>
                    </a:cubicBezTo>
                    <a:cubicBezTo>
                      <a:pt x="50" y="100"/>
                      <a:pt x="50" y="101"/>
                      <a:pt x="48" y="101"/>
                    </a:cubicBezTo>
                    <a:cubicBezTo>
                      <a:pt x="47" y="101"/>
                      <a:pt x="45" y="103"/>
                      <a:pt x="47" y="105"/>
                    </a:cubicBezTo>
                    <a:cubicBezTo>
                      <a:pt x="45" y="106"/>
                      <a:pt x="45" y="106"/>
                      <a:pt x="45" y="106"/>
                    </a:cubicBezTo>
                    <a:cubicBezTo>
                      <a:pt x="44" y="105"/>
                      <a:pt x="44" y="106"/>
                      <a:pt x="42" y="106"/>
                    </a:cubicBezTo>
                    <a:cubicBezTo>
                      <a:pt x="41" y="106"/>
                      <a:pt x="39" y="108"/>
                      <a:pt x="39" y="109"/>
                    </a:cubicBezTo>
                    <a:cubicBezTo>
                      <a:pt x="39" y="111"/>
                      <a:pt x="39" y="112"/>
                      <a:pt x="38" y="114"/>
                    </a:cubicBezTo>
                    <a:cubicBezTo>
                      <a:pt x="38" y="116"/>
                      <a:pt x="38" y="116"/>
                      <a:pt x="39" y="117"/>
                    </a:cubicBezTo>
                    <a:close/>
                    <a:moveTo>
                      <a:pt x="41" y="122"/>
                    </a:moveTo>
                    <a:cubicBezTo>
                      <a:pt x="41" y="122"/>
                      <a:pt x="38" y="123"/>
                      <a:pt x="38" y="122"/>
                    </a:cubicBezTo>
                    <a:cubicBezTo>
                      <a:pt x="38" y="119"/>
                      <a:pt x="41" y="120"/>
                      <a:pt x="41" y="122"/>
                    </a:cubicBezTo>
                    <a:close/>
                    <a:moveTo>
                      <a:pt x="32" y="128"/>
                    </a:moveTo>
                    <a:cubicBezTo>
                      <a:pt x="33" y="128"/>
                      <a:pt x="35" y="126"/>
                      <a:pt x="33" y="126"/>
                    </a:cubicBezTo>
                    <a:cubicBezTo>
                      <a:pt x="33" y="126"/>
                      <a:pt x="32" y="123"/>
                      <a:pt x="30" y="126"/>
                    </a:cubicBezTo>
                    <a:cubicBezTo>
                      <a:pt x="29" y="128"/>
                      <a:pt x="32" y="126"/>
                      <a:pt x="32" y="128"/>
                    </a:cubicBezTo>
                    <a:close/>
                    <a:moveTo>
                      <a:pt x="50" y="95"/>
                    </a:moveTo>
                    <a:cubicBezTo>
                      <a:pt x="52" y="97"/>
                      <a:pt x="52" y="97"/>
                      <a:pt x="52" y="97"/>
                    </a:cubicBezTo>
                    <a:cubicBezTo>
                      <a:pt x="53" y="95"/>
                      <a:pt x="52" y="94"/>
                      <a:pt x="52" y="95"/>
                    </a:cubicBezTo>
                    <a:cubicBezTo>
                      <a:pt x="52" y="95"/>
                      <a:pt x="52" y="95"/>
                      <a:pt x="50" y="95"/>
                    </a:cubicBezTo>
                    <a:close/>
                    <a:moveTo>
                      <a:pt x="59" y="95"/>
                    </a:moveTo>
                    <a:cubicBezTo>
                      <a:pt x="61" y="95"/>
                      <a:pt x="62" y="95"/>
                      <a:pt x="61" y="97"/>
                    </a:cubicBezTo>
                    <a:cubicBezTo>
                      <a:pt x="59" y="95"/>
                      <a:pt x="59" y="95"/>
                      <a:pt x="59" y="95"/>
                    </a:cubicBezTo>
                    <a:close/>
                    <a:moveTo>
                      <a:pt x="38" y="64"/>
                    </a:moveTo>
                    <a:cubicBezTo>
                      <a:pt x="38" y="66"/>
                      <a:pt x="39" y="66"/>
                      <a:pt x="39" y="64"/>
                    </a:cubicBezTo>
                    <a:cubicBezTo>
                      <a:pt x="39" y="61"/>
                      <a:pt x="41" y="61"/>
                      <a:pt x="39" y="61"/>
                    </a:cubicBezTo>
                    <a:cubicBezTo>
                      <a:pt x="38" y="63"/>
                      <a:pt x="39" y="61"/>
                      <a:pt x="38" y="64"/>
                    </a:cubicBezTo>
                    <a:close/>
                    <a:moveTo>
                      <a:pt x="39" y="55"/>
                    </a:moveTo>
                    <a:cubicBezTo>
                      <a:pt x="39" y="55"/>
                      <a:pt x="41" y="53"/>
                      <a:pt x="38" y="5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55"/>
                      <a:pt x="38" y="56"/>
                      <a:pt x="39" y="55"/>
                    </a:cubicBezTo>
                    <a:close/>
                    <a:moveTo>
                      <a:pt x="42" y="64"/>
                    </a:moveTo>
                    <a:cubicBezTo>
                      <a:pt x="44" y="64"/>
                      <a:pt x="44" y="66"/>
                      <a:pt x="44" y="64"/>
                    </a:cubicBezTo>
                    <a:cubicBezTo>
                      <a:pt x="45" y="63"/>
                      <a:pt x="42" y="63"/>
                      <a:pt x="42" y="63"/>
                    </a:cubicBezTo>
                    <a:cubicBezTo>
                      <a:pt x="42" y="64"/>
                      <a:pt x="42" y="64"/>
                      <a:pt x="42" y="64"/>
                    </a:cubicBezTo>
                    <a:close/>
                    <a:moveTo>
                      <a:pt x="47" y="58"/>
                    </a:moveTo>
                    <a:cubicBezTo>
                      <a:pt x="47" y="59"/>
                      <a:pt x="47" y="59"/>
                      <a:pt x="48" y="59"/>
                    </a:cubicBezTo>
                    <a:cubicBezTo>
                      <a:pt x="48" y="59"/>
                      <a:pt x="48" y="59"/>
                      <a:pt x="50" y="61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48" y="58"/>
                      <a:pt x="47" y="56"/>
                      <a:pt x="47" y="56"/>
                    </a:cubicBezTo>
                    <a:cubicBezTo>
                      <a:pt x="45" y="56"/>
                      <a:pt x="45" y="58"/>
                      <a:pt x="47" y="58"/>
                    </a:cubicBezTo>
                    <a:close/>
                    <a:moveTo>
                      <a:pt x="52" y="61"/>
                    </a:moveTo>
                    <a:cubicBezTo>
                      <a:pt x="53" y="64"/>
                      <a:pt x="53" y="64"/>
                      <a:pt x="53" y="64"/>
                    </a:cubicBezTo>
                    <a:cubicBezTo>
                      <a:pt x="52" y="61"/>
                      <a:pt x="52" y="61"/>
                      <a:pt x="52" y="61"/>
                    </a:cubicBezTo>
                    <a:close/>
                    <a:moveTo>
                      <a:pt x="21" y="83"/>
                    </a:moveTo>
                    <a:cubicBezTo>
                      <a:pt x="23" y="80"/>
                      <a:pt x="24" y="81"/>
                      <a:pt x="23" y="81"/>
                    </a:cubicBezTo>
                    <a:cubicBezTo>
                      <a:pt x="23" y="83"/>
                      <a:pt x="21" y="84"/>
                      <a:pt x="21" y="83"/>
                    </a:cubicBezTo>
                    <a:close/>
                    <a:moveTo>
                      <a:pt x="68" y="77"/>
                    </a:moveTo>
                    <a:cubicBezTo>
                      <a:pt x="70" y="78"/>
                      <a:pt x="68" y="77"/>
                      <a:pt x="68" y="75"/>
                    </a:cubicBezTo>
                    <a:cubicBezTo>
                      <a:pt x="67" y="75"/>
                      <a:pt x="68" y="73"/>
                      <a:pt x="67" y="73"/>
                    </a:cubicBezTo>
                    <a:cubicBezTo>
                      <a:pt x="65" y="72"/>
                      <a:pt x="67" y="66"/>
                      <a:pt x="65" y="64"/>
                    </a:cubicBezTo>
                    <a:cubicBezTo>
                      <a:pt x="65" y="64"/>
                      <a:pt x="65" y="63"/>
                      <a:pt x="64" y="63"/>
                    </a:cubicBezTo>
                    <a:cubicBezTo>
                      <a:pt x="62" y="61"/>
                      <a:pt x="61" y="63"/>
                      <a:pt x="58" y="63"/>
                    </a:cubicBezTo>
                    <a:cubicBezTo>
                      <a:pt x="56" y="61"/>
                      <a:pt x="58" y="66"/>
                      <a:pt x="59" y="67"/>
                    </a:cubicBezTo>
                    <a:cubicBezTo>
                      <a:pt x="62" y="69"/>
                      <a:pt x="61" y="69"/>
                      <a:pt x="62" y="70"/>
                    </a:cubicBezTo>
                    <a:cubicBezTo>
                      <a:pt x="64" y="70"/>
                      <a:pt x="62" y="70"/>
                      <a:pt x="62" y="72"/>
                    </a:cubicBezTo>
                    <a:cubicBezTo>
                      <a:pt x="61" y="72"/>
                      <a:pt x="64" y="73"/>
                      <a:pt x="64" y="77"/>
                    </a:cubicBezTo>
                    <a:cubicBezTo>
                      <a:pt x="64" y="78"/>
                      <a:pt x="67" y="75"/>
                      <a:pt x="68" y="77"/>
                    </a:cubicBezTo>
                    <a:close/>
                    <a:moveTo>
                      <a:pt x="67" y="87"/>
                    </a:moveTo>
                    <a:cubicBezTo>
                      <a:pt x="65" y="86"/>
                      <a:pt x="68" y="81"/>
                      <a:pt x="68" y="83"/>
                    </a:cubicBezTo>
                    <a:cubicBezTo>
                      <a:pt x="68" y="86"/>
                      <a:pt x="70" y="91"/>
                      <a:pt x="67" y="87"/>
                    </a:cubicBezTo>
                    <a:close/>
                    <a:moveTo>
                      <a:pt x="70" y="87"/>
                    </a:moveTo>
                    <a:cubicBezTo>
                      <a:pt x="71" y="86"/>
                      <a:pt x="71" y="86"/>
                      <a:pt x="71" y="87"/>
                    </a:cubicBezTo>
                    <a:cubicBezTo>
                      <a:pt x="73" y="91"/>
                      <a:pt x="70" y="91"/>
                      <a:pt x="70" y="87"/>
                    </a:cubicBezTo>
                    <a:close/>
                    <a:moveTo>
                      <a:pt x="42" y="81"/>
                    </a:moveTo>
                    <a:cubicBezTo>
                      <a:pt x="44" y="81"/>
                      <a:pt x="45" y="78"/>
                      <a:pt x="47" y="77"/>
                    </a:cubicBezTo>
                    <a:cubicBezTo>
                      <a:pt x="48" y="75"/>
                      <a:pt x="48" y="72"/>
                      <a:pt x="47" y="72"/>
                    </a:cubicBezTo>
                    <a:cubicBezTo>
                      <a:pt x="45" y="73"/>
                      <a:pt x="45" y="70"/>
                      <a:pt x="44" y="72"/>
                    </a:cubicBezTo>
                    <a:cubicBezTo>
                      <a:pt x="44" y="73"/>
                      <a:pt x="41" y="69"/>
                      <a:pt x="39" y="69"/>
                    </a:cubicBezTo>
                    <a:cubicBezTo>
                      <a:pt x="38" y="67"/>
                      <a:pt x="36" y="69"/>
                      <a:pt x="39" y="70"/>
                    </a:cubicBezTo>
                    <a:cubicBezTo>
                      <a:pt x="41" y="72"/>
                      <a:pt x="39" y="73"/>
                      <a:pt x="39" y="77"/>
                    </a:cubicBezTo>
                    <a:cubicBezTo>
                      <a:pt x="39" y="78"/>
                      <a:pt x="38" y="77"/>
                      <a:pt x="38" y="81"/>
                    </a:cubicBezTo>
                    <a:cubicBezTo>
                      <a:pt x="38" y="86"/>
                      <a:pt x="39" y="81"/>
                      <a:pt x="42" y="81"/>
                    </a:cubicBezTo>
                    <a:close/>
                    <a:moveTo>
                      <a:pt x="35" y="63"/>
                    </a:moveTo>
                    <a:cubicBezTo>
                      <a:pt x="36" y="59"/>
                      <a:pt x="35" y="61"/>
                      <a:pt x="35" y="58"/>
                    </a:cubicBezTo>
                    <a:cubicBezTo>
                      <a:pt x="36" y="55"/>
                      <a:pt x="33" y="53"/>
                      <a:pt x="29" y="53"/>
                    </a:cubicBezTo>
                    <a:cubicBezTo>
                      <a:pt x="26" y="52"/>
                      <a:pt x="24" y="53"/>
                      <a:pt x="26" y="53"/>
                    </a:cubicBezTo>
                    <a:cubicBezTo>
                      <a:pt x="27" y="55"/>
                      <a:pt x="27" y="55"/>
                      <a:pt x="27" y="56"/>
                    </a:cubicBezTo>
                    <a:cubicBezTo>
                      <a:pt x="29" y="56"/>
                      <a:pt x="30" y="61"/>
                      <a:pt x="32" y="64"/>
                    </a:cubicBezTo>
                    <a:cubicBezTo>
                      <a:pt x="32" y="67"/>
                      <a:pt x="33" y="66"/>
                      <a:pt x="35" y="63"/>
                    </a:cubicBezTo>
                    <a:close/>
                    <a:moveTo>
                      <a:pt x="4" y="101"/>
                    </a:moveTo>
                    <a:cubicBezTo>
                      <a:pt x="4" y="100"/>
                      <a:pt x="6" y="98"/>
                      <a:pt x="11" y="94"/>
                    </a:cubicBezTo>
                    <a:cubicBezTo>
                      <a:pt x="17" y="89"/>
                      <a:pt x="12" y="89"/>
                      <a:pt x="15" y="87"/>
                    </a:cubicBezTo>
                    <a:cubicBezTo>
                      <a:pt x="18" y="87"/>
                      <a:pt x="17" y="84"/>
                      <a:pt x="18" y="84"/>
                    </a:cubicBezTo>
                    <a:cubicBezTo>
                      <a:pt x="20" y="84"/>
                      <a:pt x="21" y="83"/>
                      <a:pt x="20" y="80"/>
                    </a:cubicBezTo>
                    <a:cubicBezTo>
                      <a:pt x="20" y="78"/>
                      <a:pt x="21" y="73"/>
                      <a:pt x="20" y="73"/>
                    </a:cubicBezTo>
                    <a:cubicBezTo>
                      <a:pt x="18" y="73"/>
                      <a:pt x="18" y="78"/>
                      <a:pt x="17" y="78"/>
                    </a:cubicBezTo>
                    <a:cubicBezTo>
                      <a:pt x="15" y="78"/>
                      <a:pt x="18" y="80"/>
                      <a:pt x="17" y="83"/>
                    </a:cubicBezTo>
                    <a:cubicBezTo>
                      <a:pt x="17" y="84"/>
                      <a:pt x="17" y="81"/>
                      <a:pt x="15" y="84"/>
                    </a:cubicBezTo>
                    <a:cubicBezTo>
                      <a:pt x="14" y="87"/>
                      <a:pt x="9" y="92"/>
                      <a:pt x="7" y="94"/>
                    </a:cubicBezTo>
                    <a:cubicBezTo>
                      <a:pt x="6" y="95"/>
                      <a:pt x="3" y="98"/>
                      <a:pt x="1" y="103"/>
                    </a:cubicBezTo>
                    <a:cubicBezTo>
                      <a:pt x="0" y="105"/>
                      <a:pt x="3" y="103"/>
                      <a:pt x="4" y="101"/>
                    </a:cubicBezTo>
                    <a:close/>
                    <a:moveTo>
                      <a:pt x="56" y="59"/>
                    </a:moveTo>
                    <a:cubicBezTo>
                      <a:pt x="56" y="58"/>
                      <a:pt x="56" y="56"/>
                      <a:pt x="53" y="56"/>
                    </a:cubicBezTo>
                    <a:cubicBezTo>
                      <a:pt x="50" y="56"/>
                      <a:pt x="55" y="56"/>
                      <a:pt x="52" y="53"/>
                    </a:cubicBezTo>
                    <a:cubicBezTo>
                      <a:pt x="48" y="50"/>
                      <a:pt x="53" y="52"/>
                      <a:pt x="55" y="52"/>
                    </a:cubicBezTo>
                    <a:cubicBezTo>
                      <a:pt x="55" y="50"/>
                      <a:pt x="53" y="50"/>
                      <a:pt x="50" y="49"/>
                    </a:cubicBezTo>
                    <a:cubicBezTo>
                      <a:pt x="47" y="45"/>
                      <a:pt x="48" y="52"/>
                      <a:pt x="47" y="50"/>
                    </a:cubicBezTo>
                    <a:cubicBezTo>
                      <a:pt x="45" y="50"/>
                      <a:pt x="48" y="47"/>
                      <a:pt x="44" y="45"/>
                    </a:cubicBezTo>
                    <a:cubicBezTo>
                      <a:pt x="41" y="44"/>
                      <a:pt x="42" y="47"/>
                      <a:pt x="41" y="45"/>
                    </a:cubicBezTo>
                    <a:cubicBezTo>
                      <a:pt x="38" y="45"/>
                      <a:pt x="41" y="49"/>
                      <a:pt x="39" y="49"/>
                    </a:cubicBezTo>
                    <a:cubicBezTo>
                      <a:pt x="36" y="47"/>
                      <a:pt x="35" y="42"/>
                      <a:pt x="36" y="41"/>
                    </a:cubicBezTo>
                    <a:cubicBezTo>
                      <a:pt x="36" y="39"/>
                      <a:pt x="33" y="36"/>
                      <a:pt x="35" y="33"/>
                    </a:cubicBezTo>
                    <a:cubicBezTo>
                      <a:pt x="36" y="30"/>
                      <a:pt x="35" y="30"/>
                      <a:pt x="36" y="27"/>
                    </a:cubicBezTo>
                    <a:cubicBezTo>
                      <a:pt x="39" y="25"/>
                      <a:pt x="38" y="28"/>
                      <a:pt x="39" y="28"/>
                    </a:cubicBezTo>
                    <a:cubicBezTo>
                      <a:pt x="41" y="27"/>
                      <a:pt x="42" y="20"/>
                      <a:pt x="42" y="19"/>
                    </a:cubicBezTo>
                    <a:cubicBezTo>
                      <a:pt x="42" y="16"/>
                      <a:pt x="38" y="14"/>
                      <a:pt x="41" y="8"/>
                    </a:cubicBezTo>
                    <a:cubicBezTo>
                      <a:pt x="42" y="3"/>
                      <a:pt x="41" y="2"/>
                      <a:pt x="39" y="5"/>
                    </a:cubicBezTo>
                    <a:cubicBezTo>
                      <a:pt x="36" y="8"/>
                      <a:pt x="33" y="0"/>
                      <a:pt x="29" y="2"/>
                    </a:cubicBezTo>
                    <a:cubicBezTo>
                      <a:pt x="26" y="3"/>
                      <a:pt x="27" y="3"/>
                      <a:pt x="26" y="8"/>
                    </a:cubicBezTo>
                    <a:cubicBezTo>
                      <a:pt x="24" y="13"/>
                      <a:pt x="27" y="14"/>
                      <a:pt x="26" y="20"/>
                    </a:cubicBezTo>
                    <a:cubicBezTo>
                      <a:pt x="23" y="25"/>
                      <a:pt x="27" y="24"/>
                      <a:pt x="26" y="27"/>
                    </a:cubicBezTo>
                    <a:cubicBezTo>
                      <a:pt x="24" y="31"/>
                      <a:pt x="23" y="24"/>
                      <a:pt x="21" y="25"/>
                    </a:cubicBezTo>
                    <a:cubicBezTo>
                      <a:pt x="20" y="25"/>
                      <a:pt x="20" y="28"/>
                      <a:pt x="21" y="28"/>
                    </a:cubicBezTo>
                    <a:cubicBezTo>
                      <a:pt x="23" y="30"/>
                      <a:pt x="21" y="28"/>
                      <a:pt x="23" y="36"/>
                    </a:cubicBezTo>
                    <a:cubicBezTo>
                      <a:pt x="23" y="44"/>
                      <a:pt x="24" y="39"/>
                      <a:pt x="26" y="42"/>
                    </a:cubicBezTo>
                    <a:cubicBezTo>
                      <a:pt x="26" y="45"/>
                      <a:pt x="27" y="44"/>
                      <a:pt x="27" y="42"/>
                    </a:cubicBezTo>
                    <a:cubicBezTo>
                      <a:pt x="27" y="39"/>
                      <a:pt x="27" y="39"/>
                      <a:pt x="29" y="41"/>
                    </a:cubicBezTo>
                    <a:cubicBezTo>
                      <a:pt x="30" y="42"/>
                      <a:pt x="30" y="44"/>
                      <a:pt x="29" y="44"/>
                    </a:cubicBezTo>
                    <a:cubicBezTo>
                      <a:pt x="27" y="45"/>
                      <a:pt x="26" y="50"/>
                      <a:pt x="29" y="50"/>
                    </a:cubicBezTo>
                    <a:cubicBezTo>
                      <a:pt x="30" y="49"/>
                      <a:pt x="30" y="52"/>
                      <a:pt x="33" y="52"/>
                    </a:cubicBezTo>
                    <a:cubicBezTo>
                      <a:pt x="35" y="52"/>
                      <a:pt x="33" y="50"/>
                      <a:pt x="35" y="49"/>
                    </a:cubicBezTo>
                    <a:cubicBezTo>
                      <a:pt x="36" y="49"/>
                      <a:pt x="36" y="49"/>
                      <a:pt x="39" y="52"/>
                    </a:cubicBezTo>
                    <a:cubicBezTo>
                      <a:pt x="42" y="53"/>
                      <a:pt x="41" y="56"/>
                      <a:pt x="44" y="56"/>
                    </a:cubicBezTo>
                    <a:cubicBezTo>
                      <a:pt x="45" y="56"/>
                      <a:pt x="42" y="53"/>
                      <a:pt x="42" y="50"/>
                    </a:cubicBezTo>
                    <a:cubicBezTo>
                      <a:pt x="42" y="49"/>
                      <a:pt x="45" y="50"/>
                      <a:pt x="45" y="52"/>
                    </a:cubicBezTo>
                    <a:cubicBezTo>
                      <a:pt x="45" y="53"/>
                      <a:pt x="47" y="53"/>
                      <a:pt x="48" y="55"/>
                    </a:cubicBezTo>
                    <a:cubicBezTo>
                      <a:pt x="48" y="56"/>
                      <a:pt x="47" y="58"/>
                      <a:pt x="50" y="59"/>
                    </a:cubicBezTo>
                    <a:cubicBezTo>
                      <a:pt x="55" y="61"/>
                      <a:pt x="53" y="61"/>
                      <a:pt x="55" y="63"/>
                    </a:cubicBezTo>
                    <a:cubicBezTo>
                      <a:pt x="55" y="64"/>
                      <a:pt x="56" y="63"/>
                      <a:pt x="56" y="59"/>
                    </a:cubicBezTo>
                    <a:close/>
                    <a:moveTo>
                      <a:pt x="76" y="144"/>
                    </a:moveTo>
                    <a:cubicBezTo>
                      <a:pt x="76" y="144"/>
                      <a:pt x="77" y="144"/>
                      <a:pt x="76" y="145"/>
                    </a:cubicBezTo>
                    <a:cubicBezTo>
                      <a:pt x="74" y="147"/>
                      <a:pt x="77" y="147"/>
                      <a:pt x="77" y="145"/>
                    </a:cubicBezTo>
                    <a:cubicBezTo>
                      <a:pt x="77" y="144"/>
                      <a:pt x="77" y="144"/>
                      <a:pt x="77" y="142"/>
                    </a:cubicBezTo>
                    <a:cubicBezTo>
                      <a:pt x="77" y="142"/>
                      <a:pt x="77" y="140"/>
                      <a:pt x="76" y="140"/>
                    </a:cubicBezTo>
                    <a:cubicBezTo>
                      <a:pt x="76" y="140"/>
                      <a:pt x="76" y="142"/>
                      <a:pt x="76" y="144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17" name="Freeform 211"/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7539021" y="4150388"/>
                <a:ext cx="40938" cy="19884"/>
              </a:xfrm>
              <a:custGeom>
                <a:avLst/>
                <a:gdLst/>
                <a:ahLst/>
                <a:cxnLst>
                  <a:cxn ang="0">
                    <a:pos x="9" y="8"/>
                  </a:cxn>
                  <a:cxn ang="0">
                    <a:pos x="10" y="0"/>
                  </a:cxn>
                  <a:cxn ang="0">
                    <a:pos x="16" y="3"/>
                  </a:cxn>
                  <a:cxn ang="0">
                    <a:pos x="16" y="8"/>
                  </a:cxn>
                  <a:cxn ang="0">
                    <a:pos x="13" y="8"/>
                  </a:cxn>
                  <a:cxn ang="0">
                    <a:pos x="9" y="8"/>
                  </a:cxn>
                </a:cxnLst>
                <a:rect l="0" t="0" r="r" b="b"/>
                <a:pathLst>
                  <a:path w="18" h="9">
                    <a:moveTo>
                      <a:pt x="9" y="8"/>
                    </a:moveTo>
                    <a:cubicBezTo>
                      <a:pt x="0" y="6"/>
                      <a:pt x="9" y="0"/>
                      <a:pt x="10" y="0"/>
                    </a:cubicBezTo>
                    <a:cubicBezTo>
                      <a:pt x="12" y="0"/>
                      <a:pt x="16" y="0"/>
                      <a:pt x="16" y="3"/>
                    </a:cubicBezTo>
                    <a:cubicBezTo>
                      <a:pt x="15" y="6"/>
                      <a:pt x="18" y="6"/>
                      <a:pt x="16" y="8"/>
                    </a:cubicBezTo>
                    <a:cubicBezTo>
                      <a:pt x="15" y="9"/>
                      <a:pt x="13" y="6"/>
                      <a:pt x="13" y="8"/>
                    </a:cubicBezTo>
                    <a:cubicBezTo>
                      <a:pt x="12" y="9"/>
                      <a:pt x="10" y="8"/>
                      <a:pt x="9" y="8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18" name="Freeform 212"/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7568262" y="4118807"/>
                <a:ext cx="36259" cy="24562"/>
              </a:xfrm>
              <a:custGeom>
                <a:avLst/>
                <a:gdLst/>
                <a:ahLst/>
                <a:cxnLst>
                  <a:cxn ang="0">
                    <a:pos x="4" y="10"/>
                  </a:cxn>
                  <a:cxn ang="0">
                    <a:pos x="5" y="7"/>
                  </a:cxn>
                  <a:cxn ang="0">
                    <a:pos x="8" y="3"/>
                  </a:cxn>
                  <a:cxn ang="0">
                    <a:pos x="13" y="3"/>
                  </a:cxn>
                  <a:cxn ang="0">
                    <a:pos x="13" y="5"/>
                  </a:cxn>
                  <a:cxn ang="0">
                    <a:pos x="13" y="8"/>
                  </a:cxn>
                  <a:cxn ang="0">
                    <a:pos x="10" y="8"/>
                  </a:cxn>
                  <a:cxn ang="0">
                    <a:pos x="7" y="8"/>
                  </a:cxn>
                  <a:cxn ang="0">
                    <a:pos x="4" y="10"/>
                  </a:cxn>
                </a:cxnLst>
                <a:rect l="0" t="0" r="r" b="b"/>
                <a:pathLst>
                  <a:path w="16" h="11">
                    <a:moveTo>
                      <a:pt x="4" y="10"/>
                    </a:moveTo>
                    <a:cubicBezTo>
                      <a:pt x="0" y="5"/>
                      <a:pt x="4" y="8"/>
                      <a:pt x="5" y="7"/>
                    </a:cubicBezTo>
                    <a:cubicBezTo>
                      <a:pt x="5" y="3"/>
                      <a:pt x="7" y="7"/>
                      <a:pt x="8" y="3"/>
                    </a:cubicBezTo>
                    <a:cubicBezTo>
                      <a:pt x="11" y="2"/>
                      <a:pt x="16" y="0"/>
                      <a:pt x="13" y="3"/>
                    </a:cubicBezTo>
                    <a:cubicBezTo>
                      <a:pt x="11" y="5"/>
                      <a:pt x="11" y="8"/>
                      <a:pt x="13" y="5"/>
                    </a:cubicBezTo>
                    <a:cubicBezTo>
                      <a:pt x="14" y="3"/>
                      <a:pt x="13" y="8"/>
                      <a:pt x="13" y="8"/>
                    </a:cubicBezTo>
                    <a:cubicBezTo>
                      <a:pt x="14" y="8"/>
                      <a:pt x="11" y="7"/>
                      <a:pt x="10" y="8"/>
                    </a:cubicBezTo>
                    <a:cubicBezTo>
                      <a:pt x="8" y="10"/>
                      <a:pt x="10" y="7"/>
                      <a:pt x="7" y="8"/>
                    </a:cubicBezTo>
                    <a:cubicBezTo>
                      <a:pt x="4" y="11"/>
                      <a:pt x="4" y="11"/>
                      <a:pt x="4" y="10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19" name="Freeform 213"/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6329593" y="3607676"/>
                <a:ext cx="178958" cy="141526"/>
              </a:xfrm>
              <a:custGeom>
                <a:avLst/>
                <a:gdLst/>
                <a:ahLst/>
                <a:cxnLst>
                  <a:cxn ang="0">
                    <a:pos x="44" y="20"/>
                  </a:cxn>
                  <a:cxn ang="0">
                    <a:pos x="42" y="22"/>
                  </a:cxn>
                  <a:cxn ang="0">
                    <a:pos x="42" y="25"/>
                  </a:cxn>
                  <a:cxn ang="0">
                    <a:pos x="41" y="29"/>
                  </a:cxn>
                  <a:cxn ang="0">
                    <a:pos x="39" y="26"/>
                  </a:cxn>
                  <a:cxn ang="0">
                    <a:pos x="36" y="23"/>
                  </a:cxn>
                  <a:cxn ang="0">
                    <a:pos x="36" y="26"/>
                  </a:cxn>
                  <a:cxn ang="0">
                    <a:pos x="29" y="37"/>
                  </a:cxn>
                  <a:cxn ang="0">
                    <a:pos x="17" y="42"/>
                  </a:cxn>
                  <a:cxn ang="0">
                    <a:pos x="15" y="45"/>
                  </a:cxn>
                  <a:cxn ang="0">
                    <a:pos x="14" y="48"/>
                  </a:cxn>
                  <a:cxn ang="0">
                    <a:pos x="14" y="50"/>
                  </a:cxn>
                  <a:cxn ang="0">
                    <a:pos x="14" y="54"/>
                  </a:cxn>
                  <a:cxn ang="0">
                    <a:pos x="12" y="54"/>
                  </a:cxn>
                  <a:cxn ang="0">
                    <a:pos x="9" y="53"/>
                  </a:cxn>
                  <a:cxn ang="0">
                    <a:pos x="8" y="51"/>
                  </a:cxn>
                  <a:cxn ang="0">
                    <a:pos x="6" y="51"/>
                  </a:cxn>
                  <a:cxn ang="0">
                    <a:pos x="1" y="48"/>
                  </a:cxn>
                  <a:cxn ang="0">
                    <a:pos x="1" y="51"/>
                  </a:cxn>
                  <a:cxn ang="0">
                    <a:pos x="3" y="54"/>
                  </a:cxn>
                  <a:cxn ang="0">
                    <a:pos x="8" y="59"/>
                  </a:cxn>
                  <a:cxn ang="0">
                    <a:pos x="15" y="59"/>
                  </a:cxn>
                  <a:cxn ang="0">
                    <a:pos x="21" y="58"/>
                  </a:cxn>
                  <a:cxn ang="0">
                    <a:pos x="26" y="53"/>
                  </a:cxn>
                  <a:cxn ang="0">
                    <a:pos x="29" y="54"/>
                  </a:cxn>
                  <a:cxn ang="0">
                    <a:pos x="35" y="56"/>
                  </a:cxn>
                  <a:cxn ang="0">
                    <a:pos x="41" y="53"/>
                  </a:cxn>
                  <a:cxn ang="0">
                    <a:pos x="42" y="48"/>
                  </a:cxn>
                  <a:cxn ang="0">
                    <a:pos x="45" y="44"/>
                  </a:cxn>
                  <a:cxn ang="0">
                    <a:pos x="45" y="40"/>
                  </a:cxn>
                  <a:cxn ang="0">
                    <a:pos x="49" y="37"/>
                  </a:cxn>
                  <a:cxn ang="0">
                    <a:pos x="50" y="28"/>
                  </a:cxn>
                  <a:cxn ang="0">
                    <a:pos x="59" y="26"/>
                  </a:cxn>
                  <a:cxn ang="0">
                    <a:pos x="64" y="28"/>
                  </a:cxn>
                  <a:cxn ang="0">
                    <a:pos x="67" y="26"/>
                  </a:cxn>
                  <a:cxn ang="0">
                    <a:pos x="70" y="26"/>
                  </a:cxn>
                  <a:cxn ang="0">
                    <a:pos x="71" y="23"/>
                  </a:cxn>
                  <a:cxn ang="0">
                    <a:pos x="70" y="20"/>
                  </a:cxn>
                  <a:cxn ang="0">
                    <a:pos x="73" y="20"/>
                  </a:cxn>
                  <a:cxn ang="0">
                    <a:pos x="77" y="15"/>
                  </a:cxn>
                  <a:cxn ang="0">
                    <a:pos x="74" y="15"/>
                  </a:cxn>
                  <a:cxn ang="0">
                    <a:pos x="73" y="14"/>
                  </a:cxn>
                  <a:cxn ang="0">
                    <a:pos x="70" y="12"/>
                  </a:cxn>
                  <a:cxn ang="0">
                    <a:pos x="67" y="12"/>
                  </a:cxn>
                  <a:cxn ang="0">
                    <a:pos x="68" y="11"/>
                  </a:cxn>
                  <a:cxn ang="0">
                    <a:pos x="65" y="9"/>
                  </a:cxn>
                  <a:cxn ang="0">
                    <a:pos x="65" y="4"/>
                  </a:cxn>
                  <a:cxn ang="0">
                    <a:pos x="64" y="4"/>
                  </a:cxn>
                  <a:cxn ang="0">
                    <a:pos x="61" y="0"/>
                  </a:cxn>
                  <a:cxn ang="0">
                    <a:pos x="59" y="4"/>
                  </a:cxn>
                  <a:cxn ang="0">
                    <a:pos x="58" y="0"/>
                  </a:cxn>
                  <a:cxn ang="0">
                    <a:pos x="55" y="6"/>
                  </a:cxn>
                  <a:cxn ang="0">
                    <a:pos x="53" y="9"/>
                  </a:cxn>
                  <a:cxn ang="0">
                    <a:pos x="52" y="12"/>
                  </a:cxn>
                  <a:cxn ang="0">
                    <a:pos x="50" y="14"/>
                  </a:cxn>
                  <a:cxn ang="0">
                    <a:pos x="47" y="15"/>
                  </a:cxn>
                  <a:cxn ang="0">
                    <a:pos x="49" y="20"/>
                  </a:cxn>
                  <a:cxn ang="0">
                    <a:pos x="45" y="20"/>
                  </a:cxn>
                  <a:cxn ang="0">
                    <a:pos x="47" y="25"/>
                  </a:cxn>
                  <a:cxn ang="0">
                    <a:pos x="45" y="26"/>
                  </a:cxn>
                  <a:cxn ang="0">
                    <a:pos x="44" y="22"/>
                  </a:cxn>
                  <a:cxn ang="0">
                    <a:pos x="44" y="20"/>
                  </a:cxn>
                </a:cxnLst>
                <a:rect l="0" t="0" r="r" b="b"/>
                <a:pathLst>
                  <a:path w="79" h="62">
                    <a:moveTo>
                      <a:pt x="44" y="20"/>
                    </a:moveTo>
                    <a:cubicBezTo>
                      <a:pt x="44" y="22"/>
                      <a:pt x="42" y="22"/>
                      <a:pt x="42" y="22"/>
                    </a:cubicBezTo>
                    <a:cubicBezTo>
                      <a:pt x="42" y="23"/>
                      <a:pt x="42" y="25"/>
                      <a:pt x="42" y="25"/>
                    </a:cubicBezTo>
                    <a:cubicBezTo>
                      <a:pt x="44" y="25"/>
                      <a:pt x="42" y="29"/>
                      <a:pt x="41" y="29"/>
                    </a:cubicBezTo>
                    <a:cubicBezTo>
                      <a:pt x="39" y="29"/>
                      <a:pt x="41" y="26"/>
                      <a:pt x="39" y="26"/>
                    </a:cubicBezTo>
                    <a:cubicBezTo>
                      <a:pt x="38" y="28"/>
                      <a:pt x="39" y="25"/>
                      <a:pt x="36" y="23"/>
                    </a:cubicBezTo>
                    <a:cubicBezTo>
                      <a:pt x="36" y="23"/>
                      <a:pt x="36" y="23"/>
                      <a:pt x="36" y="26"/>
                    </a:cubicBezTo>
                    <a:cubicBezTo>
                      <a:pt x="36" y="29"/>
                      <a:pt x="30" y="31"/>
                      <a:pt x="29" y="37"/>
                    </a:cubicBezTo>
                    <a:cubicBezTo>
                      <a:pt x="29" y="40"/>
                      <a:pt x="18" y="39"/>
                      <a:pt x="17" y="42"/>
                    </a:cubicBezTo>
                    <a:cubicBezTo>
                      <a:pt x="15" y="44"/>
                      <a:pt x="17" y="47"/>
                      <a:pt x="15" y="45"/>
                    </a:cubicBezTo>
                    <a:cubicBezTo>
                      <a:pt x="14" y="44"/>
                      <a:pt x="14" y="47"/>
                      <a:pt x="14" y="48"/>
                    </a:cubicBezTo>
                    <a:cubicBezTo>
                      <a:pt x="15" y="48"/>
                      <a:pt x="14" y="48"/>
                      <a:pt x="14" y="50"/>
                    </a:cubicBezTo>
                    <a:cubicBezTo>
                      <a:pt x="14" y="53"/>
                      <a:pt x="12" y="53"/>
                      <a:pt x="14" y="54"/>
                    </a:cubicBezTo>
                    <a:cubicBezTo>
                      <a:pt x="15" y="56"/>
                      <a:pt x="14" y="54"/>
                      <a:pt x="12" y="54"/>
                    </a:cubicBezTo>
                    <a:cubicBezTo>
                      <a:pt x="11" y="53"/>
                      <a:pt x="8" y="54"/>
                      <a:pt x="9" y="53"/>
                    </a:cubicBezTo>
                    <a:cubicBezTo>
                      <a:pt x="9" y="51"/>
                      <a:pt x="8" y="53"/>
                      <a:pt x="8" y="51"/>
                    </a:cubicBezTo>
                    <a:cubicBezTo>
                      <a:pt x="6" y="50"/>
                      <a:pt x="8" y="51"/>
                      <a:pt x="6" y="51"/>
                    </a:cubicBezTo>
                    <a:cubicBezTo>
                      <a:pt x="5" y="53"/>
                      <a:pt x="1" y="51"/>
                      <a:pt x="1" y="48"/>
                    </a:cubicBezTo>
                    <a:cubicBezTo>
                      <a:pt x="1" y="48"/>
                      <a:pt x="0" y="51"/>
                      <a:pt x="1" y="51"/>
                    </a:cubicBezTo>
                    <a:cubicBezTo>
                      <a:pt x="3" y="53"/>
                      <a:pt x="1" y="54"/>
                      <a:pt x="3" y="54"/>
                    </a:cubicBezTo>
                    <a:cubicBezTo>
                      <a:pt x="5" y="54"/>
                      <a:pt x="6" y="58"/>
                      <a:pt x="8" y="59"/>
                    </a:cubicBezTo>
                    <a:cubicBezTo>
                      <a:pt x="11" y="62"/>
                      <a:pt x="11" y="58"/>
                      <a:pt x="15" y="59"/>
                    </a:cubicBezTo>
                    <a:cubicBezTo>
                      <a:pt x="20" y="61"/>
                      <a:pt x="18" y="58"/>
                      <a:pt x="21" y="58"/>
                    </a:cubicBezTo>
                    <a:cubicBezTo>
                      <a:pt x="23" y="58"/>
                      <a:pt x="20" y="53"/>
                      <a:pt x="26" y="53"/>
                    </a:cubicBezTo>
                    <a:cubicBezTo>
                      <a:pt x="30" y="53"/>
                      <a:pt x="27" y="54"/>
                      <a:pt x="29" y="54"/>
                    </a:cubicBezTo>
                    <a:cubicBezTo>
                      <a:pt x="30" y="56"/>
                      <a:pt x="33" y="58"/>
                      <a:pt x="35" y="56"/>
                    </a:cubicBezTo>
                    <a:cubicBezTo>
                      <a:pt x="36" y="53"/>
                      <a:pt x="41" y="56"/>
                      <a:pt x="41" y="53"/>
                    </a:cubicBezTo>
                    <a:cubicBezTo>
                      <a:pt x="42" y="51"/>
                      <a:pt x="42" y="50"/>
                      <a:pt x="42" y="48"/>
                    </a:cubicBezTo>
                    <a:cubicBezTo>
                      <a:pt x="42" y="45"/>
                      <a:pt x="47" y="45"/>
                      <a:pt x="45" y="44"/>
                    </a:cubicBezTo>
                    <a:cubicBezTo>
                      <a:pt x="44" y="44"/>
                      <a:pt x="44" y="44"/>
                      <a:pt x="45" y="40"/>
                    </a:cubicBezTo>
                    <a:cubicBezTo>
                      <a:pt x="45" y="37"/>
                      <a:pt x="49" y="40"/>
                      <a:pt x="49" y="37"/>
                    </a:cubicBezTo>
                    <a:cubicBezTo>
                      <a:pt x="49" y="34"/>
                      <a:pt x="49" y="31"/>
                      <a:pt x="50" y="28"/>
                    </a:cubicBezTo>
                    <a:cubicBezTo>
                      <a:pt x="52" y="25"/>
                      <a:pt x="55" y="26"/>
                      <a:pt x="59" y="26"/>
                    </a:cubicBezTo>
                    <a:cubicBezTo>
                      <a:pt x="62" y="26"/>
                      <a:pt x="61" y="25"/>
                      <a:pt x="64" y="28"/>
                    </a:cubicBezTo>
                    <a:cubicBezTo>
                      <a:pt x="67" y="28"/>
                      <a:pt x="64" y="23"/>
                      <a:pt x="67" y="26"/>
                    </a:cubicBezTo>
                    <a:cubicBezTo>
                      <a:pt x="68" y="28"/>
                      <a:pt x="68" y="26"/>
                      <a:pt x="70" y="26"/>
                    </a:cubicBezTo>
                    <a:cubicBezTo>
                      <a:pt x="71" y="26"/>
                      <a:pt x="74" y="26"/>
                      <a:pt x="71" y="23"/>
                    </a:cubicBezTo>
                    <a:cubicBezTo>
                      <a:pt x="68" y="22"/>
                      <a:pt x="68" y="20"/>
                      <a:pt x="70" y="20"/>
                    </a:cubicBezTo>
                    <a:cubicBezTo>
                      <a:pt x="71" y="18"/>
                      <a:pt x="70" y="20"/>
                      <a:pt x="73" y="20"/>
                    </a:cubicBezTo>
                    <a:cubicBezTo>
                      <a:pt x="76" y="18"/>
                      <a:pt x="79" y="18"/>
                      <a:pt x="77" y="15"/>
                    </a:cubicBezTo>
                    <a:cubicBezTo>
                      <a:pt x="77" y="14"/>
                      <a:pt x="76" y="17"/>
                      <a:pt x="74" y="15"/>
                    </a:cubicBezTo>
                    <a:cubicBezTo>
                      <a:pt x="74" y="14"/>
                      <a:pt x="73" y="14"/>
                      <a:pt x="73" y="14"/>
                    </a:cubicBezTo>
                    <a:cubicBezTo>
                      <a:pt x="71" y="12"/>
                      <a:pt x="70" y="11"/>
                      <a:pt x="70" y="12"/>
                    </a:cubicBezTo>
                    <a:cubicBezTo>
                      <a:pt x="68" y="12"/>
                      <a:pt x="68" y="14"/>
                      <a:pt x="67" y="12"/>
                    </a:cubicBezTo>
                    <a:cubicBezTo>
                      <a:pt x="67" y="11"/>
                      <a:pt x="68" y="12"/>
                      <a:pt x="68" y="11"/>
                    </a:cubicBezTo>
                    <a:cubicBezTo>
                      <a:pt x="67" y="8"/>
                      <a:pt x="65" y="11"/>
                      <a:pt x="65" y="9"/>
                    </a:cubicBezTo>
                    <a:cubicBezTo>
                      <a:pt x="64" y="8"/>
                      <a:pt x="67" y="6"/>
                      <a:pt x="65" y="4"/>
                    </a:cubicBezTo>
                    <a:cubicBezTo>
                      <a:pt x="64" y="3"/>
                      <a:pt x="64" y="4"/>
                      <a:pt x="64" y="4"/>
                    </a:cubicBezTo>
                    <a:cubicBezTo>
                      <a:pt x="62" y="4"/>
                      <a:pt x="62" y="0"/>
                      <a:pt x="61" y="0"/>
                    </a:cubicBezTo>
                    <a:cubicBezTo>
                      <a:pt x="59" y="0"/>
                      <a:pt x="61" y="3"/>
                      <a:pt x="59" y="4"/>
                    </a:cubicBezTo>
                    <a:cubicBezTo>
                      <a:pt x="58" y="6"/>
                      <a:pt x="59" y="0"/>
                      <a:pt x="58" y="0"/>
                    </a:cubicBezTo>
                    <a:cubicBezTo>
                      <a:pt x="56" y="0"/>
                      <a:pt x="58" y="1"/>
                      <a:pt x="55" y="6"/>
                    </a:cubicBezTo>
                    <a:cubicBezTo>
                      <a:pt x="53" y="9"/>
                      <a:pt x="53" y="8"/>
                      <a:pt x="53" y="9"/>
                    </a:cubicBezTo>
                    <a:cubicBezTo>
                      <a:pt x="52" y="12"/>
                      <a:pt x="52" y="11"/>
                      <a:pt x="52" y="12"/>
                    </a:cubicBezTo>
                    <a:cubicBezTo>
                      <a:pt x="52" y="15"/>
                      <a:pt x="50" y="15"/>
                      <a:pt x="50" y="14"/>
                    </a:cubicBezTo>
                    <a:cubicBezTo>
                      <a:pt x="49" y="14"/>
                      <a:pt x="47" y="15"/>
                      <a:pt x="47" y="15"/>
                    </a:cubicBezTo>
                    <a:cubicBezTo>
                      <a:pt x="47" y="17"/>
                      <a:pt x="50" y="17"/>
                      <a:pt x="49" y="20"/>
                    </a:cubicBezTo>
                    <a:cubicBezTo>
                      <a:pt x="45" y="22"/>
                      <a:pt x="47" y="18"/>
                      <a:pt x="45" y="20"/>
                    </a:cubicBezTo>
                    <a:cubicBezTo>
                      <a:pt x="47" y="23"/>
                      <a:pt x="45" y="22"/>
                      <a:pt x="47" y="25"/>
                    </a:cubicBezTo>
                    <a:cubicBezTo>
                      <a:pt x="47" y="28"/>
                      <a:pt x="47" y="26"/>
                      <a:pt x="45" y="26"/>
                    </a:cubicBezTo>
                    <a:cubicBezTo>
                      <a:pt x="44" y="26"/>
                      <a:pt x="44" y="25"/>
                      <a:pt x="44" y="22"/>
                    </a:cubicBezTo>
                    <a:cubicBezTo>
                      <a:pt x="44" y="20"/>
                      <a:pt x="44" y="20"/>
                      <a:pt x="44" y="20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20" name="Freeform 214"/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6411470" y="3648614"/>
                <a:ext cx="22224" cy="28071"/>
              </a:xfrm>
              <a:custGeom>
                <a:avLst/>
                <a:gdLst/>
                <a:ahLst/>
                <a:cxnLst>
                  <a:cxn ang="0">
                    <a:pos x="8" y="2"/>
                  </a:cxn>
                  <a:cxn ang="0">
                    <a:pos x="8" y="2"/>
                  </a:cxn>
                  <a:cxn ang="0">
                    <a:pos x="0" y="5"/>
                  </a:cxn>
                  <a:cxn ang="0">
                    <a:pos x="4" y="8"/>
                  </a:cxn>
                  <a:cxn ang="0">
                    <a:pos x="5" y="12"/>
                  </a:cxn>
                  <a:cxn ang="0">
                    <a:pos x="7" y="7"/>
                  </a:cxn>
                  <a:cxn ang="0">
                    <a:pos x="7" y="4"/>
                  </a:cxn>
                  <a:cxn ang="0">
                    <a:pos x="8" y="2"/>
                  </a:cxn>
                </a:cxnLst>
                <a:rect l="0" t="0" r="r" b="b"/>
                <a:pathLst>
                  <a:path w="10" h="12">
                    <a:moveTo>
                      <a:pt x="8" y="2"/>
                    </a:moveTo>
                    <a:cubicBezTo>
                      <a:pt x="10" y="0"/>
                      <a:pt x="8" y="0"/>
                      <a:pt x="8" y="2"/>
                    </a:cubicBezTo>
                    <a:cubicBezTo>
                      <a:pt x="7" y="2"/>
                      <a:pt x="4" y="5"/>
                      <a:pt x="0" y="5"/>
                    </a:cubicBezTo>
                    <a:cubicBezTo>
                      <a:pt x="4" y="7"/>
                      <a:pt x="2" y="10"/>
                      <a:pt x="4" y="8"/>
                    </a:cubicBezTo>
                    <a:cubicBezTo>
                      <a:pt x="5" y="8"/>
                      <a:pt x="4" y="12"/>
                      <a:pt x="5" y="12"/>
                    </a:cubicBezTo>
                    <a:cubicBezTo>
                      <a:pt x="7" y="12"/>
                      <a:pt x="8" y="7"/>
                      <a:pt x="7" y="7"/>
                    </a:cubicBezTo>
                    <a:cubicBezTo>
                      <a:pt x="7" y="7"/>
                      <a:pt x="7" y="5"/>
                      <a:pt x="7" y="4"/>
                    </a:cubicBezTo>
                    <a:cubicBezTo>
                      <a:pt x="7" y="4"/>
                      <a:pt x="8" y="4"/>
                      <a:pt x="8" y="2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21" name="Freeform 215"/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6430184" y="3653291"/>
                <a:ext cx="5848" cy="18714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3" y="5"/>
                  </a:cxn>
                  <a:cxn ang="0">
                    <a:pos x="2" y="6"/>
                  </a:cxn>
                  <a:cxn ang="0">
                    <a:pos x="0" y="1"/>
                  </a:cxn>
                </a:cxnLst>
                <a:rect l="0" t="0" r="r" b="b"/>
                <a:pathLst>
                  <a:path w="3" h="8">
                    <a:moveTo>
                      <a:pt x="0" y="1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3" y="3"/>
                      <a:pt x="2" y="1"/>
                      <a:pt x="3" y="5"/>
                    </a:cubicBezTo>
                    <a:cubicBezTo>
                      <a:pt x="3" y="8"/>
                      <a:pt x="3" y="6"/>
                      <a:pt x="2" y="6"/>
                    </a:cubicBezTo>
                    <a:cubicBezTo>
                      <a:pt x="0" y="6"/>
                      <a:pt x="0" y="5"/>
                      <a:pt x="0" y="1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22" name="Freeform 216"/>
              <p:cNvSpPr>
                <a:spLocks noEditPoints="1"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6882842" y="3792479"/>
                <a:ext cx="286566" cy="228079"/>
              </a:xfrm>
              <a:custGeom>
                <a:avLst/>
                <a:gdLst/>
                <a:ahLst/>
                <a:cxnLst>
                  <a:cxn ang="0">
                    <a:pos x="22" y="20"/>
                  </a:cxn>
                  <a:cxn ang="0">
                    <a:pos x="45" y="37"/>
                  </a:cxn>
                  <a:cxn ang="0">
                    <a:pos x="56" y="45"/>
                  </a:cxn>
                  <a:cxn ang="0">
                    <a:pos x="53" y="54"/>
                  </a:cxn>
                  <a:cxn ang="0">
                    <a:pos x="70" y="76"/>
                  </a:cxn>
                  <a:cxn ang="0">
                    <a:pos x="80" y="87"/>
                  </a:cxn>
                  <a:cxn ang="0">
                    <a:pos x="68" y="87"/>
                  </a:cxn>
                  <a:cxn ang="0">
                    <a:pos x="41" y="65"/>
                  </a:cxn>
                  <a:cxn ang="0">
                    <a:pos x="29" y="60"/>
                  </a:cxn>
                  <a:cxn ang="0">
                    <a:pos x="24" y="70"/>
                  </a:cxn>
                  <a:cxn ang="0">
                    <a:pos x="17" y="77"/>
                  </a:cxn>
                  <a:cxn ang="0">
                    <a:pos x="0" y="68"/>
                  </a:cxn>
                  <a:cxn ang="0">
                    <a:pos x="68" y="46"/>
                  </a:cxn>
                  <a:cxn ang="0">
                    <a:pos x="90" y="43"/>
                  </a:cxn>
                  <a:cxn ang="0">
                    <a:pos x="94" y="36"/>
                  </a:cxn>
                  <a:cxn ang="0">
                    <a:pos x="91" y="28"/>
                  </a:cxn>
                  <a:cxn ang="0">
                    <a:pos x="82" y="40"/>
                  </a:cxn>
                  <a:cxn ang="0">
                    <a:pos x="79" y="37"/>
                  </a:cxn>
                  <a:cxn ang="0">
                    <a:pos x="65" y="42"/>
                  </a:cxn>
                  <a:cxn ang="0">
                    <a:pos x="55" y="9"/>
                  </a:cxn>
                  <a:cxn ang="0">
                    <a:pos x="50" y="8"/>
                  </a:cxn>
                  <a:cxn ang="0">
                    <a:pos x="79" y="11"/>
                  </a:cxn>
                  <a:cxn ang="0">
                    <a:pos x="79" y="11"/>
                  </a:cxn>
                  <a:cxn ang="0">
                    <a:pos x="97" y="26"/>
                  </a:cxn>
                  <a:cxn ang="0">
                    <a:pos x="100" y="25"/>
                  </a:cxn>
                  <a:cxn ang="0">
                    <a:pos x="85" y="14"/>
                  </a:cxn>
                  <a:cxn ang="0">
                    <a:pos x="74" y="1"/>
                  </a:cxn>
                  <a:cxn ang="0">
                    <a:pos x="74" y="1"/>
                  </a:cxn>
                  <a:cxn ang="0">
                    <a:pos x="117" y="42"/>
                  </a:cxn>
                  <a:cxn ang="0">
                    <a:pos x="115" y="43"/>
                  </a:cxn>
                  <a:cxn ang="0">
                    <a:pos x="125" y="54"/>
                  </a:cxn>
                  <a:cxn ang="0">
                    <a:pos x="61" y="43"/>
                  </a:cxn>
                  <a:cxn ang="0">
                    <a:pos x="61" y="43"/>
                  </a:cxn>
                  <a:cxn ang="0">
                    <a:pos x="56" y="40"/>
                  </a:cxn>
                  <a:cxn ang="0">
                    <a:pos x="47" y="31"/>
                  </a:cxn>
                  <a:cxn ang="0">
                    <a:pos x="47" y="31"/>
                  </a:cxn>
                  <a:cxn ang="0">
                    <a:pos x="99" y="76"/>
                  </a:cxn>
                  <a:cxn ang="0">
                    <a:pos x="102" y="76"/>
                  </a:cxn>
                  <a:cxn ang="0">
                    <a:pos x="108" y="101"/>
                  </a:cxn>
                  <a:cxn ang="0">
                    <a:pos x="79" y="79"/>
                  </a:cxn>
                  <a:cxn ang="0">
                    <a:pos x="79" y="79"/>
                  </a:cxn>
                  <a:cxn ang="0">
                    <a:pos x="85" y="81"/>
                  </a:cxn>
                  <a:cxn ang="0">
                    <a:pos x="82" y="82"/>
                  </a:cxn>
                  <a:cxn ang="0">
                    <a:pos x="88" y="87"/>
                  </a:cxn>
                  <a:cxn ang="0">
                    <a:pos x="85" y="84"/>
                  </a:cxn>
                </a:cxnLst>
                <a:rect l="0" t="0" r="r" b="b"/>
                <a:pathLst>
                  <a:path w="126" h="101">
                    <a:moveTo>
                      <a:pt x="0" y="11"/>
                    </a:moveTo>
                    <a:cubicBezTo>
                      <a:pt x="6" y="9"/>
                      <a:pt x="17" y="18"/>
                      <a:pt x="22" y="20"/>
                    </a:cubicBezTo>
                    <a:cubicBezTo>
                      <a:pt x="29" y="21"/>
                      <a:pt x="29" y="25"/>
                      <a:pt x="32" y="25"/>
                    </a:cubicBezTo>
                    <a:cubicBezTo>
                      <a:pt x="35" y="25"/>
                      <a:pt x="45" y="34"/>
                      <a:pt x="45" y="37"/>
                    </a:cubicBezTo>
                    <a:cubicBezTo>
                      <a:pt x="44" y="40"/>
                      <a:pt x="42" y="40"/>
                      <a:pt x="48" y="42"/>
                    </a:cubicBezTo>
                    <a:cubicBezTo>
                      <a:pt x="53" y="43"/>
                      <a:pt x="52" y="46"/>
                      <a:pt x="56" y="45"/>
                    </a:cubicBezTo>
                    <a:cubicBezTo>
                      <a:pt x="59" y="45"/>
                      <a:pt x="62" y="51"/>
                      <a:pt x="61" y="53"/>
                    </a:cubicBezTo>
                    <a:cubicBezTo>
                      <a:pt x="59" y="54"/>
                      <a:pt x="56" y="53"/>
                      <a:pt x="53" y="54"/>
                    </a:cubicBezTo>
                    <a:cubicBezTo>
                      <a:pt x="52" y="54"/>
                      <a:pt x="59" y="64"/>
                      <a:pt x="62" y="65"/>
                    </a:cubicBezTo>
                    <a:cubicBezTo>
                      <a:pt x="65" y="67"/>
                      <a:pt x="64" y="77"/>
                      <a:pt x="70" y="76"/>
                    </a:cubicBezTo>
                    <a:cubicBezTo>
                      <a:pt x="77" y="73"/>
                      <a:pt x="67" y="81"/>
                      <a:pt x="74" y="81"/>
                    </a:cubicBezTo>
                    <a:cubicBezTo>
                      <a:pt x="82" y="81"/>
                      <a:pt x="70" y="84"/>
                      <a:pt x="80" y="87"/>
                    </a:cubicBezTo>
                    <a:cubicBezTo>
                      <a:pt x="87" y="88"/>
                      <a:pt x="84" y="91"/>
                      <a:pt x="80" y="91"/>
                    </a:cubicBezTo>
                    <a:cubicBezTo>
                      <a:pt x="76" y="91"/>
                      <a:pt x="79" y="90"/>
                      <a:pt x="68" y="87"/>
                    </a:cubicBezTo>
                    <a:cubicBezTo>
                      <a:pt x="58" y="85"/>
                      <a:pt x="59" y="85"/>
                      <a:pt x="53" y="77"/>
                    </a:cubicBezTo>
                    <a:cubicBezTo>
                      <a:pt x="47" y="70"/>
                      <a:pt x="48" y="65"/>
                      <a:pt x="41" y="65"/>
                    </a:cubicBezTo>
                    <a:cubicBezTo>
                      <a:pt x="35" y="64"/>
                      <a:pt x="39" y="60"/>
                      <a:pt x="33" y="64"/>
                    </a:cubicBezTo>
                    <a:cubicBezTo>
                      <a:pt x="30" y="64"/>
                      <a:pt x="30" y="64"/>
                      <a:pt x="29" y="60"/>
                    </a:cubicBezTo>
                    <a:cubicBezTo>
                      <a:pt x="30" y="68"/>
                      <a:pt x="27" y="64"/>
                      <a:pt x="27" y="67"/>
                    </a:cubicBezTo>
                    <a:cubicBezTo>
                      <a:pt x="27" y="70"/>
                      <a:pt x="20" y="68"/>
                      <a:pt x="24" y="70"/>
                    </a:cubicBezTo>
                    <a:cubicBezTo>
                      <a:pt x="26" y="71"/>
                      <a:pt x="27" y="76"/>
                      <a:pt x="24" y="76"/>
                    </a:cubicBezTo>
                    <a:cubicBezTo>
                      <a:pt x="22" y="76"/>
                      <a:pt x="21" y="81"/>
                      <a:pt x="17" y="77"/>
                    </a:cubicBezTo>
                    <a:cubicBezTo>
                      <a:pt x="13" y="76"/>
                      <a:pt x="7" y="79"/>
                      <a:pt x="6" y="77"/>
                    </a:cubicBezTo>
                    <a:cubicBezTo>
                      <a:pt x="4" y="74"/>
                      <a:pt x="4" y="71"/>
                      <a:pt x="0" y="68"/>
                    </a:cubicBezTo>
                    <a:cubicBezTo>
                      <a:pt x="0" y="11"/>
                      <a:pt x="0" y="11"/>
                      <a:pt x="0" y="11"/>
                    </a:cubicBezTo>
                    <a:close/>
                    <a:moveTo>
                      <a:pt x="68" y="46"/>
                    </a:moveTo>
                    <a:cubicBezTo>
                      <a:pt x="73" y="49"/>
                      <a:pt x="71" y="45"/>
                      <a:pt x="74" y="48"/>
                    </a:cubicBezTo>
                    <a:cubicBezTo>
                      <a:pt x="77" y="51"/>
                      <a:pt x="88" y="46"/>
                      <a:pt x="90" y="43"/>
                    </a:cubicBezTo>
                    <a:cubicBezTo>
                      <a:pt x="91" y="40"/>
                      <a:pt x="91" y="43"/>
                      <a:pt x="94" y="42"/>
                    </a:cubicBezTo>
                    <a:cubicBezTo>
                      <a:pt x="97" y="39"/>
                      <a:pt x="93" y="36"/>
                      <a:pt x="94" y="36"/>
                    </a:cubicBezTo>
                    <a:cubicBezTo>
                      <a:pt x="97" y="36"/>
                      <a:pt x="99" y="31"/>
                      <a:pt x="97" y="29"/>
                    </a:cubicBezTo>
                    <a:cubicBezTo>
                      <a:pt x="96" y="28"/>
                      <a:pt x="94" y="28"/>
                      <a:pt x="91" y="28"/>
                    </a:cubicBezTo>
                    <a:cubicBezTo>
                      <a:pt x="88" y="28"/>
                      <a:pt x="94" y="37"/>
                      <a:pt x="90" y="36"/>
                    </a:cubicBezTo>
                    <a:cubicBezTo>
                      <a:pt x="87" y="34"/>
                      <a:pt x="87" y="43"/>
                      <a:pt x="82" y="40"/>
                    </a:cubicBezTo>
                    <a:cubicBezTo>
                      <a:pt x="80" y="39"/>
                      <a:pt x="80" y="43"/>
                      <a:pt x="79" y="40"/>
                    </a:cubicBezTo>
                    <a:cubicBezTo>
                      <a:pt x="77" y="37"/>
                      <a:pt x="80" y="37"/>
                      <a:pt x="79" y="37"/>
                    </a:cubicBezTo>
                    <a:cubicBezTo>
                      <a:pt x="79" y="36"/>
                      <a:pt x="77" y="36"/>
                      <a:pt x="77" y="40"/>
                    </a:cubicBezTo>
                    <a:cubicBezTo>
                      <a:pt x="77" y="43"/>
                      <a:pt x="65" y="39"/>
                      <a:pt x="65" y="42"/>
                    </a:cubicBezTo>
                    <a:cubicBezTo>
                      <a:pt x="65" y="45"/>
                      <a:pt x="67" y="43"/>
                      <a:pt x="68" y="46"/>
                    </a:cubicBezTo>
                    <a:close/>
                    <a:moveTo>
                      <a:pt x="55" y="9"/>
                    </a:moveTo>
                    <a:cubicBezTo>
                      <a:pt x="58" y="9"/>
                      <a:pt x="58" y="8"/>
                      <a:pt x="56" y="6"/>
                    </a:cubicBezTo>
                    <a:cubicBezTo>
                      <a:pt x="55" y="6"/>
                      <a:pt x="50" y="6"/>
                      <a:pt x="50" y="8"/>
                    </a:cubicBezTo>
                    <a:cubicBezTo>
                      <a:pt x="50" y="11"/>
                      <a:pt x="52" y="9"/>
                      <a:pt x="55" y="9"/>
                    </a:cubicBezTo>
                    <a:close/>
                    <a:moveTo>
                      <a:pt x="79" y="11"/>
                    </a:moveTo>
                    <a:cubicBezTo>
                      <a:pt x="79" y="9"/>
                      <a:pt x="84" y="12"/>
                      <a:pt x="82" y="12"/>
                    </a:cubicBezTo>
                    <a:cubicBezTo>
                      <a:pt x="80" y="14"/>
                      <a:pt x="77" y="12"/>
                      <a:pt x="79" y="11"/>
                    </a:cubicBezTo>
                    <a:close/>
                    <a:moveTo>
                      <a:pt x="91" y="18"/>
                    </a:moveTo>
                    <a:cubicBezTo>
                      <a:pt x="91" y="20"/>
                      <a:pt x="96" y="21"/>
                      <a:pt x="97" y="26"/>
                    </a:cubicBezTo>
                    <a:cubicBezTo>
                      <a:pt x="100" y="29"/>
                      <a:pt x="99" y="29"/>
                      <a:pt x="100" y="34"/>
                    </a:cubicBezTo>
                    <a:cubicBezTo>
                      <a:pt x="102" y="37"/>
                      <a:pt x="105" y="28"/>
                      <a:pt x="100" y="25"/>
                    </a:cubicBezTo>
                    <a:cubicBezTo>
                      <a:pt x="96" y="23"/>
                      <a:pt x="96" y="20"/>
                      <a:pt x="93" y="18"/>
                    </a:cubicBezTo>
                    <a:cubicBezTo>
                      <a:pt x="87" y="15"/>
                      <a:pt x="85" y="11"/>
                      <a:pt x="85" y="14"/>
                    </a:cubicBezTo>
                    <a:cubicBezTo>
                      <a:pt x="80" y="15"/>
                      <a:pt x="87" y="14"/>
                      <a:pt x="91" y="18"/>
                    </a:cubicBezTo>
                    <a:close/>
                    <a:moveTo>
                      <a:pt x="74" y="1"/>
                    </a:moveTo>
                    <a:cubicBezTo>
                      <a:pt x="76" y="0"/>
                      <a:pt x="77" y="3"/>
                      <a:pt x="76" y="3"/>
                    </a:cubicBezTo>
                    <a:cubicBezTo>
                      <a:pt x="74" y="3"/>
                      <a:pt x="74" y="3"/>
                      <a:pt x="74" y="1"/>
                    </a:cubicBezTo>
                    <a:close/>
                    <a:moveTo>
                      <a:pt x="123" y="48"/>
                    </a:moveTo>
                    <a:cubicBezTo>
                      <a:pt x="120" y="46"/>
                      <a:pt x="120" y="42"/>
                      <a:pt x="117" y="42"/>
                    </a:cubicBezTo>
                    <a:cubicBezTo>
                      <a:pt x="115" y="40"/>
                      <a:pt x="115" y="34"/>
                      <a:pt x="114" y="37"/>
                    </a:cubicBezTo>
                    <a:cubicBezTo>
                      <a:pt x="112" y="39"/>
                      <a:pt x="115" y="39"/>
                      <a:pt x="115" y="43"/>
                    </a:cubicBezTo>
                    <a:cubicBezTo>
                      <a:pt x="114" y="46"/>
                      <a:pt x="119" y="48"/>
                      <a:pt x="120" y="51"/>
                    </a:cubicBezTo>
                    <a:cubicBezTo>
                      <a:pt x="120" y="54"/>
                      <a:pt x="122" y="54"/>
                      <a:pt x="125" y="54"/>
                    </a:cubicBezTo>
                    <a:cubicBezTo>
                      <a:pt x="126" y="53"/>
                      <a:pt x="125" y="48"/>
                      <a:pt x="123" y="48"/>
                    </a:cubicBezTo>
                    <a:close/>
                    <a:moveTo>
                      <a:pt x="61" y="43"/>
                    </a:moveTo>
                    <a:cubicBezTo>
                      <a:pt x="59" y="42"/>
                      <a:pt x="61" y="39"/>
                      <a:pt x="62" y="42"/>
                    </a:cubicBezTo>
                    <a:cubicBezTo>
                      <a:pt x="64" y="43"/>
                      <a:pt x="62" y="45"/>
                      <a:pt x="61" y="43"/>
                    </a:cubicBezTo>
                    <a:close/>
                    <a:moveTo>
                      <a:pt x="55" y="39"/>
                    </a:moveTo>
                    <a:cubicBezTo>
                      <a:pt x="55" y="37"/>
                      <a:pt x="58" y="40"/>
                      <a:pt x="56" y="40"/>
                    </a:cubicBezTo>
                    <a:cubicBezTo>
                      <a:pt x="56" y="42"/>
                      <a:pt x="53" y="40"/>
                      <a:pt x="55" y="39"/>
                    </a:cubicBezTo>
                    <a:close/>
                    <a:moveTo>
                      <a:pt x="47" y="31"/>
                    </a:moveTo>
                    <a:cubicBezTo>
                      <a:pt x="48" y="32"/>
                      <a:pt x="47" y="36"/>
                      <a:pt x="45" y="34"/>
                    </a:cubicBezTo>
                    <a:cubicBezTo>
                      <a:pt x="44" y="32"/>
                      <a:pt x="45" y="31"/>
                      <a:pt x="47" y="31"/>
                    </a:cubicBezTo>
                    <a:close/>
                    <a:moveTo>
                      <a:pt x="102" y="76"/>
                    </a:moveTo>
                    <a:cubicBezTo>
                      <a:pt x="100" y="74"/>
                      <a:pt x="97" y="74"/>
                      <a:pt x="99" y="76"/>
                    </a:cubicBezTo>
                    <a:cubicBezTo>
                      <a:pt x="100" y="76"/>
                      <a:pt x="99" y="77"/>
                      <a:pt x="100" y="77"/>
                    </a:cubicBezTo>
                    <a:cubicBezTo>
                      <a:pt x="102" y="77"/>
                      <a:pt x="103" y="77"/>
                      <a:pt x="102" y="76"/>
                    </a:cubicBezTo>
                    <a:close/>
                    <a:moveTo>
                      <a:pt x="103" y="99"/>
                    </a:moveTo>
                    <a:cubicBezTo>
                      <a:pt x="102" y="96"/>
                      <a:pt x="106" y="99"/>
                      <a:pt x="108" y="101"/>
                    </a:cubicBezTo>
                    <a:cubicBezTo>
                      <a:pt x="103" y="99"/>
                      <a:pt x="103" y="99"/>
                      <a:pt x="103" y="99"/>
                    </a:cubicBezTo>
                    <a:close/>
                    <a:moveTo>
                      <a:pt x="79" y="79"/>
                    </a:moveTo>
                    <a:cubicBezTo>
                      <a:pt x="77" y="77"/>
                      <a:pt x="79" y="76"/>
                      <a:pt x="80" y="77"/>
                    </a:cubicBezTo>
                    <a:cubicBezTo>
                      <a:pt x="82" y="79"/>
                      <a:pt x="80" y="82"/>
                      <a:pt x="79" y="79"/>
                    </a:cubicBezTo>
                    <a:close/>
                    <a:moveTo>
                      <a:pt x="82" y="82"/>
                    </a:moveTo>
                    <a:cubicBezTo>
                      <a:pt x="84" y="82"/>
                      <a:pt x="85" y="82"/>
                      <a:pt x="85" y="81"/>
                    </a:cubicBezTo>
                    <a:cubicBezTo>
                      <a:pt x="85" y="79"/>
                      <a:pt x="82" y="77"/>
                      <a:pt x="82" y="79"/>
                    </a:cubicBezTo>
                    <a:cubicBezTo>
                      <a:pt x="82" y="81"/>
                      <a:pt x="80" y="82"/>
                      <a:pt x="82" y="82"/>
                    </a:cubicBezTo>
                    <a:close/>
                    <a:moveTo>
                      <a:pt x="85" y="84"/>
                    </a:moveTo>
                    <a:cubicBezTo>
                      <a:pt x="85" y="85"/>
                      <a:pt x="87" y="88"/>
                      <a:pt x="88" y="87"/>
                    </a:cubicBezTo>
                    <a:cubicBezTo>
                      <a:pt x="88" y="84"/>
                      <a:pt x="88" y="84"/>
                      <a:pt x="88" y="84"/>
                    </a:cubicBezTo>
                    <a:cubicBezTo>
                      <a:pt x="87" y="85"/>
                      <a:pt x="85" y="82"/>
                      <a:pt x="85" y="84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23" name="Freeform 217"/>
              <p:cNvSpPr>
                <a:spLocks noEditPoints="1"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7162390" y="3907103"/>
                <a:ext cx="120475" cy="120472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2" y="5"/>
                  </a:cxn>
                  <a:cxn ang="0">
                    <a:pos x="14" y="8"/>
                  </a:cxn>
                  <a:cxn ang="0">
                    <a:pos x="9" y="5"/>
                  </a:cxn>
                  <a:cxn ang="0">
                    <a:pos x="6" y="2"/>
                  </a:cxn>
                  <a:cxn ang="0">
                    <a:pos x="6" y="0"/>
                  </a:cxn>
                  <a:cxn ang="0">
                    <a:pos x="23" y="13"/>
                  </a:cxn>
                  <a:cxn ang="0">
                    <a:pos x="32" y="19"/>
                  </a:cxn>
                  <a:cxn ang="0">
                    <a:pos x="29" y="14"/>
                  </a:cxn>
                  <a:cxn ang="0">
                    <a:pos x="24" y="11"/>
                  </a:cxn>
                  <a:cxn ang="0">
                    <a:pos x="23" y="13"/>
                  </a:cxn>
                  <a:cxn ang="0">
                    <a:pos x="42" y="28"/>
                  </a:cxn>
                  <a:cxn ang="0">
                    <a:pos x="44" y="28"/>
                  </a:cxn>
                  <a:cxn ang="0">
                    <a:pos x="42" y="23"/>
                  </a:cxn>
                  <a:cxn ang="0">
                    <a:pos x="39" y="17"/>
                  </a:cxn>
                  <a:cxn ang="0">
                    <a:pos x="39" y="25"/>
                  </a:cxn>
                  <a:cxn ang="0">
                    <a:pos x="42" y="28"/>
                  </a:cxn>
                  <a:cxn ang="0">
                    <a:pos x="35" y="33"/>
                  </a:cxn>
                  <a:cxn ang="0">
                    <a:pos x="39" y="33"/>
                  </a:cxn>
                  <a:cxn ang="0">
                    <a:pos x="38" y="28"/>
                  </a:cxn>
                  <a:cxn ang="0">
                    <a:pos x="33" y="28"/>
                  </a:cxn>
                  <a:cxn ang="0">
                    <a:pos x="30" y="30"/>
                  </a:cxn>
                  <a:cxn ang="0">
                    <a:pos x="35" y="33"/>
                  </a:cxn>
                  <a:cxn ang="0">
                    <a:pos x="46" y="39"/>
                  </a:cxn>
                  <a:cxn ang="0">
                    <a:pos x="52" y="42"/>
                  </a:cxn>
                  <a:cxn ang="0">
                    <a:pos x="50" y="39"/>
                  </a:cxn>
                  <a:cxn ang="0">
                    <a:pos x="44" y="36"/>
                  </a:cxn>
                  <a:cxn ang="0">
                    <a:pos x="46" y="39"/>
                  </a:cxn>
                  <a:cxn ang="0">
                    <a:pos x="33" y="48"/>
                  </a:cxn>
                  <a:cxn ang="0">
                    <a:pos x="39" y="51"/>
                  </a:cxn>
                  <a:cxn ang="0">
                    <a:pos x="33" y="48"/>
                  </a:cxn>
                  <a:cxn ang="0">
                    <a:pos x="17" y="17"/>
                  </a:cxn>
                  <a:cxn ang="0">
                    <a:pos x="15" y="14"/>
                  </a:cxn>
                  <a:cxn ang="0">
                    <a:pos x="14" y="17"/>
                  </a:cxn>
                  <a:cxn ang="0">
                    <a:pos x="17" y="20"/>
                  </a:cxn>
                  <a:cxn ang="0">
                    <a:pos x="17" y="17"/>
                  </a:cxn>
                  <a:cxn ang="0">
                    <a:pos x="11" y="13"/>
                  </a:cxn>
                  <a:cxn ang="0">
                    <a:pos x="12" y="16"/>
                  </a:cxn>
                  <a:cxn ang="0">
                    <a:pos x="11" y="13"/>
                  </a:cxn>
                  <a:cxn ang="0">
                    <a:pos x="6" y="11"/>
                  </a:cxn>
                  <a:cxn ang="0">
                    <a:pos x="9" y="13"/>
                  </a:cxn>
                  <a:cxn ang="0">
                    <a:pos x="6" y="11"/>
                  </a:cxn>
                  <a:cxn ang="0">
                    <a:pos x="20" y="22"/>
                  </a:cxn>
                  <a:cxn ang="0">
                    <a:pos x="18" y="20"/>
                  </a:cxn>
                  <a:cxn ang="0">
                    <a:pos x="20" y="22"/>
                  </a:cxn>
                  <a:cxn ang="0">
                    <a:pos x="0" y="5"/>
                  </a:cxn>
                  <a:cxn ang="0">
                    <a:pos x="2" y="5"/>
                  </a:cxn>
                  <a:cxn ang="0">
                    <a:pos x="0" y="5"/>
                  </a:cxn>
                </a:cxnLst>
                <a:rect l="0" t="0" r="r" b="b"/>
                <a:pathLst>
                  <a:path w="53" h="53">
                    <a:moveTo>
                      <a:pt x="6" y="0"/>
                    </a:moveTo>
                    <a:cubicBezTo>
                      <a:pt x="11" y="3"/>
                      <a:pt x="11" y="3"/>
                      <a:pt x="12" y="5"/>
                    </a:cubicBezTo>
                    <a:cubicBezTo>
                      <a:pt x="12" y="8"/>
                      <a:pt x="17" y="8"/>
                      <a:pt x="14" y="8"/>
                    </a:cubicBezTo>
                    <a:cubicBezTo>
                      <a:pt x="12" y="10"/>
                      <a:pt x="9" y="7"/>
                      <a:pt x="9" y="5"/>
                    </a:cubicBezTo>
                    <a:cubicBezTo>
                      <a:pt x="8" y="3"/>
                      <a:pt x="6" y="3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close/>
                    <a:moveTo>
                      <a:pt x="23" y="13"/>
                    </a:moveTo>
                    <a:cubicBezTo>
                      <a:pt x="23" y="14"/>
                      <a:pt x="30" y="17"/>
                      <a:pt x="32" y="19"/>
                    </a:cubicBezTo>
                    <a:cubicBezTo>
                      <a:pt x="35" y="22"/>
                      <a:pt x="32" y="16"/>
                      <a:pt x="29" y="14"/>
                    </a:cubicBezTo>
                    <a:cubicBezTo>
                      <a:pt x="26" y="13"/>
                      <a:pt x="27" y="11"/>
                      <a:pt x="24" y="11"/>
                    </a:cubicBezTo>
                    <a:cubicBezTo>
                      <a:pt x="23" y="10"/>
                      <a:pt x="23" y="10"/>
                      <a:pt x="23" y="13"/>
                    </a:cubicBezTo>
                    <a:close/>
                    <a:moveTo>
                      <a:pt x="42" y="28"/>
                    </a:moveTo>
                    <a:cubicBezTo>
                      <a:pt x="44" y="31"/>
                      <a:pt x="47" y="31"/>
                      <a:pt x="44" y="28"/>
                    </a:cubicBezTo>
                    <a:cubicBezTo>
                      <a:pt x="44" y="27"/>
                      <a:pt x="46" y="27"/>
                      <a:pt x="42" y="23"/>
                    </a:cubicBezTo>
                    <a:cubicBezTo>
                      <a:pt x="41" y="22"/>
                      <a:pt x="42" y="19"/>
                      <a:pt x="39" y="17"/>
                    </a:cubicBezTo>
                    <a:cubicBezTo>
                      <a:pt x="36" y="17"/>
                      <a:pt x="39" y="19"/>
                      <a:pt x="39" y="25"/>
                    </a:cubicBezTo>
                    <a:cubicBezTo>
                      <a:pt x="41" y="27"/>
                      <a:pt x="41" y="27"/>
                      <a:pt x="42" y="28"/>
                    </a:cubicBezTo>
                    <a:close/>
                    <a:moveTo>
                      <a:pt x="35" y="33"/>
                    </a:moveTo>
                    <a:cubicBezTo>
                      <a:pt x="38" y="31"/>
                      <a:pt x="36" y="33"/>
                      <a:pt x="39" y="33"/>
                    </a:cubicBezTo>
                    <a:cubicBezTo>
                      <a:pt x="42" y="34"/>
                      <a:pt x="39" y="31"/>
                      <a:pt x="38" y="28"/>
                    </a:cubicBezTo>
                    <a:cubicBezTo>
                      <a:pt x="36" y="27"/>
                      <a:pt x="35" y="30"/>
                      <a:pt x="33" y="28"/>
                    </a:cubicBezTo>
                    <a:cubicBezTo>
                      <a:pt x="32" y="27"/>
                      <a:pt x="30" y="27"/>
                      <a:pt x="30" y="30"/>
                    </a:cubicBezTo>
                    <a:cubicBezTo>
                      <a:pt x="30" y="31"/>
                      <a:pt x="33" y="33"/>
                      <a:pt x="35" y="33"/>
                    </a:cubicBezTo>
                    <a:close/>
                    <a:moveTo>
                      <a:pt x="46" y="39"/>
                    </a:moveTo>
                    <a:cubicBezTo>
                      <a:pt x="46" y="40"/>
                      <a:pt x="50" y="42"/>
                      <a:pt x="52" y="42"/>
                    </a:cubicBezTo>
                    <a:cubicBezTo>
                      <a:pt x="53" y="42"/>
                      <a:pt x="52" y="39"/>
                      <a:pt x="50" y="39"/>
                    </a:cubicBezTo>
                    <a:cubicBezTo>
                      <a:pt x="49" y="39"/>
                      <a:pt x="46" y="36"/>
                      <a:pt x="44" y="36"/>
                    </a:cubicBezTo>
                    <a:cubicBezTo>
                      <a:pt x="42" y="37"/>
                      <a:pt x="46" y="37"/>
                      <a:pt x="46" y="39"/>
                    </a:cubicBezTo>
                    <a:close/>
                    <a:moveTo>
                      <a:pt x="33" y="48"/>
                    </a:moveTo>
                    <a:cubicBezTo>
                      <a:pt x="35" y="47"/>
                      <a:pt x="39" y="51"/>
                      <a:pt x="39" y="51"/>
                    </a:cubicBezTo>
                    <a:cubicBezTo>
                      <a:pt x="38" y="53"/>
                      <a:pt x="33" y="50"/>
                      <a:pt x="33" y="48"/>
                    </a:cubicBezTo>
                    <a:close/>
                    <a:moveTo>
                      <a:pt x="17" y="17"/>
                    </a:moveTo>
                    <a:cubicBezTo>
                      <a:pt x="15" y="16"/>
                      <a:pt x="17" y="14"/>
                      <a:pt x="15" y="14"/>
                    </a:cubicBezTo>
                    <a:cubicBezTo>
                      <a:pt x="14" y="13"/>
                      <a:pt x="12" y="19"/>
                      <a:pt x="14" y="17"/>
                    </a:cubicBezTo>
                    <a:cubicBezTo>
                      <a:pt x="15" y="17"/>
                      <a:pt x="15" y="17"/>
                      <a:pt x="17" y="20"/>
                    </a:cubicBezTo>
                    <a:cubicBezTo>
                      <a:pt x="17" y="20"/>
                      <a:pt x="18" y="19"/>
                      <a:pt x="17" y="17"/>
                    </a:cubicBezTo>
                    <a:close/>
                    <a:moveTo>
                      <a:pt x="11" y="13"/>
                    </a:moveTo>
                    <a:cubicBezTo>
                      <a:pt x="11" y="11"/>
                      <a:pt x="12" y="14"/>
                      <a:pt x="12" y="16"/>
                    </a:cubicBezTo>
                    <a:cubicBezTo>
                      <a:pt x="11" y="17"/>
                      <a:pt x="9" y="14"/>
                      <a:pt x="11" y="13"/>
                    </a:cubicBezTo>
                    <a:close/>
                    <a:moveTo>
                      <a:pt x="6" y="11"/>
                    </a:moveTo>
                    <a:cubicBezTo>
                      <a:pt x="6" y="10"/>
                      <a:pt x="11" y="11"/>
                      <a:pt x="9" y="13"/>
                    </a:cubicBezTo>
                    <a:cubicBezTo>
                      <a:pt x="8" y="14"/>
                      <a:pt x="6" y="11"/>
                      <a:pt x="6" y="11"/>
                    </a:cubicBezTo>
                    <a:close/>
                    <a:moveTo>
                      <a:pt x="20" y="22"/>
                    </a:moveTo>
                    <a:cubicBezTo>
                      <a:pt x="18" y="22"/>
                      <a:pt x="17" y="22"/>
                      <a:pt x="18" y="20"/>
                    </a:cubicBezTo>
                    <a:cubicBezTo>
                      <a:pt x="18" y="19"/>
                      <a:pt x="20" y="20"/>
                      <a:pt x="20" y="22"/>
                    </a:cubicBezTo>
                    <a:close/>
                    <a:moveTo>
                      <a:pt x="0" y="5"/>
                    </a:moveTo>
                    <a:cubicBezTo>
                      <a:pt x="0" y="3"/>
                      <a:pt x="2" y="5"/>
                      <a:pt x="2" y="5"/>
                    </a:cubicBezTo>
                    <a:cubicBezTo>
                      <a:pt x="2" y="7"/>
                      <a:pt x="0" y="7"/>
                      <a:pt x="0" y="5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24" name="Freeform 218"/>
              <p:cNvSpPr>
                <a:spLocks noEditPoints="1"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7355384" y="4087227"/>
                <a:ext cx="56144" cy="118134"/>
              </a:xfrm>
              <a:custGeom>
                <a:avLst/>
                <a:gdLst/>
                <a:ahLst/>
                <a:cxnLst>
                  <a:cxn ang="0">
                    <a:pos x="5" y="11"/>
                  </a:cxn>
                  <a:cxn ang="0">
                    <a:pos x="2" y="8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5" y="5"/>
                  </a:cxn>
                  <a:cxn ang="0">
                    <a:pos x="5" y="11"/>
                  </a:cxn>
                  <a:cxn ang="0">
                    <a:pos x="8" y="16"/>
                  </a:cxn>
                  <a:cxn ang="0">
                    <a:pos x="11" y="19"/>
                  </a:cxn>
                  <a:cxn ang="0">
                    <a:pos x="6" y="14"/>
                  </a:cxn>
                  <a:cxn ang="0">
                    <a:pos x="8" y="16"/>
                  </a:cxn>
                  <a:cxn ang="0">
                    <a:pos x="14" y="30"/>
                  </a:cxn>
                  <a:cxn ang="0">
                    <a:pos x="17" y="33"/>
                  </a:cxn>
                  <a:cxn ang="0">
                    <a:pos x="14" y="30"/>
                  </a:cxn>
                  <a:cxn ang="0">
                    <a:pos x="15" y="22"/>
                  </a:cxn>
                  <a:cxn ang="0">
                    <a:pos x="14" y="21"/>
                  </a:cxn>
                  <a:cxn ang="0">
                    <a:pos x="15" y="22"/>
                  </a:cxn>
                  <a:cxn ang="0">
                    <a:pos x="12" y="18"/>
                  </a:cxn>
                  <a:cxn ang="0">
                    <a:pos x="14" y="16"/>
                  </a:cxn>
                  <a:cxn ang="0">
                    <a:pos x="12" y="18"/>
                  </a:cxn>
                  <a:cxn ang="0">
                    <a:pos x="11" y="10"/>
                  </a:cxn>
                  <a:cxn ang="0">
                    <a:pos x="12" y="7"/>
                  </a:cxn>
                  <a:cxn ang="0">
                    <a:pos x="11" y="10"/>
                  </a:cxn>
                  <a:cxn ang="0">
                    <a:pos x="20" y="41"/>
                  </a:cxn>
                  <a:cxn ang="0">
                    <a:pos x="23" y="44"/>
                  </a:cxn>
                  <a:cxn ang="0">
                    <a:pos x="20" y="41"/>
                  </a:cxn>
                  <a:cxn ang="0">
                    <a:pos x="23" y="49"/>
                  </a:cxn>
                  <a:cxn ang="0">
                    <a:pos x="25" y="52"/>
                  </a:cxn>
                  <a:cxn ang="0">
                    <a:pos x="23" y="49"/>
                  </a:cxn>
                </a:cxnLst>
                <a:rect l="0" t="0" r="r" b="b"/>
                <a:pathLst>
                  <a:path w="25" h="52">
                    <a:moveTo>
                      <a:pt x="5" y="11"/>
                    </a:moveTo>
                    <a:cubicBezTo>
                      <a:pt x="2" y="11"/>
                      <a:pt x="3" y="11"/>
                      <a:pt x="2" y="8"/>
                    </a:cubicBezTo>
                    <a:cubicBezTo>
                      <a:pt x="0" y="7"/>
                      <a:pt x="2" y="7"/>
                      <a:pt x="2" y="3"/>
                    </a:cubicBezTo>
                    <a:cubicBezTo>
                      <a:pt x="0" y="0"/>
                      <a:pt x="2" y="0"/>
                      <a:pt x="3" y="3"/>
                    </a:cubicBezTo>
                    <a:cubicBezTo>
                      <a:pt x="3" y="8"/>
                      <a:pt x="5" y="2"/>
                      <a:pt x="5" y="5"/>
                    </a:cubicBezTo>
                    <a:cubicBezTo>
                      <a:pt x="6" y="8"/>
                      <a:pt x="8" y="10"/>
                      <a:pt x="5" y="11"/>
                    </a:cubicBezTo>
                    <a:close/>
                    <a:moveTo>
                      <a:pt x="8" y="16"/>
                    </a:moveTo>
                    <a:cubicBezTo>
                      <a:pt x="9" y="18"/>
                      <a:pt x="8" y="21"/>
                      <a:pt x="11" y="19"/>
                    </a:cubicBezTo>
                    <a:cubicBezTo>
                      <a:pt x="12" y="19"/>
                      <a:pt x="6" y="11"/>
                      <a:pt x="6" y="14"/>
                    </a:cubicBezTo>
                    <a:cubicBezTo>
                      <a:pt x="6" y="16"/>
                      <a:pt x="5" y="16"/>
                      <a:pt x="8" y="16"/>
                    </a:cubicBezTo>
                    <a:close/>
                    <a:moveTo>
                      <a:pt x="14" y="30"/>
                    </a:moveTo>
                    <a:cubicBezTo>
                      <a:pt x="15" y="28"/>
                      <a:pt x="18" y="33"/>
                      <a:pt x="17" y="33"/>
                    </a:cubicBezTo>
                    <a:cubicBezTo>
                      <a:pt x="15" y="33"/>
                      <a:pt x="14" y="32"/>
                      <a:pt x="14" y="30"/>
                    </a:cubicBezTo>
                    <a:close/>
                    <a:moveTo>
                      <a:pt x="15" y="22"/>
                    </a:moveTo>
                    <a:cubicBezTo>
                      <a:pt x="12" y="22"/>
                      <a:pt x="14" y="19"/>
                      <a:pt x="14" y="21"/>
                    </a:cubicBezTo>
                    <a:cubicBezTo>
                      <a:pt x="15" y="22"/>
                      <a:pt x="15" y="24"/>
                      <a:pt x="15" y="22"/>
                    </a:cubicBezTo>
                    <a:close/>
                    <a:moveTo>
                      <a:pt x="12" y="18"/>
                    </a:moveTo>
                    <a:cubicBezTo>
                      <a:pt x="11" y="16"/>
                      <a:pt x="14" y="14"/>
                      <a:pt x="14" y="16"/>
                    </a:cubicBezTo>
                    <a:cubicBezTo>
                      <a:pt x="15" y="19"/>
                      <a:pt x="12" y="19"/>
                      <a:pt x="12" y="18"/>
                    </a:cubicBezTo>
                    <a:close/>
                    <a:moveTo>
                      <a:pt x="11" y="10"/>
                    </a:moveTo>
                    <a:cubicBezTo>
                      <a:pt x="9" y="8"/>
                      <a:pt x="12" y="7"/>
                      <a:pt x="12" y="7"/>
                    </a:cubicBezTo>
                    <a:cubicBezTo>
                      <a:pt x="14" y="8"/>
                      <a:pt x="11" y="10"/>
                      <a:pt x="11" y="10"/>
                    </a:cubicBezTo>
                    <a:close/>
                    <a:moveTo>
                      <a:pt x="20" y="41"/>
                    </a:moveTo>
                    <a:cubicBezTo>
                      <a:pt x="21" y="39"/>
                      <a:pt x="25" y="44"/>
                      <a:pt x="23" y="44"/>
                    </a:cubicBezTo>
                    <a:cubicBezTo>
                      <a:pt x="21" y="46"/>
                      <a:pt x="20" y="43"/>
                      <a:pt x="20" y="41"/>
                    </a:cubicBezTo>
                    <a:close/>
                    <a:moveTo>
                      <a:pt x="23" y="49"/>
                    </a:moveTo>
                    <a:cubicBezTo>
                      <a:pt x="23" y="47"/>
                      <a:pt x="25" y="52"/>
                      <a:pt x="25" y="52"/>
                    </a:cubicBezTo>
                    <a:cubicBezTo>
                      <a:pt x="23" y="52"/>
                      <a:pt x="21" y="49"/>
                      <a:pt x="23" y="49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25" name="Freeform 219"/>
              <p:cNvSpPr>
                <a:spLocks noEditPoints="1"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7305089" y="4213549"/>
                <a:ext cx="86555" cy="52634"/>
              </a:xfrm>
              <a:custGeom>
                <a:avLst/>
                <a:gdLst/>
                <a:ahLst/>
                <a:cxnLst>
                  <a:cxn ang="0">
                    <a:pos x="34" y="14"/>
                  </a:cxn>
                  <a:cxn ang="0">
                    <a:pos x="36" y="13"/>
                  </a:cxn>
                  <a:cxn ang="0">
                    <a:pos x="34" y="14"/>
                  </a:cxn>
                  <a:cxn ang="0">
                    <a:pos x="30" y="6"/>
                  </a:cxn>
                  <a:cxn ang="0">
                    <a:pos x="27" y="6"/>
                  </a:cxn>
                  <a:cxn ang="0">
                    <a:pos x="28" y="10"/>
                  </a:cxn>
                  <a:cxn ang="0">
                    <a:pos x="30" y="6"/>
                  </a:cxn>
                  <a:cxn ang="0">
                    <a:pos x="16" y="14"/>
                  </a:cxn>
                  <a:cxn ang="0">
                    <a:pos x="13" y="11"/>
                  </a:cxn>
                  <a:cxn ang="0">
                    <a:pos x="4" y="2"/>
                  </a:cxn>
                  <a:cxn ang="0">
                    <a:pos x="4" y="3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6"/>
                  </a:cxn>
                  <a:cxn ang="0">
                    <a:pos x="4" y="8"/>
                  </a:cxn>
                  <a:cxn ang="0">
                    <a:pos x="7" y="10"/>
                  </a:cxn>
                  <a:cxn ang="0">
                    <a:pos x="7" y="11"/>
                  </a:cxn>
                  <a:cxn ang="0">
                    <a:pos x="8" y="13"/>
                  </a:cxn>
                  <a:cxn ang="0">
                    <a:pos x="8" y="13"/>
                  </a:cxn>
                  <a:cxn ang="0">
                    <a:pos x="10" y="14"/>
                  </a:cxn>
                  <a:cxn ang="0">
                    <a:pos x="11" y="14"/>
                  </a:cxn>
                  <a:cxn ang="0">
                    <a:pos x="16" y="19"/>
                  </a:cxn>
                  <a:cxn ang="0">
                    <a:pos x="21" y="22"/>
                  </a:cxn>
                  <a:cxn ang="0">
                    <a:pos x="21" y="23"/>
                  </a:cxn>
                  <a:cxn ang="0">
                    <a:pos x="18" y="16"/>
                  </a:cxn>
                  <a:cxn ang="0">
                    <a:pos x="16" y="14"/>
                  </a:cxn>
                </a:cxnLst>
                <a:rect l="0" t="0" r="r" b="b"/>
                <a:pathLst>
                  <a:path w="38" h="23">
                    <a:moveTo>
                      <a:pt x="34" y="14"/>
                    </a:moveTo>
                    <a:cubicBezTo>
                      <a:pt x="33" y="13"/>
                      <a:pt x="34" y="11"/>
                      <a:pt x="36" y="13"/>
                    </a:cubicBezTo>
                    <a:cubicBezTo>
                      <a:pt x="38" y="16"/>
                      <a:pt x="34" y="16"/>
                      <a:pt x="34" y="14"/>
                    </a:cubicBezTo>
                    <a:close/>
                    <a:moveTo>
                      <a:pt x="30" y="6"/>
                    </a:moveTo>
                    <a:cubicBezTo>
                      <a:pt x="28" y="5"/>
                      <a:pt x="27" y="5"/>
                      <a:pt x="27" y="6"/>
                    </a:cubicBezTo>
                    <a:cubicBezTo>
                      <a:pt x="28" y="6"/>
                      <a:pt x="25" y="8"/>
                      <a:pt x="28" y="10"/>
                    </a:cubicBezTo>
                    <a:cubicBezTo>
                      <a:pt x="31" y="11"/>
                      <a:pt x="31" y="8"/>
                      <a:pt x="30" y="6"/>
                    </a:cubicBezTo>
                    <a:close/>
                    <a:moveTo>
                      <a:pt x="16" y="14"/>
                    </a:moveTo>
                    <a:cubicBezTo>
                      <a:pt x="13" y="11"/>
                      <a:pt x="13" y="11"/>
                      <a:pt x="13" y="11"/>
                    </a:cubicBezTo>
                    <a:cubicBezTo>
                      <a:pt x="13" y="8"/>
                      <a:pt x="5" y="3"/>
                      <a:pt x="4" y="2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2" y="3"/>
                      <a:pt x="2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8" y="13"/>
                      <a:pt x="8" y="13"/>
                      <a:pt x="8" y="13"/>
                    </a:cubicBezTo>
                    <a:cubicBezTo>
                      <a:pt x="10" y="14"/>
                      <a:pt x="10" y="14"/>
                      <a:pt x="10" y="14"/>
                    </a:cubicBezTo>
                    <a:cubicBezTo>
                      <a:pt x="10" y="14"/>
                      <a:pt x="10" y="14"/>
                      <a:pt x="11" y="14"/>
                    </a:cubicBezTo>
                    <a:cubicBezTo>
                      <a:pt x="11" y="16"/>
                      <a:pt x="14" y="17"/>
                      <a:pt x="16" y="19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21" y="23"/>
                      <a:pt x="21" y="23"/>
                      <a:pt x="21" y="23"/>
                    </a:cubicBezTo>
                    <a:cubicBezTo>
                      <a:pt x="27" y="20"/>
                      <a:pt x="27" y="23"/>
                      <a:pt x="18" y="16"/>
                    </a:cubicBezTo>
                    <a:cubicBezTo>
                      <a:pt x="18" y="14"/>
                      <a:pt x="16" y="13"/>
                      <a:pt x="16" y="14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26" name="Freeform 220"/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6164671" y="3610015"/>
                <a:ext cx="74858" cy="129830"/>
              </a:xfrm>
              <a:custGeom>
                <a:avLst/>
                <a:gdLst/>
                <a:ahLst/>
                <a:cxnLst>
                  <a:cxn ang="0">
                    <a:pos x="15" y="7"/>
                  </a:cxn>
                  <a:cxn ang="0">
                    <a:pos x="18" y="8"/>
                  </a:cxn>
                  <a:cxn ang="0">
                    <a:pos x="26" y="19"/>
                  </a:cxn>
                  <a:cxn ang="0">
                    <a:pos x="26" y="27"/>
                  </a:cxn>
                  <a:cxn ang="0">
                    <a:pos x="26" y="32"/>
                  </a:cxn>
                  <a:cxn ang="0">
                    <a:pos x="27" y="41"/>
                  </a:cxn>
                  <a:cxn ang="0">
                    <a:pos x="32" y="49"/>
                  </a:cxn>
                  <a:cxn ang="0">
                    <a:pos x="32" y="54"/>
                  </a:cxn>
                  <a:cxn ang="0">
                    <a:pos x="30" y="52"/>
                  </a:cxn>
                  <a:cxn ang="0">
                    <a:pos x="29" y="54"/>
                  </a:cxn>
                  <a:cxn ang="0">
                    <a:pos x="26" y="54"/>
                  </a:cxn>
                  <a:cxn ang="0">
                    <a:pos x="17" y="47"/>
                  </a:cxn>
                  <a:cxn ang="0">
                    <a:pos x="9" y="38"/>
                  </a:cxn>
                  <a:cxn ang="0">
                    <a:pos x="5" y="28"/>
                  </a:cxn>
                  <a:cxn ang="0">
                    <a:pos x="3" y="24"/>
                  </a:cxn>
                  <a:cxn ang="0">
                    <a:pos x="2" y="16"/>
                  </a:cxn>
                  <a:cxn ang="0">
                    <a:pos x="0" y="3"/>
                  </a:cxn>
                  <a:cxn ang="0">
                    <a:pos x="2" y="2"/>
                  </a:cxn>
                  <a:cxn ang="0">
                    <a:pos x="5" y="5"/>
                  </a:cxn>
                  <a:cxn ang="0">
                    <a:pos x="8" y="7"/>
                  </a:cxn>
                  <a:cxn ang="0">
                    <a:pos x="8" y="11"/>
                  </a:cxn>
                  <a:cxn ang="0">
                    <a:pos x="12" y="10"/>
                  </a:cxn>
                  <a:cxn ang="0">
                    <a:pos x="15" y="7"/>
                  </a:cxn>
                </a:cxnLst>
                <a:rect l="0" t="0" r="r" b="b"/>
                <a:pathLst>
                  <a:path w="33" h="57">
                    <a:moveTo>
                      <a:pt x="15" y="7"/>
                    </a:moveTo>
                    <a:cubicBezTo>
                      <a:pt x="17" y="7"/>
                      <a:pt x="17" y="5"/>
                      <a:pt x="18" y="8"/>
                    </a:cubicBezTo>
                    <a:cubicBezTo>
                      <a:pt x="18" y="11"/>
                      <a:pt x="24" y="14"/>
                      <a:pt x="26" y="19"/>
                    </a:cubicBezTo>
                    <a:cubicBezTo>
                      <a:pt x="27" y="24"/>
                      <a:pt x="26" y="27"/>
                      <a:pt x="26" y="27"/>
                    </a:cubicBezTo>
                    <a:cubicBezTo>
                      <a:pt x="26" y="28"/>
                      <a:pt x="24" y="30"/>
                      <a:pt x="26" y="32"/>
                    </a:cubicBezTo>
                    <a:cubicBezTo>
                      <a:pt x="27" y="33"/>
                      <a:pt x="23" y="38"/>
                      <a:pt x="27" y="41"/>
                    </a:cubicBezTo>
                    <a:cubicBezTo>
                      <a:pt x="30" y="44"/>
                      <a:pt x="29" y="47"/>
                      <a:pt x="32" y="49"/>
                    </a:cubicBezTo>
                    <a:cubicBezTo>
                      <a:pt x="32" y="50"/>
                      <a:pt x="33" y="55"/>
                      <a:pt x="32" y="54"/>
                    </a:cubicBezTo>
                    <a:cubicBezTo>
                      <a:pt x="30" y="54"/>
                      <a:pt x="32" y="54"/>
                      <a:pt x="30" y="52"/>
                    </a:cubicBezTo>
                    <a:cubicBezTo>
                      <a:pt x="29" y="52"/>
                      <a:pt x="30" y="54"/>
                      <a:pt x="29" y="54"/>
                    </a:cubicBezTo>
                    <a:cubicBezTo>
                      <a:pt x="26" y="52"/>
                      <a:pt x="27" y="57"/>
                      <a:pt x="26" y="54"/>
                    </a:cubicBezTo>
                    <a:cubicBezTo>
                      <a:pt x="24" y="50"/>
                      <a:pt x="23" y="54"/>
                      <a:pt x="17" y="47"/>
                    </a:cubicBezTo>
                    <a:cubicBezTo>
                      <a:pt x="9" y="39"/>
                      <a:pt x="8" y="41"/>
                      <a:pt x="9" y="38"/>
                    </a:cubicBezTo>
                    <a:cubicBezTo>
                      <a:pt x="11" y="35"/>
                      <a:pt x="3" y="30"/>
                      <a:pt x="5" y="28"/>
                    </a:cubicBezTo>
                    <a:cubicBezTo>
                      <a:pt x="5" y="27"/>
                      <a:pt x="3" y="28"/>
                      <a:pt x="3" y="24"/>
                    </a:cubicBezTo>
                    <a:cubicBezTo>
                      <a:pt x="3" y="17"/>
                      <a:pt x="0" y="19"/>
                      <a:pt x="2" y="16"/>
                    </a:cubicBezTo>
                    <a:cubicBezTo>
                      <a:pt x="2" y="14"/>
                      <a:pt x="3" y="8"/>
                      <a:pt x="0" y="3"/>
                    </a:cubicBezTo>
                    <a:cubicBezTo>
                      <a:pt x="0" y="0"/>
                      <a:pt x="0" y="0"/>
                      <a:pt x="2" y="2"/>
                    </a:cubicBezTo>
                    <a:cubicBezTo>
                      <a:pt x="3" y="3"/>
                      <a:pt x="5" y="2"/>
                      <a:pt x="5" y="5"/>
                    </a:cubicBezTo>
                    <a:cubicBezTo>
                      <a:pt x="6" y="7"/>
                      <a:pt x="8" y="3"/>
                      <a:pt x="8" y="7"/>
                    </a:cubicBezTo>
                    <a:cubicBezTo>
                      <a:pt x="8" y="8"/>
                      <a:pt x="6" y="10"/>
                      <a:pt x="8" y="11"/>
                    </a:cubicBezTo>
                    <a:cubicBezTo>
                      <a:pt x="9" y="13"/>
                      <a:pt x="9" y="7"/>
                      <a:pt x="12" y="10"/>
                    </a:cubicBezTo>
                    <a:cubicBezTo>
                      <a:pt x="14" y="11"/>
                      <a:pt x="14" y="11"/>
                      <a:pt x="15" y="7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27" name="Freeform 221"/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6225493" y="3730488"/>
                <a:ext cx="7018" cy="935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" y="0"/>
                  </a:cxn>
                  <a:cxn ang="0">
                    <a:pos x="0" y="2"/>
                  </a:cxn>
                </a:cxnLst>
                <a:rect l="0" t="0" r="r" b="b"/>
                <a:pathLst>
                  <a:path w="3" h="4">
                    <a:moveTo>
                      <a:pt x="0" y="2"/>
                    </a:moveTo>
                    <a:cubicBezTo>
                      <a:pt x="0" y="0"/>
                      <a:pt x="3" y="0"/>
                      <a:pt x="3" y="0"/>
                    </a:cubicBezTo>
                    <a:cubicBezTo>
                      <a:pt x="3" y="2"/>
                      <a:pt x="2" y="4"/>
                      <a:pt x="0" y="2"/>
                    </a:cubicBezTo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28" name="Freeform 222"/>
              <p:cNvSpPr>
                <a:spLocks noEditPoints="1"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6071099" y="3633408"/>
                <a:ext cx="811744" cy="371945"/>
              </a:xfrm>
              <a:custGeom>
                <a:avLst/>
                <a:gdLst/>
                <a:ahLst/>
                <a:cxnLst>
                  <a:cxn ang="0">
                    <a:pos x="306" y="91"/>
                  </a:cxn>
                  <a:cxn ang="0">
                    <a:pos x="288" y="67"/>
                  </a:cxn>
                  <a:cxn ang="0">
                    <a:pos x="341" y="73"/>
                  </a:cxn>
                  <a:cxn ang="0">
                    <a:pos x="157" y="37"/>
                  </a:cxn>
                  <a:cxn ang="0">
                    <a:pos x="115" y="40"/>
                  </a:cxn>
                  <a:cxn ang="0">
                    <a:pos x="121" y="87"/>
                  </a:cxn>
                  <a:cxn ang="0">
                    <a:pos x="167" y="87"/>
                  </a:cxn>
                  <a:cxn ang="0">
                    <a:pos x="179" y="29"/>
                  </a:cxn>
                  <a:cxn ang="0">
                    <a:pos x="24" y="35"/>
                  </a:cxn>
                  <a:cxn ang="0">
                    <a:pos x="71" y="112"/>
                  </a:cxn>
                  <a:cxn ang="0">
                    <a:pos x="77" y="80"/>
                  </a:cxn>
                  <a:cxn ang="0">
                    <a:pos x="45" y="37"/>
                  </a:cxn>
                  <a:cxn ang="0">
                    <a:pos x="4" y="1"/>
                  </a:cxn>
                  <a:cxn ang="0">
                    <a:pos x="138" y="140"/>
                  </a:cxn>
                  <a:cxn ang="0">
                    <a:pos x="128" y="122"/>
                  </a:cxn>
                  <a:cxn ang="0">
                    <a:pos x="85" y="121"/>
                  </a:cxn>
                  <a:cxn ang="0">
                    <a:pos x="347" y="129"/>
                  </a:cxn>
                  <a:cxn ang="0">
                    <a:pos x="161" y="124"/>
                  </a:cxn>
                  <a:cxn ang="0">
                    <a:pos x="166" y="143"/>
                  </a:cxn>
                  <a:cxn ang="0">
                    <a:pos x="189" y="144"/>
                  </a:cxn>
                  <a:cxn ang="0">
                    <a:pos x="181" y="141"/>
                  </a:cxn>
                  <a:cxn ang="0">
                    <a:pos x="195" y="140"/>
                  </a:cxn>
                  <a:cxn ang="0">
                    <a:pos x="208" y="144"/>
                  </a:cxn>
                  <a:cxn ang="0">
                    <a:pos x="210" y="141"/>
                  </a:cxn>
                  <a:cxn ang="0">
                    <a:pos x="222" y="141"/>
                  </a:cxn>
                  <a:cxn ang="0">
                    <a:pos x="228" y="138"/>
                  </a:cxn>
                  <a:cxn ang="0">
                    <a:pos x="236" y="136"/>
                  </a:cxn>
                  <a:cxn ang="0">
                    <a:pos x="195" y="149"/>
                  </a:cxn>
                  <a:cxn ang="0">
                    <a:pos x="240" y="149"/>
                  </a:cxn>
                  <a:cxn ang="0">
                    <a:pos x="230" y="149"/>
                  </a:cxn>
                  <a:cxn ang="0">
                    <a:pos x="205" y="88"/>
                  </a:cxn>
                  <a:cxn ang="0">
                    <a:pos x="221" y="63"/>
                  </a:cxn>
                  <a:cxn ang="0">
                    <a:pos x="231" y="48"/>
                  </a:cxn>
                  <a:cxn ang="0">
                    <a:pos x="193" y="73"/>
                  </a:cxn>
                  <a:cxn ang="0">
                    <a:pos x="246" y="88"/>
                  </a:cxn>
                  <a:cxn ang="0">
                    <a:pos x="260" y="90"/>
                  </a:cxn>
                  <a:cxn ang="0">
                    <a:pos x="262" y="71"/>
                  </a:cxn>
                  <a:cxn ang="0">
                    <a:pos x="285" y="70"/>
                  </a:cxn>
                  <a:cxn ang="0">
                    <a:pos x="260" y="54"/>
                  </a:cxn>
                  <a:cxn ang="0">
                    <a:pos x="257" y="48"/>
                  </a:cxn>
                  <a:cxn ang="0">
                    <a:pos x="213" y="107"/>
                  </a:cxn>
                  <a:cxn ang="0">
                    <a:pos x="224" y="101"/>
                  </a:cxn>
                  <a:cxn ang="0">
                    <a:pos x="225" y="70"/>
                  </a:cxn>
                  <a:cxn ang="0">
                    <a:pos x="312" y="119"/>
                  </a:cxn>
                  <a:cxn ang="0">
                    <a:pos x="100" y="88"/>
                  </a:cxn>
                  <a:cxn ang="0">
                    <a:pos x="90" y="82"/>
                  </a:cxn>
                  <a:cxn ang="0">
                    <a:pos x="12" y="34"/>
                  </a:cxn>
                  <a:cxn ang="0">
                    <a:pos x="29" y="67"/>
                  </a:cxn>
                  <a:cxn ang="0">
                    <a:pos x="74" y="60"/>
                  </a:cxn>
                  <a:cxn ang="0">
                    <a:pos x="67" y="48"/>
                  </a:cxn>
                  <a:cxn ang="0">
                    <a:pos x="58" y="43"/>
                  </a:cxn>
                  <a:cxn ang="0">
                    <a:pos x="62" y="48"/>
                  </a:cxn>
                  <a:cxn ang="0">
                    <a:pos x="326" y="74"/>
                  </a:cxn>
                  <a:cxn ang="0">
                    <a:pos x="275" y="135"/>
                  </a:cxn>
                  <a:cxn ang="0">
                    <a:pos x="260" y="138"/>
                  </a:cxn>
                  <a:cxn ang="0">
                    <a:pos x="312" y="115"/>
                  </a:cxn>
                  <a:cxn ang="0">
                    <a:pos x="245" y="76"/>
                  </a:cxn>
                  <a:cxn ang="0">
                    <a:pos x="265" y="91"/>
                  </a:cxn>
                  <a:cxn ang="0">
                    <a:pos x="74" y="45"/>
                  </a:cxn>
                </a:cxnLst>
                <a:rect l="0" t="0" r="r" b="b"/>
                <a:pathLst>
                  <a:path w="358" h="164">
                    <a:moveTo>
                      <a:pt x="358" y="138"/>
                    </a:moveTo>
                    <a:cubicBezTo>
                      <a:pt x="353" y="136"/>
                      <a:pt x="352" y="138"/>
                      <a:pt x="350" y="136"/>
                    </a:cubicBezTo>
                    <a:cubicBezTo>
                      <a:pt x="350" y="135"/>
                      <a:pt x="345" y="140"/>
                      <a:pt x="349" y="133"/>
                    </a:cubicBezTo>
                    <a:cubicBezTo>
                      <a:pt x="352" y="129"/>
                      <a:pt x="345" y="130"/>
                      <a:pt x="345" y="125"/>
                    </a:cubicBezTo>
                    <a:cubicBezTo>
                      <a:pt x="344" y="122"/>
                      <a:pt x="349" y="125"/>
                      <a:pt x="345" y="121"/>
                    </a:cubicBezTo>
                    <a:cubicBezTo>
                      <a:pt x="342" y="118"/>
                      <a:pt x="341" y="110"/>
                      <a:pt x="338" y="107"/>
                    </a:cubicBezTo>
                    <a:cubicBezTo>
                      <a:pt x="333" y="104"/>
                      <a:pt x="330" y="105"/>
                      <a:pt x="327" y="102"/>
                    </a:cubicBezTo>
                    <a:cubicBezTo>
                      <a:pt x="321" y="99"/>
                      <a:pt x="320" y="102"/>
                      <a:pt x="313" y="97"/>
                    </a:cubicBezTo>
                    <a:cubicBezTo>
                      <a:pt x="309" y="93"/>
                      <a:pt x="306" y="94"/>
                      <a:pt x="306" y="91"/>
                    </a:cubicBezTo>
                    <a:cubicBezTo>
                      <a:pt x="307" y="85"/>
                      <a:pt x="306" y="85"/>
                      <a:pt x="304" y="93"/>
                    </a:cubicBezTo>
                    <a:cubicBezTo>
                      <a:pt x="304" y="97"/>
                      <a:pt x="300" y="97"/>
                      <a:pt x="298" y="94"/>
                    </a:cubicBezTo>
                    <a:cubicBezTo>
                      <a:pt x="297" y="91"/>
                      <a:pt x="303" y="93"/>
                      <a:pt x="298" y="88"/>
                    </a:cubicBezTo>
                    <a:cubicBezTo>
                      <a:pt x="294" y="85"/>
                      <a:pt x="294" y="87"/>
                      <a:pt x="292" y="85"/>
                    </a:cubicBezTo>
                    <a:cubicBezTo>
                      <a:pt x="292" y="80"/>
                      <a:pt x="300" y="87"/>
                      <a:pt x="301" y="82"/>
                    </a:cubicBezTo>
                    <a:cubicBezTo>
                      <a:pt x="301" y="79"/>
                      <a:pt x="307" y="84"/>
                      <a:pt x="307" y="80"/>
                    </a:cubicBezTo>
                    <a:cubicBezTo>
                      <a:pt x="307" y="76"/>
                      <a:pt x="295" y="82"/>
                      <a:pt x="294" y="77"/>
                    </a:cubicBezTo>
                    <a:cubicBezTo>
                      <a:pt x="291" y="73"/>
                      <a:pt x="291" y="71"/>
                      <a:pt x="288" y="71"/>
                    </a:cubicBezTo>
                    <a:cubicBezTo>
                      <a:pt x="281" y="71"/>
                      <a:pt x="288" y="68"/>
                      <a:pt x="288" y="67"/>
                    </a:cubicBezTo>
                    <a:cubicBezTo>
                      <a:pt x="286" y="63"/>
                      <a:pt x="289" y="65"/>
                      <a:pt x="292" y="63"/>
                    </a:cubicBezTo>
                    <a:cubicBezTo>
                      <a:pt x="294" y="63"/>
                      <a:pt x="294" y="57"/>
                      <a:pt x="301" y="62"/>
                    </a:cubicBezTo>
                    <a:cubicBezTo>
                      <a:pt x="309" y="67"/>
                      <a:pt x="309" y="62"/>
                      <a:pt x="310" y="67"/>
                    </a:cubicBezTo>
                    <a:cubicBezTo>
                      <a:pt x="312" y="73"/>
                      <a:pt x="309" y="73"/>
                      <a:pt x="310" y="80"/>
                    </a:cubicBezTo>
                    <a:cubicBezTo>
                      <a:pt x="313" y="87"/>
                      <a:pt x="312" y="79"/>
                      <a:pt x="313" y="80"/>
                    </a:cubicBezTo>
                    <a:cubicBezTo>
                      <a:pt x="315" y="84"/>
                      <a:pt x="313" y="88"/>
                      <a:pt x="318" y="90"/>
                    </a:cubicBezTo>
                    <a:cubicBezTo>
                      <a:pt x="321" y="91"/>
                      <a:pt x="327" y="77"/>
                      <a:pt x="329" y="79"/>
                    </a:cubicBezTo>
                    <a:cubicBezTo>
                      <a:pt x="330" y="80"/>
                      <a:pt x="335" y="77"/>
                      <a:pt x="335" y="76"/>
                    </a:cubicBezTo>
                    <a:cubicBezTo>
                      <a:pt x="333" y="74"/>
                      <a:pt x="338" y="71"/>
                      <a:pt x="341" y="73"/>
                    </a:cubicBezTo>
                    <a:cubicBezTo>
                      <a:pt x="344" y="74"/>
                      <a:pt x="353" y="80"/>
                      <a:pt x="358" y="80"/>
                    </a:cubicBezTo>
                    <a:cubicBezTo>
                      <a:pt x="358" y="138"/>
                      <a:pt x="358" y="138"/>
                      <a:pt x="358" y="138"/>
                    </a:cubicBezTo>
                    <a:close/>
                    <a:moveTo>
                      <a:pt x="178" y="17"/>
                    </a:moveTo>
                    <a:cubicBezTo>
                      <a:pt x="175" y="14"/>
                      <a:pt x="176" y="15"/>
                      <a:pt x="173" y="15"/>
                    </a:cubicBezTo>
                    <a:cubicBezTo>
                      <a:pt x="169" y="15"/>
                      <a:pt x="166" y="14"/>
                      <a:pt x="164" y="17"/>
                    </a:cubicBezTo>
                    <a:cubicBezTo>
                      <a:pt x="163" y="20"/>
                      <a:pt x="163" y="23"/>
                      <a:pt x="163" y="26"/>
                    </a:cubicBezTo>
                    <a:cubicBezTo>
                      <a:pt x="163" y="29"/>
                      <a:pt x="160" y="26"/>
                      <a:pt x="160" y="29"/>
                    </a:cubicBezTo>
                    <a:cubicBezTo>
                      <a:pt x="158" y="32"/>
                      <a:pt x="158" y="32"/>
                      <a:pt x="160" y="32"/>
                    </a:cubicBezTo>
                    <a:cubicBezTo>
                      <a:pt x="161" y="34"/>
                      <a:pt x="157" y="34"/>
                      <a:pt x="157" y="37"/>
                    </a:cubicBezTo>
                    <a:cubicBezTo>
                      <a:pt x="157" y="39"/>
                      <a:pt x="157" y="40"/>
                      <a:pt x="155" y="42"/>
                    </a:cubicBezTo>
                    <a:cubicBezTo>
                      <a:pt x="155" y="45"/>
                      <a:pt x="150" y="42"/>
                      <a:pt x="149" y="45"/>
                    </a:cubicBezTo>
                    <a:cubicBezTo>
                      <a:pt x="147" y="46"/>
                      <a:pt x="144" y="45"/>
                      <a:pt x="143" y="43"/>
                    </a:cubicBezTo>
                    <a:cubicBezTo>
                      <a:pt x="141" y="43"/>
                      <a:pt x="144" y="42"/>
                      <a:pt x="140" y="42"/>
                    </a:cubicBezTo>
                    <a:cubicBezTo>
                      <a:pt x="134" y="42"/>
                      <a:pt x="137" y="46"/>
                      <a:pt x="135" y="46"/>
                    </a:cubicBezTo>
                    <a:cubicBezTo>
                      <a:pt x="132" y="46"/>
                      <a:pt x="134" y="49"/>
                      <a:pt x="129" y="48"/>
                    </a:cubicBezTo>
                    <a:cubicBezTo>
                      <a:pt x="125" y="46"/>
                      <a:pt x="125" y="51"/>
                      <a:pt x="121" y="48"/>
                    </a:cubicBezTo>
                    <a:cubicBezTo>
                      <a:pt x="120" y="46"/>
                      <a:pt x="118" y="43"/>
                      <a:pt x="117" y="43"/>
                    </a:cubicBezTo>
                    <a:cubicBezTo>
                      <a:pt x="115" y="43"/>
                      <a:pt x="117" y="42"/>
                      <a:pt x="115" y="40"/>
                    </a:cubicBezTo>
                    <a:cubicBezTo>
                      <a:pt x="114" y="40"/>
                      <a:pt x="115" y="37"/>
                      <a:pt x="115" y="37"/>
                    </a:cubicBezTo>
                    <a:cubicBezTo>
                      <a:pt x="112" y="37"/>
                      <a:pt x="112" y="40"/>
                      <a:pt x="112" y="42"/>
                    </a:cubicBezTo>
                    <a:cubicBezTo>
                      <a:pt x="109" y="45"/>
                      <a:pt x="108" y="54"/>
                      <a:pt x="111" y="56"/>
                    </a:cubicBezTo>
                    <a:cubicBezTo>
                      <a:pt x="114" y="57"/>
                      <a:pt x="109" y="59"/>
                      <a:pt x="112" y="62"/>
                    </a:cubicBezTo>
                    <a:cubicBezTo>
                      <a:pt x="115" y="65"/>
                      <a:pt x="111" y="65"/>
                      <a:pt x="114" y="65"/>
                    </a:cubicBezTo>
                    <a:cubicBezTo>
                      <a:pt x="117" y="67"/>
                      <a:pt x="112" y="68"/>
                      <a:pt x="114" y="70"/>
                    </a:cubicBezTo>
                    <a:cubicBezTo>
                      <a:pt x="115" y="71"/>
                      <a:pt x="117" y="67"/>
                      <a:pt x="118" y="70"/>
                    </a:cubicBezTo>
                    <a:cubicBezTo>
                      <a:pt x="120" y="73"/>
                      <a:pt x="117" y="73"/>
                      <a:pt x="118" y="77"/>
                    </a:cubicBezTo>
                    <a:cubicBezTo>
                      <a:pt x="123" y="88"/>
                      <a:pt x="118" y="87"/>
                      <a:pt x="121" y="87"/>
                    </a:cubicBezTo>
                    <a:cubicBezTo>
                      <a:pt x="125" y="87"/>
                      <a:pt x="126" y="88"/>
                      <a:pt x="128" y="87"/>
                    </a:cubicBezTo>
                    <a:cubicBezTo>
                      <a:pt x="129" y="84"/>
                      <a:pt x="134" y="87"/>
                      <a:pt x="132" y="90"/>
                    </a:cubicBezTo>
                    <a:cubicBezTo>
                      <a:pt x="132" y="93"/>
                      <a:pt x="134" y="91"/>
                      <a:pt x="135" y="90"/>
                    </a:cubicBezTo>
                    <a:cubicBezTo>
                      <a:pt x="137" y="88"/>
                      <a:pt x="140" y="91"/>
                      <a:pt x="141" y="88"/>
                    </a:cubicBezTo>
                    <a:cubicBezTo>
                      <a:pt x="143" y="85"/>
                      <a:pt x="144" y="90"/>
                      <a:pt x="146" y="88"/>
                    </a:cubicBezTo>
                    <a:cubicBezTo>
                      <a:pt x="147" y="88"/>
                      <a:pt x="146" y="91"/>
                      <a:pt x="149" y="90"/>
                    </a:cubicBezTo>
                    <a:cubicBezTo>
                      <a:pt x="153" y="88"/>
                      <a:pt x="155" y="93"/>
                      <a:pt x="155" y="96"/>
                    </a:cubicBezTo>
                    <a:cubicBezTo>
                      <a:pt x="153" y="101"/>
                      <a:pt x="161" y="94"/>
                      <a:pt x="164" y="93"/>
                    </a:cubicBezTo>
                    <a:cubicBezTo>
                      <a:pt x="166" y="93"/>
                      <a:pt x="167" y="88"/>
                      <a:pt x="167" y="87"/>
                    </a:cubicBezTo>
                    <a:cubicBezTo>
                      <a:pt x="167" y="85"/>
                      <a:pt x="169" y="87"/>
                      <a:pt x="169" y="84"/>
                    </a:cubicBezTo>
                    <a:cubicBezTo>
                      <a:pt x="169" y="80"/>
                      <a:pt x="172" y="84"/>
                      <a:pt x="170" y="77"/>
                    </a:cubicBezTo>
                    <a:cubicBezTo>
                      <a:pt x="169" y="71"/>
                      <a:pt x="173" y="71"/>
                      <a:pt x="175" y="68"/>
                    </a:cubicBezTo>
                    <a:cubicBezTo>
                      <a:pt x="176" y="65"/>
                      <a:pt x="179" y="68"/>
                      <a:pt x="179" y="62"/>
                    </a:cubicBezTo>
                    <a:cubicBezTo>
                      <a:pt x="178" y="56"/>
                      <a:pt x="179" y="51"/>
                      <a:pt x="181" y="49"/>
                    </a:cubicBezTo>
                    <a:cubicBezTo>
                      <a:pt x="182" y="48"/>
                      <a:pt x="181" y="46"/>
                      <a:pt x="184" y="48"/>
                    </a:cubicBezTo>
                    <a:cubicBezTo>
                      <a:pt x="185" y="51"/>
                      <a:pt x="190" y="49"/>
                      <a:pt x="190" y="48"/>
                    </a:cubicBezTo>
                    <a:cubicBezTo>
                      <a:pt x="190" y="46"/>
                      <a:pt x="179" y="40"/>
                      <a:pt x="181" y="37"/>
                    </a:cubicBezTo>
                    <a:cubicBezTo>
                      <a:pt x="184" y="34"/>
                      <a:pt x="181" y="34"/>
                      <a:pt x="179" y="29"/>
                    </a:cubicBezTo>
                    <a:cubicBezTo>
                      <a:pt x="179" y="26"/>
                      <a:pt x="176" y="28"/>
                      <a:pt x="176" y="25"/>
                    </a:cubicBezTo>
                    <a:cubicBezTo>
                      <a:pt x="178" y="20"/>
                      <a:pt x="181" y="23"/>
                      <a:pt x="181" y="21"/>
                    </a:cubicBezTo>
                    <a:cubicBezTo>
                      <a:pt x="181" y="21"/>
                      <a:pt x="179" y="20"/>
                      <a:pt x="178" y="18"/>
                    </a:cubicBezTo>
                    <a:cubicBezTo>
                      <a:pt x="178" y="17"/>
                      <a:pt x="178" y="18"/>
                      <a:pt x="178" y="17"/>
                    </a:cubicBezTo>
                    <a:close/>
                    <a:moveTo>
                      <a:pt x="4" y="12"/>
                    </a:moveTo>
                    <a:cubicBezTo>
                      <a:pt x="7" y="17"/>
                      <a:pt x="7" y="15"/>
                      <a:pt x="10" y="18"/>
                    </a:cubicBezTo>
                    <a:cubicBezTo>
                      <a:pt x="12" y="23"/>
                      <a:pt x="12" y="18"/>
                      <a:pt x="16" y="23"/>
                    </a:cubicBezTo>
                    <a:cubicBezTo>
                      <a:pt x="19" y="29"/>
                      <a:pt x="15" y="26"/>
                      <a:pt x="19" y="29"/>
                    </a:cubicBezTo>
                    <a:cubicBezTo>
                      <a:pt x="22" y="31"/>
                      <a:pt x="18" y="32"/>
                      <a:pt x="24" y="35"/>
                    </a:cubicBezTo>
                    <a:cubicBezTo>
                      <a:pt x="27" y="37"/>
                      <a:pt x="30" y="40"/>
                      <a:pt x="30" y="42"/>
                    </a:cubicBezTo>
                    <a:cubicBezTo>
                      <a:pt x="29" y="43"/>
                      <a:pt x="29" y="42"/>
                      <a:pt x="32" y="48"/>
                    </a:cubicBezTo>
                    <a:cubicBezTo>
                      <a:pt x="33" y="54"/>
                      <a:pt x="32" y="54"/>
                      <a:pt x="35" y="56"/>
                    </a:cubicBezTo>
                    <a:cubicBezTo>
                      <a:pt x="38" y="57"/>
                      <a:pt x="35" y="57"/>
                      <a:pt x="41" y="63"/>
                    </a:cubicBezTo>
                    <a:cubicBezTo>
                      <a:pt x="44" y="67"/>
                      <a:pt x="41" y="68"/>
                      <a:pt x="42" y="70"/>
                    </a:cubicBezTo>
                    <a:cubicBezTo>
                      <a:pt x="45" y="71"/>
                      <a:pt x="45" y="74"/>
                      <a:pt x="47" y="79"/>
                    </a:cubicBezTo>
                    <a:cubicBezTo>
                      <a:pt x="47" y="82"/>
                      <a:pt x="50" y="87"/>
                      <a:pt x="54" y="91"/>
                    </a:cubicBezTo>
                    <a:cubicBezTo>
                      <a:pt x="58" y="94"/>
                      <a:pt x="56" y="94"/>
                      <a:pt x="62" y="101"/>
                    </a:cubicBezTo>
                    <a:cubicBezTo>
                      <a:pt x="67" y="105"/>
                      <a:pt x="70" y="107"/>
                      <a:pt x="71" y="112"/>
                    </a:cubicBezTo>
                    <a:cubicBezTo>
                      <a:pt x="74" y="115"/>
                      <a:pt x="77" y="119"/>
                      <a:pt x="76" y="113"/>
                    </a:cubicBezTo>
                    <a:cubicBezTo>
                      <a:pt x="74" y="107"/>
                      <a:pt x="80" y="116"/>
                      <a:pt x="80" y="112"/>
                    </a:cubicBezTo>
                    <a:cubicBezTo>
                      <a:pt x="82" y="108"/>
                      <a:pt x="83" y="116"/>
                      <a:pt x="85" y="115"/>
                    </a:cubicBezTo>
                    <a:cubicBezTo>
                      <a:pt x="86" y="113"/>
                      <a:pt x="86" y="110"/>
                      <a:pt x="86" y="104"/>
                    </a:cubicBezTo>
                    <a:cubicBezTo>
                      <a:pt x="86" y="99"/>
                      <a:pt x="85" y="101"/>
                      <a:pt x="86" y="97"/>
                    </a:cubicBezTo>
                    <a:cubicBezTo>
                      <a:pt x="88" y="93"/>
                      <a:pt x="85" y="94"/>
                      <a:pt x="86" y="90"/>
                    </a:cubicBezTo>
                    <a:cubicBezTo>
                      <a:pt x="90" y="87"/>
                      <a:pt x="86" y="87"/>
                      <a:pt x="85" y="84"/>
                    </a:cubicBezTo>
                    <a:cubicBezTo>
                      <a:pt x="83" y="80"/>
                      <a:pt x="83" y="79"/>
                      <a:pt x="80" y="80"/>
                    </a:cubicBezTo>
                    <a:cubicBezTo>
                      <a:pt x="79" y="82"/>
                      <a:pt x="80" y="79"/>
                      <a:pt x="77" y="80"/>
                    </a:cubicBezTo>
                    <a:cubicBezTo>
                      <a:pt x="74" y="84"/>
                      <a:pt x="80" y="77"/>
                      <a:pt x="77" y="77"/>
                    </a:cubicBezTo>
                    <a:cubicBezTo>
                      <a:pt x="74" y="77"/>
                      <a:pt x="76" y="67"/>
                      <a:pt x="73" y="67"/>
                    </a:cubicBezTo>
                    <a:cubicBezTo>
                      <a:pt x="68" y="68"/>
                      <a:pt x="65" y="65"/>
                      <a:pt x="67" y="62"/>
                    </a:cubicBezTo>
                    <a:cubicBezTo>
                      <a:pt x="68" y="60"/>
                      <a:pt x="65" y="59"/>
                      <a:pt x="68" y="59"/>
                    </a:cubicBezTo>
                    <a:cubicBezTo>
                      <a:pt x="71" y="57"/>
                      <a:pt x="68" y="51"/>
                      <a:pt x="65" y="52"/>
                    </a:cubicBezTo>
                    <a:cubicBezTo>
                      <a:pt x="62" y="54"/>
                      <a:pt x="65" y="51"/>
                      <a:pt x="61" y="49"/>
                    </a:cubicBezTo>
                    <a:cubicBezTo>
                      <a:pt x="54" y="49"/>
                      <a:pt x="59" y="42"/>
                      <a:pt x="51" y="40"/>
                    </a:cubicBezTo>
                    <a:cubicBezTo>
                      <a:pt x="48" y="40"/>
                      <a:pt x="50" y="37"/>
                      <a:pt x="48" y="35"/>
                    </a:cubicBezTo>
                    <a:cubicBezTo>
                      <a:pt x="44" y="32"/>
                      <a:pt x="47" y="39"/>
                      <a:pt x="45" y="37"/>
                    </a:cubicBezTo>
                    <a:cubicBezTo>
                      <a:pt x="44" y="35"/>
                      <a:pt x="42" y="37"/>
                      <a:pt x="42" y="32"/>
                    </a:cubicBezTo>
                    <a:cubicBezTo>
                      <a:pt x="41" y="29"/>
                      <a:pt x="41" y="32"/>
                      <a:pt x="39" y="29"/>
                    </a:cubicBezTo>
                    <a:cubicBezTo>
                      <a:pt x="38" y="28"/>
                      <a:pt x="35" y="23"/>
                      <a:pt x="32" y="21"/>
                    </a:cubicBezTo>
                    <a:cubicBezTo>
                      <a:pt x="29" y="21"/>
                      <a:pt x="29" y="18"/>
                      <a:pt x="27" y="17"/>
                    </a:cubicBezTo>
                    <a:cubicBezTo>
                      <a:pt x="24" y="17"/>
                      <a:pt x="27" y="14"/>
                      <a:pt x="24" y="14"/>
                    </a:cubicBezTo>
                    <a:cubicBezTo>
                      <a:pt x="22" y="12"/>
                      <a:pt x="24" y="11"/>
                      <a:pt x="21" y="7"/>
                    </a:cubicBezTo>
                    <a:cubicBezTo>
                      <a:pt x="18" y="3"/>
                      <a:pt x="19" y="7"/>
                      <a:pt x="16" y="6"/>
                    </a:cubicBezTo>
                    <a:cubicBezTo>
                      <a:pt x="15" y="4"/>
                      <a:pt x="15" y="6"/>
                      <a:pt x="10" y="6"/>
                    </a:cubicBezTo>
                    <a:cubicBezTo>
                      <a:pt x="4" y="4"/>
                      <a:pt x="9" y="4"/>
                      <a:pt x="4" y="1"/>
                    </a:cubicBezTo>
                    <a:cubicBezTo>
                      <a:pt x="0" y="0"/>
                      <a:pt x="1" y="6"/>
                      <a:pt x="4" y="12"/>
                    </a:cubicBezTo>
                    <a:close/>
                    <a:moveTo>
                      <a:pt x="82" y="124"/>
                    </a:moveTo>
                    <a:cubicBezTo>
                      <a:pt x="83" y="124"/>
                      <a:pt x="86" y="122"/>
                      <a:pt x="88" y="125"/>
                    </a:cubicBezTo>
                    <a:cubicBezTo>
                      <a:pt x="90" y="127"/>
                      <a:pt x="93" y="124"/>
                      <a:pt x="91" y="127"/>
                    </a:cubicBezTo>
                    <a:cubicBezTo>
                      <a:pt x="90" y="130"/>
                      <a:pt x="91" y="127"/>
                      <a:pt x="102" y="133"/>
                    </a:cubicBezTo>
                    <a:cubicBezTo>
                      <a:pt x="106" y="135"/>
                      <a:pt x="108" y="130"/>
                      <a:pt x="109" y="132"/>
                    </a:cubicBezTo>
                    <a:cubicBezTo>
                      <a:pt x="111" y="133"/>
                      <a:pt x="112" y="132"/>
                      <a:pt x="117" y="133"/>
                    </a:cubicBezTo>
                    <a:cubicBezTo>
                      <a:pt x="121" y="135"/>
                      <a:pt x="118" y="136"/>
                      <a:pt x="129" y="138"/>
                    </a:cubicBezTo>
                    <a:cubicBezTo>
                      <a:pt x="137" y="140"/>
                      <a:pt x="129" y="136"/>
                      <a:pt x="138" y="140"/>
                    </a:cubicBezTo>
                    <a:cubicBezTo>
                      <a:pt x="146" y="141"/>
                      <a:pt x="138" y="135"/>
                      <a:pt x="146" y="140"/>
                    </a:cubicBezTo>
                    <a:cubicBezTo>
                      <a:pt x="150" y="141"/>
                      <a:pt x="150" y="141"/>
                      <a:pt x="153" y="143"/>
                    </a:cubicBezTo>
                    <a:cubicBezTo>
                      <a:pt x="155" y="144"/>
                      <a:pt x="155" y="141"/>
                      <a:pt x="153" y="141"/>
                    </a:cubicBezTo>
                    <a:cubicBezTo>
                      <a:pt x="150" y="140"/>
                      <a:pt x="158" y="132"/>
                      <a:pt x="152" y="132"/>
                    </a:cubicBezTo>
                    <a:cubicBezTo>
                      <a:pt x="147" y="132"/>
                      <a:pt x="147" y="133"/>
                      <a:pt x="143" y="132"/>
                    </a:cubicBezTo>
                    <a:cubicBezTo>
                      <a:pt x="138" y="130"/>
                      <a:pt x="141" y="130"/>
                      <a:pt x="140" y="125"/>
                    </a:cubicBezTo>
                    <a:cubicBezTo>
                      <a:pt x="137" y="121"/>
                      <a:pt x="137" y="127"/>
                      <a:pt x="135" y="124"/>
                    </a:cubicBezTo>
                    <a:cubicBezTo>
                      <a:pt x="134" y="121"/>
                      <a:pt x="134" y="125"/>
                      <a:pt x="132" y="122"/>
                    </a:cubicBezTo>
                    <a:cubicBezTo>
                      <a:pt x="131" y="121"/>
                      <a:pt x="129" y="124"/>
                      <a:pt x="128" y="122"/>
                    </a:cubicBezTo>
                    <a:cubicBezTo>
                      <a:pt x="126" y="119"/>
                      <a:pt x="125" y="118"/>
                      <a:pt x="123" y="122"/>
                    </a:cubicBezTo>
                    <a:cubicBezTo>
                      <a:pt x="121" y="129"/>
                      <a:pt x="121" y="124"/>
                      <a:pt x="117" y="124"/>
                    </a:cubicBezTo>
                    <a:cubicBezTo>
                      <a:pt x="114" y="124"/>
                      <a:pt x="114" y="125"/>
                      <a:pt x="112" y="124"/>
                    </a:cubicBezTo>
                    <a:cubicBezTo>
                      <a:pt x="109" y="122"/>
                      <a:pt x="108" y="125"/>
                      <a:pt x="106" y="119"/>
                    </a:cubicBezTo>
                    <a:cubicBezTo>
                      <a:pt x="105" y="116"/>
                      <a:pt x="105" y="119"/>
                      <a:pt x="102" y="118"/>
                    </a:cubicBezTo>
                    <a:cubicBezTo>
                      <a:pt x="100" y="116"/>
                      <a:pt x="100" y="119"/>
                      <a:pt x="99" y="116"/>
                    </a:cubicBezTo>
                    <a:cubicBezTo>
                      <a:pt x="97" y="115"/>
                      <a:pt x="94" y="113"/>
                      <a:pt x="94" y="116"/>
                    </a:cubicBezTo>
                    <a:cubicBezTo>
                      <a:pt x="94" y="118"/>
                      <a:pt x="93" y="116"/>
                      <a:pt x="88" y="115"/>
                    </a:cubicBezTo>
                    <a:cubicBezTo>
                      <a:pt x="85" y="115"/>
                      <a:pt x="86" y="119"/>
                      <a:pt x="85" y="121"/>
                    </a:cubicBezTo>
                    <a:cubicBezTo>
                      <a:pt x="82" y="121"/>
                      <a:pt x="85" y="122"/>
                      <a:pt x="82" y="122"/>
                    </a:cubicBezTo>
                    <a:cubicBezTo>
                      <a:pt x="80" y="122"/>
                      <a:pt x="80" y="124"/>
                      <a:pt x="82" y="124"/>
                    </a:cubicBezTo>
                    <a:close/>
                    <a:moveTo>
                      <a:pt x="339" y="133"/>
                    </a:moveTo>
                    <a:cubicBezTo>
                      <a:pt x="339" y="135"/>
                      <a:pt x="338" y="138"/>
                      <a:pt x="338" y="140"/>
                    </a:cubicBezTo>
                    <a:cubicBezTo>
                      <a:pt x="338" y="141"/>
                      <a:pt x="339" y="138"/>
                      <a:pt x="342" y="140"/>
                    </a:cubicBezTo>
                    <a:cubicBezTo>
                      <a:pt x="345" y="141"/>
                      <a:pt x="345" y="136"/>
                      <a:pt x="347" y="136"/>
                    </a:cubicBezTo>
                    <a:cubicBezTo>
                      <a:pt x="349" y="136"/>
                      <a:pt x="347" y="135"/>
                      <a:pt x="349" y="133"/>
                    </a:cubicBezTo>
                    <a:cubicBezTo>
                      <a:pt x="349" y="132"/>
                      <a:pt x="350" y="132"/>
                      <a:pt x="349" y="132"/>
                    </a:cubicBezTo>
                    <a:cubicBezTo>
                      <a:pt x="347" y="130"/>
                      <a:pt x="347" y="130"/>
                      <a:pt x="347" y="129"/>
                    </a:cubicBezTo>
                    <a:cubicBezTo>
                      <a:pt x="344" y="129"/>
                      <a:pt x="339" y="132"/>
                      <a:pt x="339" y="133"/>
                    </a:cubicBezTo>
                    <a:close/>
                    <a:moveTo>
                      <a:pt x="147" y="127"/>
                    </a:moveTo>
                    <a:cubicBezTo>
                      <a:pt x="149" y="125"/>
                      <a:pt x="152" y="125"/>
                      <a:pt x="150" y="124"/>
                    </a:cubicBezTo>
                    <a:cubicBezTo>
                      <a:pt x="150" y="124"/>
                      <a:pt x="150" y="124"/>
                      <a:pt x="146" y="124"/>
                    </a:cubicBezTo>
                    <a:cubicBezTo>
                      <a:pt x="143" y="124"/>
                      <a:pt x="140" y="124"/>
                      <a:pt x="140" y="127"/>
                    </a:cubicBezTo>
                    <a:cubicBezTo>
                      <a:pt x="141" y="127"/>
                      <a:pt x="146" y="129"/>
                      <a:pt x="147" y="127"/>
                    </a:cubicBezTo>
                    <a:close/>
                    <a:moveTo>
                      <a:pt x="161" y="125"/>
                    </a:moveTo>
                    <a:cubicBezTo>
                      <a:pt x="161" y="124"/>
                      <a:pt x="163" y="125"/>
                      <a:pt x="163" y="125"/>
                    </a:cubicBezTo>
                    <a:cubicBezTo>
                      <a:pt x="163" y="124"/>
                      <a:pt x="163" y="124"/>
                      <a:pt x="161" y="124"/>
                    </a:cubicBezTo>
                    <a:cubicBezTo>
                      <a:pt x="160" y="124"/>
                      <a:pt x="161" y="125"/>
                      <a:pt x="161" y="125"/>
                    </a:cubicBezTo>
                    <a:close/>
                    <a:moveTo>
                      <a:pt x="158" y="141"/>
                    </a:moveTo>
                    <a:cubicBezTo>
                      <a:pt x="161" y="143"/>
                      <a:pt x="158" y="143"/>
                      <a:pt x="160" y="144"/>
                    </a:cubicBezTo>
                    <a:cubicBezTo>
                      <a:pt x="161" y="144"/>
                      <a:pt x="161" y="141"/>
                      <a:pt x="163" y="140"/>
                    </a:cubicBezTo>
                    <a:cubicBezTo>
                      <a:pt x="166" y="140"/>
                      <a:pt x="163" y="138"/>
                      <a:pt x="161" y="136"/>
                    </a:cubicBezTo>
                    <a:cubicBezTo>
                      <a:pt x="160" y="135"/>
                      <a:pt x="160" y="138"/>
                      <a:pt x="157" y="136"/>
                    </a:cubicBezTo>
                    <a:cubicBezTo>
                      <a:pt x="153" y="135"/>
                      <a:pt x="153" y="136"/>
                      <a:pt x="155" y="138"/>
                    </a:cubicBezTo>
                    <a:cubicBezTo>
                      <a:pt x="155" y="140"/>
                      <a:pt x="157" y="140"/>
                      <a:pt x="158" y="141"/>
                    </a:cubicBezTo>
                    <a:close/>
                    <a:moveTo>
                      <a:pt x="166" y="143"/>
                    </a:moveTo>
                    <a:cubicBezTo>
                      <a:pt x="164" y="143"/>
                      <a:pt x="164" y="144"/>
                      <a:pt x="169" y="144"/>
                    </a:cubicBezTo>
                    <a:cubicBezTo>
                      <a:pt x="172" y="144"/>
                      <a:pt x="170" y="144"/>
                      <a:pt x="172" y="141"/>
                    </a:cubicBezTo>
                    <a:cubicBezTo>
                      <a:pt x="173" y="138"/>
                      <a:pt x="173" y="138"/>
                      <a:pt x="170" y="138"/>
                    </a:cubicBezTo>
                    <a:cubicBezTo>
                      <a:pt x="169" y="136"/>
                      <a:pt x="167" y="140"/>
                      <a:pt x="167" y="140"/>
                    </a:cubicBezTo>
                    <a:cubicBezTo>
                      <a:pt x="167" y="141"/>
                      <a:pt x="167" y="143"/>
                      <a:pt x="166" y="143"/>
                    </a:cubicBezTo>
                    <a:close/>
                    <a:moveTo>
                      <a:pt x="175" y="146"/>
                    </a:moveTo>
                    <a:cubicBezTo>
                      <a:pt x="176" y="146"/>
                      <a:pt x="181" y="144"/>
                      <a:pt x="182" y="144"/>
                    </a:cubicBezTo>
                    <a:cubicBezTo>
                      <a:pt x="184" y="144"/>
                      <a:pt x="185" y="143"/>
                      <a:pt x="185" y="143"/>
                    </a:cubicBezTo>
                    <a:cubicBezTo>
                      <a:pt x="185" y="144"/>
                      <a:pt x="187" y="143"/>
                      <a:pt x="189" y="144"/>
                    </a:cubicBezTo>
                    <a:cubicBezTo>
                      <a:pt x="189" y="144"/>
                      <a:pt x="192" y="144"/>
                      <a:pt x="190" y="143"/>
                    </a:cubicBezTo>
                    <a:cubicBezTo>
                      <a:pt x="189" y="143"/>
                      <a:pt x="187" y="141"/>
                      <a:pt x="189" y="143"/>
                    </a:cubicBezTo>
                    <a:cubicBezTo>
                      <a:pt x="192" y="143"/>
                      <a:pt x="192" y="143"/>
                      <a:pt x="192" y="143"/>
                    </a:cubicBezTo>
                    <a:cubicBezTo>
                      <a:pt x="192" y="141"/>
                      <a:pt x="190" y="136"/>
                      <a:pt x="189" y="138"/>
                    </a:cubicBezTo>
                    <a:cubicBezTo>
                      <a:pt x="187" y="140"/>
                      <a:pt x="187" y="136"/>
                      <a:pt x="185" y="138"/>
                    </a:cubicBezTo>
                    <a:cubicBezTo>
                      <a:pt x="184" y="140"/>
                      <a:pt x="184" y="136"/>
                      <a:pt x="181" y="136"/>
                    </a:cubicBezTo>
                    <a:cubicBezTo>
                      <a:pt x="178" y="136"/>
                      <a:pt x="181" y="140"/>
                      <a:pt x="182" y="140"/>
                    </a:cubicBezTo>
                    <a:cubicBezTo>
                      <a:pt x="182" y="140"/>
                      <a:pt x="185" y="141"/>
                      <a:pt x="184" y="141"/>
                    </a:cubicBezTo>
                    <a:cubicBezTo>
                      <a:pt x="181" y="141"/>
                      <a:pt x="182" y="143"/>
                      <a:pt x="181" y="141"/>
                    </a:cubicBezTo>
                    <a:cubicBezTo>
                      <a:pt x="179" y="141"/>
                      <a:pt x="179" y="140"/>
                      <a:pt x="178" y="140"/>
                    </a:cubicBezTo>
                    <a:cubicBezTo>
                      <a:pt x="176" y="140"/>
                      <a:pt x="175" y="138"/>
                      <a:pt x="175" y="140"/>
                    </a:cubicBezTo>
                    <a:cubicBezTo>
                      <a:pt x="173" y="141"/>
                      <a:pt x="172" y="140"/>
                      <a:pt x="173" y="143"/>
                    </a:cubicBezTo>
                    <a:cubicBezTo>
                      <a:pt x="173" y="144"/>
                      <a:pt x="172" y="146"/>
                      <a:pt x="175" y="146"/>
                    </a:cubicBezTo>
                    <a:close/>
                    <a:moveTo>
                      <a:pt x="178" y="138"/>
                    </a:moveTo>
                    <a:cubicBezTo>
                      <a:pt x="178" y="136"/>
                      <a:pt x="179" y="136"/>
                      <a:pt x="179" y="138"/>
                    </a:cubicBezTo>
                    <a:cubicBezTo>
                      <a:pt x="179" y="138"/>
                      <a:pt x="178" y="140"/>
                      <a:pt x="178" y="138"/>
                    </a:cubicBezTo>
                    <a:close/>
                    <a:moveTo>
                      <a:pt x="195" y="141"/>
                    </a:moveTo>
                    <a:cubicBezTo>
                      <a:pt x="195" y="140"/>
                      <a:pt x="195" y="140"/>
                      <a:pt x="195" y="140"/>
                    </a:cubicBezTo>
                    <a:cubicBezTo>
                      <a:pt x="193" y="140"/>
                      <a:pt x="193" y="140"/>
                      <a:pt x="193" y="140"/>
                    </a:cubicBezTo>
                    <a:cubicBezTo>
                      <a:pt x="193" y="141"/>
                      <a:pt x="193" y="141"/>
                      <a:pt x="193" y="143"/>
                    </a:cubicBezTo>
                    <a:cubicBezTo>
                      <a:pt x="193" y="144"/>
                      <a:pt x="193" y="141"/>
                      <a:pt x="195" y="141"/>
                    </a:cubicBezTo>
                    <a:close/>
                    <a:moveTo>
                      <a:pt x="195" y="143"/>
                    </a:moveTo>
                    <a:cubicBezTo>
                      <a:pt x="195" y="144"/>
                      <a:pt x="195" y="141"/>
                      <a:pt x="196" y="141"/>
                    </a:cubicBezTo>
                    <a:cubicBezTo>
                      <a:pt x="196" y="141"/>
                      <a:pt x="196" y="143"/>
                      <a:pt x="195" y="143"/>
                    </a:cubicBezTo>
                    <a:close/>
                    <a:moveTo>
                      <a:pt x="199" y="143"/>
                    </a:moveTo>
                    <a:cubicBezTo>
                      <a:pt x="201" y="144"/>
                      <a:pt x="204" y="143"/>
                      <a:pt x="205" y="144"/>
                    </a:cubicBezTo>
                    <a:cubicBezTo>
                      <a:pt x="207" y="146"/>
                      <a:pt x="207" y="144"/>
                      <a:pt x="208" y="144"/>
                    </a:cubicBezTo>
                    <a:cubicBezTo>
                      <a:pt x="208" y="144"/>
                      <a:pt x="208" y="143"/>
                      <a:pt x="210" y="144"/>
                    </a:cubicBezTo>
                    <a:cubicBezTo>
                      <a:pt x="213" y="144"/>
                      <a:pt x="214" y="143"/>
                      <a:pt x="214" y="143"/>
                    </a:cubicBezTo>
                    <a:cubicBezTo>
                      <a:pt x="216" y="143"/>
                      <a:pt x="221" y="141"/>
                      <a:pt x="221" y="141"/>
                    </a:cubicBezTo>
                    <a:cubicBezTo>
                      <a:pt x="221" y="140"/>
                      <a:pt x="222" y="140"/>
                      <a:pt x="222" y="136"/>
                    </a:cubicBezTo>
                    <a:cubicBezTo>
                      <a:pt x="221" y="135"/>
                      <a:pt x="219" y="138"/>
                      <a:pt x="221" y="138"/>
                    </a:cubicBezTo>
                    <a:cubicBezTo>
                      <a:pt x="221" y="138"/>
                      <a:pt x="221" y="138"/>
                      <a:pt x="219" y="140"/>
                    </a:cubicBezTo>
                    <a:cubicBezTo>
                      <a:pt x="216" y="140"/>
                      <a:pt x="219" y="141"/>
                      <a:pt x="217" y="141"/>
                    </a:cubicBezTo>
                    <a:cubicBezTo>
                      <a:pt x="214" y="143"/>
                      <a:pt x="214" y="138"/>
                      <a:pt x="213" y="140"/>
                    </a:cubicBezTo>
                    <a:cubicBezTo>
                      <a:pt x="211" y="141"/>
                      <a:pt x="211" y="140"/>
                      <a:pt x="210" y="141"/>
                    </a:cubicBezTo>
                    <a:cubicBezTo>
                      <a:pt x="208" y="141"/>
                      <a:pt x="207" y="140"/>
                      <a:pt x="205" y="138"/>
                    </a:cubicBezTo>
                    <a:cubicBezTo>
                      <a:pt x="204" y="138"/>
                      <a:pt x="201" y="136"/>
                      <a:pt x="199" y="138"/>
                    </a:cubicBezTo>
                    <a:cubicBezTo>
                      <a:pt x="198" y="140"/>
                      <a:pt x="196" y="140"/>
                      <a:pt x="196" y="143"/>
                    </a:cubicBezTo>
                    <a:cubicBezTo>
                      <a:pt x="196" y="146"/>
                      <a:pt x="198" y="143"/>
                      <a:pt x="199" y="143"/>
                    </a:cubicBezTo>
                    <a:close/>
                    <a:moveTo>
                      <a:pt x="202" y="113"/>
                    </a:moveTo>
                    <a:cubicBezTo>
                      <a:pt x="202" y="115"/>
                      <a:pt x="202" y="122"/>
                      <a:pt x="202" y="119"/>
                    </a:cubicBezTo>
                    <a:cubicBezTo>
                      <a:pt x="201" y="118"/>
                      <a:pt x="202" y="113"/>
                      <a:pt x="202" y="113"/>
                    </a:cubicBezTo>
                    <a:close/>
                    <a:moveTo>
                      <a:pt x="222" y="140"/>
                    </a:moveTo>
                    <a:cubicBezTo>
                      <a:pt x="222" y="140"/>
                      <a:pt x="224" y="140"/>
                      <a:pt x="222" y="141"/>
                    </a:cubicBezTo>
                    <a:cubicBezTo>
                      <a:pt x="221" y="141"/>
                      <a:pt x="221" y="141"/>
                      <a:pt x="222" y="140"/>
                    </a:cubicBezTo>
                    <a:close/>
                    <a:moveTo>
                      <a:pt x="224" y="140"/>
                    </a:moveTo>
                    <a:cubicBezTo>
                      <a:pt x="224" y="140"/>
                      <a:pt x="224" y="140"/>
                      <a:pt x="225" y="138"/>
                    </a:cubicBezTo>
                    <a:cubicBezTo>
                      <a:pt x="225" y="138"/>
                      <a:pt x="224" y="138"/>
                      <a:pt x="222" y="138"/>
                    </a:cubicBezTo>
                    <a:cubicBezTo>
                      <a:pt x="222" y="140"/>
                      <a:pt x="222" y="140"/>
                      <a:pt x="224" y="140"/>
                    </a:cubicBezTo>
                    <a:close/>
                    <a:moveTo>
                      <a:pt x="225" y="141"/>
                    </a:moveTo>
                    <a:cubicBezTo>
                      <a:pt x="228" y="141"/>
                      <a:pt x="225" y="140"/>
                      <a:pt x="227" y="140"/>
                    </a:cubicBezTo>
                    <a:cubicBezTo>
                      <a:pt x="228" y="140"/>
                      <a:pt x="227" y="140"/>
                      <a:pt x="228" y="138"/>
                    </a:cubicBezTo>
                    <a:cubicBezTo>
                      <a:pt x="230" y="138"/>
                      <a:pt x="230" y="138"/>
                      <a:pt x="228" y="138"/>
                    </a:cubicBezTo>
                    <a:cubicBezTo>
                      <a:pt x="227" y="138"/>
                      <a:pt x="225" y="138"/>
                      <a:pt x="225" y="138"/>
                    </a:cubicBezTo>
                    <a:cubicBezTo>
                      <a:pt x="225" y="140"/>
                      <a:pt x="225" y="140"/>
                      <a:pt x="224" y="140"/>
                    </a:cubicBezTo>
                    <a:cubicBezTo>
                      <a:pt x="222" y="141"/>
                      <a:pt x="224" y="141"/>
                      <a:pt x="225" y="141"/>
                    </a:cubicBezTo>
                    <a:close/>
                    <a:moveTo>
                      <a:pt x="231" y="140"/>
                    </a:moveTo>
                    <a:cubicBezTo>
                      <a:pt x="233" y="138"/>
                      <a:pt x="233" y="136"/>
                      <a:pt x="231" y="138"/>
                    </a:cubicBezTo>
                    <a:cubicBezTo>
                      <a:pt x="230" y="140"/>
                      <a:pt x="230" y="136"/>
                      <a:pt x="230" y="140"/>
                    </a:cubicBezTo>
                    <a:cubicBezTo>
                      <a:pt x="230" y="140"/>
                      <a:pt x="230" y="141"/>
                      <a:pt x="231" y="140"/>
                    </a:cubicBezTo>
                    <a:close/>
                    <a:moveTo>
                      <a:pt x="237" y="140"/>
                    </a:moveTo>
                    <a:cubicBezTo>
                      <a:pt x="240" y="140"/>
                      <a:pt x="239" y="136"/>
                      <a:pt x="236" y="136"/>
                    </a:cubicBezTo>
                    <a:cubicBezTo>
                      <a:pt x="233" y="138"/>
                      <a:pt x="234" y="135"/>
                      <a:pt x="233" y="138"/>
                    </a:cubicBezTo>
                    <a:cubicBezTo>
                      <a:pt x="231" y="141"/>
                      <a:pt x="234" y="140"/>
                      <a:pt x="237" y="140"/>
                    </a:cubicBezTo>
                    <a:close/>
                    <a:moveTo>
                      <a:pt x="196" y="153"/>
                    </a:moveTo>
                    <a:cubicBezTo>
                      <a:pt x="199" y="155"/>
                      <a:pt x="199" y="158"/>
                      <a:pt x="199" y="157"/>
                    </a:cubicBezTo>
                    <a:cubicBezTo>
                      <a:pt x="201" y="157"/>
                      <a:pt x="201" y="158"/>
                      <a:pt x="202" y="158"/>
                    </a:cubicBezTo>
                    <a:cubicBezTo>
                      <a:pt x="202" y="157"/>
                      <a:pt x="204" y="157"/>
                      <a:pt x="204" y="157"/>
                    </a:cubicBezTo>
                    <a:cubicBezTo>
                      <a:pt x="205" y="155"/>
                      <a:pt x="202" y="152"/>
                      <a:pt x="201" y="152"/>
                    </a:cubicBezTo>
                    <a:cubicBezTo>
                      <a:pt x="199" y="150"/>
                      <a:pt x="201" y="150"/>
                      <a:pt x="199" y="149"/>
                    </a:cubicBezTo>
                    <a:cubicBezTo>
                      <a:pt x="198" y="147"/>
                      <a:pt x="196" y="149"/>
                      <a:pt x="195" y="149"/>
                    </a:cubicBezTo>
                    <a:cubicBezTo>
                      <a:pt x="195" y="149"/>
                      <a:pt x="190" y="147"/>
                      <a:pt x="190" y="150"/>
                    </a:cubicBezTo>
                    <a:cubicBezTo>
                      <a:pt x="190" y="153"/>
                      <a:pt x="193" y="152"/>
                      <a:pt x="196" y="153"/>
                    </a:cubicBezTo>
                    <a:close/>
                    <a:moveTo>
                      <a:pt x="225" y="161"/>
                    </a:moveTo>
                    <a:cubicBezTo>
                      <a:pt x="225" y="161"/>
                      <a:pt x="225" y="158"/>
                      <a:pt x="224" y="161"/>
                    </a:cubicBezTo>
                    <a:cubicBezTo>
                      <a:pt x="222" y="163"/>
                      <a:pt x="221" y="161"/>
                      <a:pt x="221" y="163"/>
                    </a:cubicBezTo>
                    <a:cubicBezTo>
                      <a:pt x="221" y="164"/>
                      <a:pt x="224" y="163"/>
                      <a:pt x="225" y="161"/>
                    </a:cubicBezTo>
                    <a:close/>
                    <a:moveTo>
                      <a:pt x="231" y="157"/>
                    </a:moveTo>
                    <a:cubicBezTo>
                      <a:pt x="233" y="157"/>
                      <a:pt x="233" y="157"/>
                      <a:pt x="236" y="153"/>
                    </a:cubicBezTo>
                    <a:cubicBezTo>
                      <a:pt x="237" y="150"/>
                      <a:pt x="237" y="150"/>
                      <a:pt x="240" y="149"/>
                    </a:cubicBezTo>
                    <a:cubicBezTo>
                      <a:pt x="243" y="146"/>
                      <a:pt x="245" y="147"/>
                      <a:pt x="246" y="146"/>
                    </a:cubicBezTo>
                    <a:cubicBezTo>
                      <a:pt x="246" y="144"/>
                      <a:pt x="248" y="146"/>
                      <a:pt x="249" y="144"/>
                    </a:cubicBezTo>
                    <a:cubicBezTo>
                      <a:pt x="251" y="141"/>
                      <a:pt x="253" y="143"/>
                      <a:pt x="254" y="141"/>
                    </a:cubicBezTo>
                    <a:cubicBezTo>
                      <a:pt x="256" y="140"/>
                      <a:pt x="257" y="140"/>
                      <a:pt x="256" y="138"/>
                    </a:cubicBezTo>
                    <a:cubicBezTo>
                      <a:pt x="253" y="138"/>
                      <a:pt x="251" y="140"/>
                      <a:pt x="249" y="140"/>
                    </a:cubicBezTo>
                    <a:cubicBezTo>
                      <a:pt x="248" y="140"/>
                      <a:pt x="246" y="141"/>
                      <a:pt x="245" y="140"/>
                    </a:cubicBezTo>
                    <a:cubicBezTo>
                      <a:pt x="245" y="140"/>
                      <a:pt x="243" y="140"/>
                      <a:pt x="240" y="141"/>
                    </a:cubicBezTo>
                    <a:cubicBezTo>
                      <a:pt x="237" y="143"/>
                      <a:pt x="239" y="143"/>
                      <a:pt x="236" y="146"/>
                    </a:cubicBezTo>
                    <a:cubicBezTo>
                      <a:pt x="233" y="147"/>
                      <a:pt x="233" y="146"/>
                      <a:pt x="230" y="149"/>
                    </a:cubicBezTo>
                    <a:cubicBezTo>
                      <a:pt x="227" y="150"/>
                      <a:pt x="227" y="152"/>
                      <a:pt x="227" y="153"/>
                    </a:cubicBezTo>
                    <a:cubicBezTo>
                      <a:pt x="225" y="155"/>
                      <a:pt x="228" y="155"/>
                      <a:pt x="227" y="157"/>
                    </a:cubicBezTo>
                    <a:cubicBezTo>
                      <a:pt x="225" y="157"/>
                      <a:pt x="224" y="158"/>
                      <a:pt x="227" y="158"/>
                    </a:cubicBezTo>
                    <a:cubicBezTo>
                      <a:pt x="230" y="160"/>
                      <a:pt x="230" y="157"/>
                      <a:pt x="231" y="157"/>
                    </a:cubicBezTo>
                    <a:close/>
                    <a:moveTo>
                      <a:pt x="201" y="112"/>
                    </a:moveTo>
                    <a:cubicBezTo>
                      <a:pt x="204" y="112"/>
                      <a:pt x="199" y="107"/>
                      <a:pt x="201" y="104"/>
                    </a:cubicBezTo>
                    <a:cubicBezTo>
                      <a:pt x="202" y="102"/>
                      <a:pt x="201" y="97"/>
                      <a:pt x="201" y="91"/>
                    </a:cubicBezTo>
                    <a:cubicBezTo>
                      <a:pt x="202" y="85"/>
                      <a:pt x="198" y="88"/>
                      <a:pt x="202" y="84"/>
                    </a:cubicBezTo>
                    <a:cubicBezTo>
                      <a:pt x="207" y="80"/>
                      <a:pt x="208" y="85"/>
                      <a:pt x="205" y="88"/>
                    </a:cubicBezTo>
                    <a:cubicBezTo>
                      <a:pt x="204" y="93"/>
                      <a:pt x="207" y="93"/>
                      <a:pt x="208" y="96"/>
                    </a:cubicBezTo>
                    <a:cubicBezTo>
                      <a:pt x="211" y="99"/>
                      <a:pt x="207" y="105"/>
                      <a:pt x="213" y="105"/>
                    </a:cubicBezTo>
                    <a:cubicBezTo>
                      <a:pt x="216" y="105"/>
                      <a:pt x="213" y="102"/>
                      <a:pt x="216" y="101"/>
                    </a:cubicBezTo>
                    <a:cubicBezTo>
                      <a:pt x="219" y="99"/>
                      <a:pt x="219" y="102"/>
                      <a:pt x="221" y="99"/>
                    </a:cubicBezTo>
                    <a:cubicBezTo>
                      <a:pt x="222" y="94"/>
                      <a:pt x="214" y="94"/>
                      <a:pt x="216" y="91"/>
                    </a:cubicBezTo>
                    <a:cubicBezTo>
                      <a:pt x="219" y="88"/>
                      <a:pt x="214" y="82"/>
                      <a:pt x="211" y="79"/>
                    </a:cubicBezTo>
                    <a:cubicBezTo>
                      <a:pt x="207" y="74"/>
                      <a:pt x="216" y="74"/>
                      <a:pt x="219" y="68"/>
                    </a:cubicBezTo>
                    <a:cubicBezTo>
                      <a:pt x="222" y="62"/>
                      <a:pt x="224" y="70"/>
                      <a:pt x="225" y="67"/>
                    </a:cubicBezTo>
                    <a:cubicBezTo>
                      <a:pt x="227" y="65"/>
                      <a:pt x="227" y="63"/>
                      <a:pt x="221" y="63"/>
                    </a:cubicBezTo>
                    <a:cubicBezTo>
                      <a:pt x="214" y="63"/>
                      <a:pt x="216" y="67"/>
                      <a:pt x="211" y="67"/>
                    </a:cubicBezTo>
                    <a:cubicBezTo>
                      <a:pt x="207" y="65"/>
                      <a:pt x="208" y="71"/>
                      <a:pt x="204" y="71"/>
                    </a:cubicBezTo>
                    <a:cubicBezTo>
                      <a:pt x="201" y="70"/>
                      <a:pt x="204" y="68"/>
                      <a:pt x="201" y="65"/>
                    </a:cubicBezTo>
                    <a:cubicBezTo>
                      <a:pt x="196" y="63"/>
                      <a:pt x="199" y="49"/>
                      <a:pt x="204" y="52"/>
                    </a:cubicBezTo>
                    <a:cubicBezTo>
                      <a:pt x="207" y="54"/>
                      <a:pt x="210" y="52"/>
                      <a:pt x="211" y="52"/>
                    </a:cubicBezTo>
                    <a:cubicBezTo>
                      <a:pt x="214" y="54"/>
                      <a:pt x="222" y="51"/>
                      <a:pt x="224" y="52"/>
                    </a:cubicBezTo>
                    <a:cubicBezTo>
                      <a:pt x="224" y="54"/>
                      <a:pt x="231" y="56"/>
                      <a:pt x="234" y="51"/>
                    </a:cubicBezTo>
                    <a:cubicBezTo>
                      <a:pt x="237" y="46"/>
                      <a:pt x="240" y="43"/>
                      <a:pt x="239" y="42"/>
                    </a:cubicBezTo>
                    <a:cubicBezTo>
                      <a:pt x="237" y="39"/>
                      <a:pt x="234" y="43"/>
                      <a:pt x="231" y="48"/>
                    </a:cubicBezTo>
                    <a:cubicBezTo>
                      <a:pt x="230" y="51"/>
                      <a:pt x="222" y="46"/>
                      <a:pt x="221" y="48"/>
                    </a:cubicBezTo>
                    <a:cubicBezTo>
                      <a:pt x="221" y="49"/>
                      <a:pt x="217" y="46"/>
                      <a:pt x="213" y="46"/>
                    </a:cubicBezTo>
                    <a:cubicBezTo>
                      <a:pt x="208" y="48"/>
                      <a:pt x="211" y="45"/>
                      <a:pt x="208" y="45"/>
                    </a:cubicBezTo>
                    <a:cubicBezTo>
                      <a:pt x="207" y="45"/>
                      <a:pt x="205" y="43"/>
                      <a:pt x="204" y="45"/>
                    </a:cubicBezTo>
                    <a:cubicBezTo>
                      <a:pt x="204" y="46"/>
                      <a:pt x="202" y="51"/>
                      <a:pt x="201" y="48"/>
                    </a:cubicBezTo>
                    <a:cubicBezTo>
                      <a:pt x="199" y="46"/>
                      <a:pt x="199" y="51"/>
                      <a:pt x="198" y="52"/>
                    </a:cubicBezTo>
                    <a:cubicBezTo>
                      <a:pt x="195" y="56"/>
                      <a:pt x="198" y="57"/>
                      <a:pt x="196" y="57"/>
                    </a:cubicBezTo>
                    <a:cubicBezTo>
                      <a:pt x="193" y="59"/>
                      <a:pt x="196" y="59"/>
                      <a:pt x="196" y="62"/>
                    </a:cubicBezTo>
                    <a:cubicBezTo>
                      <a:pt x="195" y="65"/>
                      <a:pt x="192" y="67"/>
                      <a:pt x="193" y="73"/>
                    </a:cubicBezTo>
                    <a:cubicBezTo>
                      <a:pt x="193" y="79"/>
                      <a:pt x="192" y="74"/>
                      <a:pt x="192" y="79"/>
                    </a:cubicBezTo>
                    <a:cubicBezTo>
                      <a:pt x="192" y="85"/>
                      <a:pt x="187" y="82"/>
                      <a:pt x="189" y="85"/>
                    </a:cubicBezTo>
                    <a:cubicBezTo>
                      <a:pt x="190" y="88"/>
                      <a:pt x="187" y="85"/>
                      <a:pt x="189" y="90"/>
                    </a:cubicBezTo>
                    <a:cubicBezTo>
                      <a:pt x="190" y="94"/>
                      <a:pt x="192" y="88"/>
                      <a:pt x="195" y="93"/>
                    </a:cubicBezTo>
                    <a:cubicBezTo>
                      <a:pt x="198" y="99"/>
                      <a:pt x="192" y="107"/>
                      <a:pt x="195" y="112"/>
                    </a:cubicBezTo>
                    <a:cubicBezTo>
                      <a:pt x="196" y="115"/>
                      <a:pt x="198" y="112"/>
                      <a:pt x="201" y="112"/>
                    </a:cubicBezTo>
                    <a:close/>
                    <a:moveTo>
                      <a:pt x="251" y="94"/>
                    </a:moveTo>
                    <a:cubicBezTo>
                      <a:pt x="253" y="96"/>
                      <a:pt x="257" y="91"/>
                      <a:pt x="254" y="88"/>
                    </a:cubicBezTo>
                    <a:cubicBezTo>
                      <a:pt x="253" y="85"/>
                      <a:pt x="246" y="85"/>
                      <a:pt x="246" y="88"/>
                    </a:cubicBezTo>
                    <a:cubicBezTo>
                      <a:pt x="245" y="90"/>
                      <a:pt x="248" y="93"/>
                      <a:pt x="251" y="94"/>
                    </a:cubicBezTo>
                    <a:close/>
                    <a:moveTo>
                      <a:pt x="263" y="88"/>
                    </a:moveTo>
                    <a:cubicBezTo>
                      <a:pt x="263" y="87"/>
                      <a:pt x="265" y="91"/>
                      <a:pt x="268" y="90"/>
                    </a:cubicBezTo>
                    <a:cubicBezTo>
                      <a:pt x="271" y="87"/>
                      <a:pt x="274" y="91"/>
                      <a:pt x="274" y="90"/>
                    </a:cubicBezTo>
                    <a:cubicBezTo>
                      <a:pt x="274" y="88"/>
                      <a:pt x="278" y="91"/>
                      <a:pt x="281" y="94"/>
                    </a:cubicBezTo>
                    <a:cubicBezTo>
                      <a:pt x="286" y="96"/>
                      <a:pt x="286" y="93"/>
                      <a:pt x="283" y="88"/>
                    </a:cubicBezTo>
                    <a:cubicBezTo>
                      <a:pt x="280" y="84"/>
                      <a:pt x="280" y="88"/>
                      <a:pt x="275" y="85"/>
                    </a:cubicBezTo>
                    <a:cubicBezTo>
                      <a:pt x="272" y="82"/>
                      <a:pt x="274" y="85"/>
                      <a:pt x="269" y="85"/>
                    </a:cubicBezTo>
                    <a:cubicBezTo>
                      <a:pt x="263" y="84"/>
                      <a:pt x="260" y="87"/>
                      <a:pt x="260" y="90"/>
                    </a:cubicBezTo>
                    <a:cubicBezTo>
                      <a:pt x="262" y="94"/>
                      <a:pt x="262" y="88"/>
                      <a:pt x="263" y="88"/>
                    </a:cubicBezTo>
                    <a:close/>
                    <a:moveTo>
                      <a:pt x="233" y="76"/>
                    </a:moveTo>
                    <a:cubicBezTo>
                      <a:pt x="233" y="71"/>
                      <a:pt x="240" y="74"/>
                      <a:pt x="240" y="74"/>
                    </a:cubicBezTo>
                    <a:cubicBezTo>
                      <a:pt x="240" y="76"/>
                      <a:pt x="233" y="77"/>
                      <a:pt x="233" y="76"/>
                    </a:cubicBezTo>
                    <a:close/>
                    <a:moveTo>
                      <a:pt x="240" y="76"/>
                    </a:moveTo>
                    <a:cubicBezTo>
                      <a:pt x="242" y="73"/>
                      <a:pt x="251" y="74"/>
                      <a:pt x="248" y="74"/>
                    </a:cubicBezTo>
                    <a:cubicBezTo>
                      <a:pt x="246" y="76"/>
                      <a:pt x="240" y="77"/>
                      <a:pt x="240" y="76"/>
                    </a:cubicBezTo>
                    <a:close/>
                    <a:moveTo>
                      <a:pt x="259" y="74"/>
                    </a:moveTo>
                    <a:cubicBezTo>
                      <a:pt x="262" y="73"/>
                      <a:pt x="265" y="74"/>
                      <a:pt x="262" y="71"/>
                    </a:cubicBezTo>
                    <a:cubicBezTo>
                      <a:pt x="259" y="70"/>
                      <a:pt x="257" y="70"/>
                      <a:pt x="257" y="73"/>
                    </a:cubicBezTo>
                    <a:cubicBezTo>
                      <a:pt x="257" y="74"/>
                      <a:pt x="257" y="74"/>
                      <a:pt x="259" y="74"/>
                    </a:cubicBezTo>
                    <a:close/>
                    <a:moveTo>
                      <a:pt x="275" y="76"/>
                    </a:moveTo>
                    <a:cubicBezTo>
                      <a:pt x="277" y="77"/>
                      <a:pt x="280" y="79"/>
                      <a:pt x="280" y="76"/>
                    </a:cubicBezTo>
                    <a:cubicBezTo>
                      <a:pt x="281" y="74"/>
                      <a:pt x="280" y="73"/>
                      <a:pt x="277" y="74"/>
                    </a:cubicBezTo>
                    <a:cubicBezTo>
                      <a:pt x="275" y="74"/>
                      <a:pt x="274" y="76"/>
                      <a:pt x="275" y="76"/>
                    </a:cubicBezTo>
                    <a:close/>
                    <a:moveTo>
                      <a:pt x="285" y="67"/>
                    </a:moveTo>
                    <a:cubicBezTo>
                      <a:pt x="285" y="65"/>
                      <a:pt x="281" y="67"/>
                      <a:pt x="281" y="67"/>
                    </a:cubicBezTo>
                    <a:cubicBezTo>
                      <a:pt x="283" y="68"/>
                      <a:pt x="283" y="68"/>
                      <a:pt x="285" y="70"/>
                    </a:cubicBezTo>
                    <a:cubicBezTo>
                      <a:pt x="285" y="71"/>
                      <a:pt x="286" y="67"/>
                      <a:pt x="285" y="67"/>
                    </a:cubicBezTo>
                    <a:close/>
                    <a:moveTo>
                      <a:pt x="285" y="59"/>
                    </a:moveTo>
                    <a:cubicBezTo>
                      <a:pt x="285" y="59"/>
                      <a:pt x="286" y="62"/>
                      <a:pt x="288" y="60"/>
                    </a:cubicBezTo>
                    <a:cubicBezTo>
                      <a:pt x="289" y="60"/>
                      <a:pt x="286" y="57"/>
                      <a:pt x="283" y="57"/>
                    </a:cubicBezTo>
                    <a:cubicBezTo>
                      <a:pt x="280" y="59"/>
                      <a:pt x="278" y="59"/>
                      <a:pt x="280" y="60"/>
                    </a:cubicBezTo>
                    <a:cubicBezTo>
                      <a:pt x="281" y="60"/>
                      <a:pt x="283" y="62"/>
                      <a:pt x="285" y="62"/>
                    </a:cubicBezTo>
                    <a:cubicBezTo>
                      <a:pt x="286" y="60"/>
                      <a:pt x="283" y="59"/>
                      <a:pt x="285" y="59"/>
                    </a:cubicBezTo>
                    <a:close/>
                    <a:moveTo>
                      <a:pt x="263" y="63"/>
                    </a:moveTo>
                    <a:cubicBezTo>
                      <a:pt x="262" y="60"/>
                      <a:pt x="260" y="57"/>
                      <a:pt x="260" y="54"/>
                    </a:cubicBezTo>
                    <a:cubicBezTo>
                      <a:pt x="262" y="52"/>
                      <a:pt x="263" y="52"/>
                      <a:pt x="266" y="54"/>
                    </a:cubicBezTo>
                    <a:cubicBezTo>
                      <a:pt x="269" y="56"/>
                      <a:pt x="268" y="52"/>
                      <a:pt x="265" y="51"/>
                    </a:cubicBezTo>
                    <a:cubicBezTo>
                      <a:pt x="262" y="49"/>
                      <a:pt x="265" y="48"/>
                      <a:pt x="266" y="48"/>
                    </a:cubicBezTo>
                    <a:cubicBezTo>
                      <a:pt x="268" y="46"/>
                      <a:pt x="268" y="42"/>
                      <a:pt x="265" y="42"/>
                    </a:cubicBezTo>
                    <a:cubicBezTo>
                      <a:pt x="262" y="43"/>
                      <a:pt x="260" y="51"/>
                      <a:pt x="260" y="49"/>
                    </a:cubicBezTo>
                    <a:cubicBezTo>
                      <a:pt x="259" y="46"/>
                      <a:pt x="260" y="48"/>
                      <a:pt x="262" y="43"/>
                    </a:cubicBezTo>
                    <a:cubicBezTo>
                      <a:pt x="263" y="40"/>
                      <a:pt x="260" y="40"/>
                      <a:pt x="260" y="39"/>
                    </a:cubicBezTo>
                    <a:cubicBezTo>
                      <a:pt x="262" y="37"/>
                      <a:pt x="263" y="34"/>
                      <a:pt x="260" y="35"/>
                    </a:cubicBezTo>
                    <a:cubicBezTo>
                      <a:pt x="257" y="39"/>
                      <a:pt x="257" y="45"/>
                      <a:pt x="257" y="48"/>
                    </a:cubicBezTo>
                    <a:cubicBezTo>
                      <a:pt x="259" y="49"/>
                      <a:pt x="257" y="51"/>
                      <a:pt x="259" y="52"/>
                    </a:cubicBezTo>
                    <a:cubicBezTo>
                      <a:pt x="260" y="56"/>
                      <a:pt x="257" y="57"/>
                      <a:pt x="260" y="60"/>
                    </a:cubicBezTo>
                    <a:cubicBezTo>
                      <a:pt x="262" y="63"/>
                      <a:pt x="263" y="67"/>
                      <a:pt x="265" y="67"/>
                    </a:cubicBezTo>
                    <a:cubicBezTo>
                      <a:pt x="265" y="65"/>
                      <a:pt x="265" y="65"/>
                      <a:pt x="263" y="63"/>
                    </a:cubicBezTo>
                    <a:close/>
                    <a:moveTo>
                      <a:pt x="263" y="37"/>
                    </a:moveTo>
                    <a:cubicBezTo>
                      <a:pt x="263" y="34"/>
                      <a:pt x="265" y="29"/>
                      <a:pt x="266" y="32"/>
                    </a:cubicBezTo>
                    <a:cubicBezTo>
                      <a:pt x="268" y="34"/>
                      <a:pt x="263" y="40"/>
                      <a:pt x="263" y="37"/>
                    </a:cubicBezTo>
                    <a:close/>
                    <a:moveTo>
                      <a:pt x="213" y="110"/>
                    </a:moveTo>
                    <a:cubicBezTo>
                      <a:pt x="213" y="108"/>
                      <a:pt x="213" y="105"/>
                      <a:pt x="213" y="107"/>
                    </a:cubicBezTo>
                    <a:cubicBezTo>
                      <a:pt x="214" y="110"/>
                      <a:pt x="214" y="112"/>
                      <a:pt x="213" y="110"/>
                    </a:cubicBezTo>
                    <a:close/>
                    <a:moveTo>
                      <a:pt x="219" y="108"/>
                    </a:moveTo>
                    <a:cubicBezTo>
                      <a:pt x="219" y="107"/>
                      <a:pt x="219" y="105"/>
                      <a:pt x="219" y="104"/>
                    </a:cubicBezTo>
                    <a:cubicBezTo>
                      <a:pt x="221" y="101"/>
                      <a:pt x="216" y="102"/>
                      <a:pt x="216" y="105"/>
                    </a:cubicBezTo>
                    <a:cubicBezTo>
                      <a:pt x="217" y="107"/>
                      <a:pt x="214" y="112"/>
                      <a:pt x="217" y="110"/>
                    </a:cubicBezTo>
                    <a:cubicBezTo>
                      <a:pt x="219" y="108"/>
                      <a:pt x="219" y="108"/>
                      <a:pt x="219" y="108"/>
                    </a:cubicBezTo>
                    <a:close/>
                    <a:moveTo>
                      <a:pt x="221" y="112"/>
                    </a:moveTo>
                    <a:cubicBezTo>
                      <a:pt x="222" y="108"/>
                      <a:pt x="225" y="112"/>
                      <a:pt x="222" y="108"/>
                    </a:cubicBezTo>
                    <a:cubicBezTo>
                      <a:pt x="219" y="104"/>
                      <a:pt x="225" y="105"/>
                      <a:pt x="224" y="101"/>
                    </a:cubicBezTo>
                    <a:cubicBezTo>
                      <a:pt x="222" y="97"/>
                      <a:pt x="221" y="102"/>
                      <a:pt x="221" y="107"/>
                    </a:cubicBezTo>
                    <a:cubicBezTo>
                      <a:pt x="221" y="112"/>
                      <a:pt x="216" y="112"/>
                      <a:pt x="219" y="113"/>
                    </a:cubicBezTo>
                    <a:cubicBezTo>
                      <a:pt x="221" y="113"/>
                      <a:pt x="221" y="113"/>
                      <a:pt x="221" y="112"/>
                    </a:cubicBezTo>
                    <a:close/>
                    <a:moveTo>
                      <a:pt x="221" y="73"/>
                    </a:moveTo>
                    <a:cubicBezTo>
                      <a:pt x="221" y="70"/>
                      <a:pt x="221" y="68"/>
                      <a:pt x="222" y="68"/>
                    </a:cubicBezTo>
                    <a:cubicBezTo>
                      <a:pt x="224" y="68"/>
                      <a:pt x="221" y="73"/>
                      <a:pt x="221" y="73"/>
                    </a:cubicBezTo>
                    <a:close/>
                    <a:moveTo>
                      <a:pt x="225" y="70"/>
                    </a:moveTo>
                    <a:cubicBezTo>
                      <a:pt x="227" y="68"/>
                      <a:pt x="227" y="71"/>
                      <a:pt x="225" y="71"/>
                    </a:cubicBezTo>
                    <a:cubicBezTo>
                      <a:pt x="225" y="73"/>
                      <a:pt x="224" y="70"/>
                      <a:pt x="225" y="70"/>
                    </a:cubicBezTo>
                    <a:close/>
                    <a:moveTo>
                      <a:pt x="257" y="63"/>
                    </a:moveTo>
                    <a:cubicBezTo>
                      <a:pt x="257" y="65"/>
                      <a:pt x="259" y="65"/>
                      <a:pt x="259" y="62"/>
                    </a:cubicBezTo>
                    <a:cubicBezTo>
                      <a:pt x="259" y="60"/>
                      <a:pt x="257" y="59"/>
                      <a:pt x="257" y="60"/>
                    </a:cubicBezTo>
                    <a:cubicBezTo>
                      <a:pt x="256" y="62"/>
                      <a:pt x="256" y="62"/>
                      <a:pt x="257" y="63"/>
                    </a:cubicBezTo>
                    <a:close/>
                    <a:moveTo>
                      <a:pt x="288" y="135"/>
                    </a:moveTo>
                    <a:cubicBezTo>
                      <a:pt x="285" y="136"/>
                      <a:pt x="289" y="125"/>
                      <a:pt x="291" y="129"/>
                    </a:cubicBezTo>
                    <a:cubicBezTo>
                      <a:pt x="291" y="130"/>
                      <a:pt x="291" y="133"/>
                      <a:pt x="288" y="135"/>
                    </a:cubicBezTo>
                    <a:close/>
                    <a:moveTo>
                      <a:pt x="310" y="124"/>
                    </a:moveTo>
                    <a:cubicBezTo>
                      <a:pt x="309" y="125"/>
                      <a:pt x="309" y="115"/>
                      <a:pt x="312" y="119"/>
                    </a:cubicBezTo>
                    <a:cubicBezTo>
                      <a:pt x="313" y="122"/>
                      <a:pt x="313" y="124"/>
                      <a:pt x="310" y="124"/>
                    </a:cubicBezTo>
                    <a:close/>
                    <a:moveTo>
                      <a:pt x="245" y="133"/>
                    </a:moveTo>
                    <a:cubicBezTo>
                      <a:pt x="246" y="132"/>
                      <a:pt x="253" y="130"/>
                      <a:pt x="253" y="132"/>
                    </a:cubicBezTo>
                    <a:cubicBezTo>
                      <a:pt x="253" y="133"/>
                      <a:pt x="242" y="135"/>
                      <a:pt x="245" y="133"/>
                    </a:cubicBezTo>
                    <a:close/>
                    <a:moveTo>
                      <a:pt x="169" y="94"/>
                    </a:moveTo>
                    <a:cubicBezTo>
                      <a:pt x="169" y="91"/>
                      <a:pt x="169" y="88"/>
                      <a:pt x="167" y="90"/>
                    </a:cubicBezTo>
                    <a:cubicBezTo>
                      <a:pt x="166" y="91"/>
                      <a:pt x="167" y="93"/>
                      <a:pt x="167" y="96"/>
                    </a:cubicBezTo>
                    <a:cubicBezTo>
                      <a:pt x="166" y="97"/>
                      <a:pt x="167" y="97"/>
                      <a:pt x="169" y="94"/>
                    </a:cubicBezTo>
                    <a:close/>
                    <a:moveTo>
                      <a:pt x="100" y="88"/>
                    </a:moveTo>
                    <a:cubicBezTo>
                      <a:pt x="102" y="87"/>
                      <a:pt x="103" y="90"/>
                      <a:pt x="105" y="87"/>
                    </a:cubicBezTo>
                    <a:cubicBezTo>
                      <a:pt x="106" y="85"/>
                      <a:pt x="105" y="84"/>
                      <a:pt x="102" y="82"/>
                    </a:cubicBezTo>
                    <a:cubicBezTo>
                      <a:pt x="99" y="80"/>
                      <a:pt x="99" y="85"/>
                      <a:pt x="99" y="88"/>
                    </a:cubicBezTo>
                    <a:cubicBezTo>
                      <a:pt x="100" y="88"/>
                      <a:pt x="100" y="90"/>
                      <a:pt x="100" y="88"/>
                    </a:cubicBezTo>
                    <a:close/>
                    <a:moveTo>
                      <a:pt x="83" y="77"/>
                    </a:moveTo>
                    <a:cubicBezTo>
                      <a:pt x="86" y="77"/>
                      <a:pt x="85" y="84"/>
                      <a:pt x="88" y="85"/>
                    </a:cubicBezTo>
                    <a:cubicBezTo>
                      <a:pt x="90" y="87"/>
                      <a:pt x="90" y="88"/>
                      <a:pt x="93" y="87"/>
                    </a:cubicBezTo>
                    <a:cubicBezTo>
                      <a:pt x="94" y="87"/>
                      <a:pt x="91" y="85"/>
                      <a:pt x="91" y="84"/>
                    </a:cubicBezTo>
                    <a:cubicBezTo>
                      <a:pt x="93" y="82"/>
                      <a:pt x="93" y="82"/>
                      <a:pt x="90" y="82"/>
                    </a:cubicBezTo>
                    <a:cubicBezTo>
                      <a:pt x="86" y="80"/>
                      <a:pt x="90" y="71"/>
                      <a:pt x="83" y="71"/>
                    </a:cubicBezTo>
                    <a:cubicBezTo>
                      <a:pt x="80" y="73"/>
                      <a:pt x="82" y="74"/>
                      <a:pt x="80" y="76"/>
                    </a:cubicBezTo>
                    <a:cubicBezTo>
                      <a:pt x="77" y="77"/>
                      <a:pt x="82" y="77"/>
                      <a:pt x="83" y="77"/>
                    </a:cubicBezTo>
                    <a:close/>
                    <a:moveTo>
                      <a:pt x="105" y="15"/>
                    </a:moveTo>
                    <a:cubicBezTo>
                      <a:pt x="105" y="15"/>
                      <a:pt x="102" y="18"/>
                      <a:pt x="103" y="20"/>
                    </a:cubicBezTo>
                    <a:cubicBezTo>
                      <a:pt x="105" y="20"/>
                      <a:pt x="102" y="21"/>
                      <a:pt x="103" y="21"/>
                    </a:cubicBezTo>
                    <a:cubicBezTo>
                      <a:pt x="106" y="23"/>
                      <a:pt x="105" y="17"/>
                      <a:pt x="105" y="15"/>
                    </a:cubicBezTo>
                    <a:close/>
                    <a:moveTo>
                      <a:pt x="9" y="32"/>
                    </a:moveTo>
                    <a:cubicBezTo>
                      <a:pt x="10" y="34"/>
                      <a:pt x="12" y="35"/>
                      <a:pt x="12" y="34"/>
                    </a:cubicBezTo>
                    <a:cubicBezTo>
                      <a:pt x="10" y="32"/>
                      <a:pt x="7" y="28"/>
                      <a:pt x="6" y="29"/>
                    </a:cubicBezTo>
                    <a:cubicBezTo>
                      <a:pt x="6" y="31"/>
                      <a:pt x="6" y="32"/>
                      <a:pt x="9" y="32"/>
                    </a:cubicBezTo>
                    <a:close/>
                    <a:moveTo>
                      <a:pt x="21" y="51"/>
                    </a:moveTo>
                    <a:cubicBezTo>
                      <a:pt x="22" y="54"/>
                      <a:pt x="24" y="48"/>
                      <a:pt x="22" y="46"/>
                    </a:cubicBezTo>
                    <a:cubicBezTo>
                      <a:pt x="19" y="45"/>
                      <a:pt x="19" y="42"/>
                      <a:pt x="16" y="42"/>
                    </a:cubicBezTo>
                    <a:cubicBezTo>
                      <a:pt x="15" y="43"/>
                      <a:pt x="18" y="46"/>
                      <a:pt x="21" y="51"/>
                    </a:cubicBezTo>
                    <a:close/>
                    <a:moveTo>
                      <a:pt x="29" y="67"/>
                    </a:moveTo>
                    <a:cubicBezTo>
                      <a:pt x="30" y="65"/>
                      <a:pt x="35" y="73"/>
                      <a:pt x="33" y="74"/>
                    </a:cubicBezTo>
                    <a:cubicBezTo>
                      <a:pt x="32" y="74"/>
                      <a:pt x="26" y="68"/>
                      <a:pt x="29" y="67"/>
                    </a:cubicBezTo>
                    <a:close/>
                    <a:moveTo>
                      <a:pt x="36" y="77"/>
                    </a:moveTo>
                    <a:cubicBezTo>
                      <a:pt x="36" y="76"/>
                      <a:pt x="39" y="79"/>
                      <a:pt x="38" y="80"/>
                    </a:cubicBezTo>
                    <a:cubicBezTo>
                      <a:pt x="38" y="80"/>
                      <a:pt x="35" y="79"/>
                      <a:pt x="36" y="77"/>
                    </a:cubicBezTo>
                    <a:close/>
                    <a:moveTo>
                      <a:pt x="39" y="85"/>
                    </a:moveTo>
                    <a:cubicBezTo>
                      <a:pt x="41" y="85"/>
                      <a:pt x="42" y="90"/>
                      <a:pt x="42" y="88"/>
                    </a:cubicBezTo>
                    <a:cubicBezTo>
                      <a:pt x="44" y="87"/>
                      <a:pt x="41" y="80"/>
                      <a:pt x="39" y="82"/>
                    </a:cubicBezTo>
                    <a:cubicBezTo>
                      <a:pt x="38" y="84"/>
                      <a:pt x="39" y="85"/>
                      <a:pt x="39" y="85"/>
                    </a:cubicBezTo>
                    <a:close/>
                    <a:moveTo>
                      <a:pt x="74" y="63"/>
                    </a:moveTo>
                    <a:cubicBezTo>
                      <a:pt x="71" y="65"/>
                      <a:pt x="73" y="60"/>
                      <a:pt x="74" y="60"/>
                    </a:cubicBezTo>
                    <a:cubicBezTo>
                      <a:pt x="76" y="60"/>
                      <a:pt x="76" y="63"/>
                      <a:pt x="74" y="63"/>
                    </a:cubicBezTo>
                    <a:close/>
                    <a:moveTo>
                      <a:pt x="76" y="57"/>
                    </a:moveTo>
                    <a:cubicBezTo>
                      <a:pt x="74" y="56"/>
                      <a:pt x="74" y="57"/>
                      <a:pt x="74" y="59"/>
                    </a:cubicBezTo>
                    <a:cubicBezTo>
                      <a:pt x="74" y="60"/>
                      <a:pt x="79" y="60"/>
                      <a:pt x="79" y="60"/>
                    </a:cubicBezTo>
                    <a:cubicBezTo>
                      <a:pt x="79" y="60"/>
                      <a:pt x="77" y="59"/>
                      <a:pt x="76" y="57"/>
                    </a:cubicBezTo>
                    <a:close/>
                    <a:moveTo>
                      <a:pt x="53" y="35"/>
                    </a:moveTo>
                    <a:cubicBezTo>
                      <a:pt x="54" y="37"/>
                      <a:pt x="53" y="40"/>
                      <a:pt x="51" y="40"/>
                    </a:cubicBezTo>
                    <a:cubicBezTo>
                      <a:pt x="50" y="39"/>
                      <a:pt x="51" y="35"/>
                      <a:pt x="53" y="35"/>
                    </a:cubicBezTo>
                    <a:close/>
                    <a:moveTo>
                      <a:pt x="67" y="48"/>
                    </a:moveTo>
                    <a:cubicBezTo>
                      <a:pt x="67" y="48"/>
                      <a:pt x="68" y="51"/>
                      <a:pt x="67" y="51"/>
                    </a:cubicBezTo>
                    <a:cubicBezTo>
                      <a:pt x="65" y="51"/>
                      <a:pt x="65" y="48"/>
                      <a:pt x="67" y="48"/>
                    </a:cubicBezTo>
                    <a:close/>
                    <a:moveTo>
                      <a:pt x="58" y="43"/>
                    </a:moveTo>
                    <a:cubicBezTo>
                      <a:pt x="59" y="45"/>
                      <a:pt x="59" y="45"/>
                      <a:pt x="59" y="43"/>
                    </a:cubicBezTo>
                    <a:cubicBezTo>
                      <a:pt x="59" y="42"/>
                      <a:pt x="56" y="40"/>
                      <a:pt x="54" y="42"/>
                    </a:cubicBezTo>
                    <a:cubicBezTo>
                      <a:pt x="54" y="42"/>
                      <a:pt x="56" y="42"/>
                      <a:pt x="58" y="43"/>
                    </a:cubicBezTo>
                    <a:close/>
                    <a:moveTo>
                      <a:pt x="58" y="43"/>
                    </a:moveTo>
                    <a:cubicBezTo>
                      <a:pt x="59" y="45"/>
                      <a:pt x="59" y="49"/>
                      <a:pt x="58" y="48"/>
                    </a:cubicBezTo>
                    <a:cubicBezTo>
                      <a:pt x="58" y="46"/>
                      <a:pt x="56" y="42"/>
                      <a:pt x="58" y="43"/>
                    </a:cubicBezTo>
                    <a:close/>
                    <a:moveTo>
                      <a:pt x="64" y="49"/>
                    </a:moveTo>
                    <a:cubicBezTo>
                      <a:pt x="64" y="48"/>
                      <a:pt x="61" y="48"/>
                      <a:pt x="61" y="46"/>
                    </a:cubicBezTo>
                    <a:cubicBezTo>
                      <a:pt x="59" y="45"/>
                      <a:pt x="59" y="46"/>
                      <a:pt x="59" y="48"/>
                    </a:cubicBezTo>
                    <a:cubicBezTo>
                      <a:pt x="59" y="49"/>
                      <a:pt x="59" y="49"/>
                      <a:pt x="61" y="49"/>
                    </a:cubicBezTo>
                    <a:cubicBezTo>
                      <a:pt x="62" y="49"/>
                      <a:pt x="64" y="51"/>
                      <a:pt x="64" y="49"/>
                    </a:cubicBezTo>
                    <a:close/>
                    <a:moveTo>
                      <a:pt x="62" y="48"/>
                    </a:moveTo>
                    <a:cubicBezTo>
                      <a:pt x="64" y="48"/>
                      <a:pt x="64" y="48"/>
                      <a:pt x="64" y="48"/>
                    </a:cubicBezTo>
                    <a:cubicBezTo>
                      <a:pt x="64" y="46"/>
                      <a:pt x="61" y="45"/>
                      <a:pt x="61" y="46"/>
                    </a:cubicBezTo>
                    <a:cubicBezTo>
                      <a:pt x="61" y="46"/>
                      <a:pt x="61" y="46"/>
                      <a:pt x="62" y="48"/>
                    </a:cubicBezTo>
                    <a:close/>
                    <a:moveTo>
                      <a:pt x="65" y="49"/>
                    </a:moveTo>
                    <a:cubicBezTo>
                      <a:pt x="65" y="52"/>
                      <a:pt x="65" y="52"/>
                      <a:pt x="65" y="52"/>
                    </a:cubicBezTo>
                    <a:cubicBezTo>
                      <a:pt x="64" y="52"/>
                      <a:pt x="64" y="49"/>
                      <a:pt x="65" y="49"/>
                    </a:cubicBezTo>
                    <a:close/>
                    <a:moveTo>
                      <a:pt x="26" y="62"/>
                    </a:moveTo>
                    <a:cubicBezTo>
                      <a:pt x="24" y="60"/>
                      <a:pt x="26" y="59"/>
                      <a:pt x="27" y="59"/>
                    </a:cubicBezTo>
                    <a:cubicBezTo>
                      <a:pt x="29" y="60"/>
                      <a:pt x="27" y="63"/>
                      <a:pt x="26" y="62"/>
                    </a:cubicBezTo>
                    <a:close/>
                    <a:moveTo>
                      <a:pt x="330" y="74"/>
                    </a:moveTo>
                    <a:cubicBezTo>
                      <a:pt x="335" y="74"/>
                      <a:pt x="332" y="73"/>
                      <a:pt x="326" y="73"/>
                    </a:cubicBezTo>
                    <a:cubicBezTo>
                      <a:pt x="320" y="73"/>
                      <a:pt x="323" y="73"/>
                      <a:pt x="326" y="74"/>
                    </a:cubicBezTo>
                    <a:cubicBezTo>
                      <a:pt x="326" y="76"/>
                      <a:pt x="326" y="76"/>
                      <a:pt x="330" y="74"/>
                    </a:cubicBezTo>
                    <a:close/>
                    <a:moveTo>
                      <a:pt x="327" y="67"/>
                    </a:moveTo>
                    <a:cubicBezTo>
                      <a:pt x="326" y="65"/>
                      <a:pt x="327" y="63"/>
                      <a:pt x="323" y="63"/>
                    </a:cubicBezTo>
                    <a:cubicBezTo>
                      <a:pt x="318" y="62"/>
                      <a:pt x="321" y="65"/>
                      <a:pt x="323" y="67"/>
                    </a:cubicBezTo>
                    <a:cubicBezTo>
                      <a:pt x="326" y="67"/>
                      <a:pt x="323" y="70"/>
                      <a:pt x="327" y="68"/>
                    </a:cubicBezTo>
                    <a:cubicBezTo>
                      <a:pt x="329" y="68"/>
                      <a:pt x="329" y="68"/>
                      <a:pt x="327" y="67"/>
                    </a:cubicBezTo>
                    <a:close/>
                    <a:moveTo>
                      <a:pt x="275" y="135"/>
                    </a:moveTo>
                    <a:cubicBezTo>
                      <a:pt x="272" y="132"/>
                      <a:pt x="275" y="133"/>
                      <a:pt x="275" y="135"/>
                    </a:cubicBezTo>
                    <a:cubicBezTo>
                      <a:pt x="277" y="135"/>
                      <a:pt x="275" y="136"/>
                      <a:pt x="275" y="135"/>
                    </a:cubicBezTo>
                    <a:close/>
                    <a:moveTo>
                      <a:pt x="298" y="115"/>
                    </a:moveTo>
                    <a:cubicBezTo>
                      <a:pt x="298" y="110"/>
                      <a:pt x="300" y="113"/>
                      <a:pt x="300" y="113"/>
                    </a:cubicBezTo>
                    <a:cubicBezTo>
                      <a:pt x="300" y="115"/>
                      <a:pt x="298" y="116"/>
                      <a:pt x="298" y="115"/>
                    </a:cubicBezTo>
                    <a:close/>
                    <a:moveTo>
                      <a:pt x="300" y="116"/>
                    </a:moveTo>
                    <a:cubicBezTo>
                      <a:pt x="300" y="112"/>
                      <a:pt x="303" y="107"/>
                      <a:pt x="303" y="108"/>
                    </a:cubicBezTo>
                    <a:cubicBezTo>
                      <a:pt x="303" y="110"/>
                      <a:pt x="300" y="116"/>
                      <a:pt x="300" y="116"/>
                    </a:cubicBezTo>
                    <a:close/>
                    <a:moveTo>
                      <a:pt x="260" y="138"/>
                    </a:moveTo>
                    <a:cubicBezTo>
                      <a:pt x="259" y="136"/>
                      <a:pt x="260" y="136"/>
                      <a:pt x="262" y="136"/>
                    </a:cubicBezTo>
                    <a:cubicBezTo>
                      <a:pt x="263" y="138"/>
                      <a:pt x="262" y="138"/>
                      <a:pt x="260" y="138"/>
                    </a:cubicBezTo>
                    <a:close/>
                    <a:moveTo>
                      <a:pt x="312" y="118"/>
                    </a:moveTo>
                    <a:cubicBezTo>
                      <a:pt x="310" y="118"/>
                      <a:pt x="310" y="116"/>
                      <a:pt x="310" y="116"/>
                    </a:cubicBezTo>
                    <a:cubicBezTo>
                      <a:pt x="310" y="118"/>
                      <a:pt x="310" y="118"/>
                      <a:pt x="310" y="118"/>
                    </a:cubicBezTo>
                    <a:cubicBezTo>
                      <a:pt x="312" y="119"/>
                      <a:pt x="312" y="119"/>
                      <a:pt x="313" y="121"/>
                    </a:cubicBezTo>
                    <a:cubicBezTo>
                      <a:pt x="313" y="121"/>
                      <a:pt x="313" y="119"/>
                      <a:pt x="312" y="118"/>
                    </a:cubicBezTo>
                    <a:close/>
                    <a:moveTo>
                      <a:pt x="315" y="115"/>
                    </a:moveTo>
                    <a:cubicBezTo>
                      <a:pt x="315" y="110"/>
                      <a:pt x="313" y="108"/>
                      <a:pt x="312" y="112"/>
                    </a:cubicBezTo>
                    <a:cubicBezTo>
                      <a:pt x="312" y="113"/>
                      <a:pt x="310" y="112"/>
                      <a:pt x="310" y="113"/>
                    </a:cubicBezTo>
                    <a:cubicBezTo>
                      <a:pt x="310" y="113"/>
                      <a:pt x="312" y="113"/>
                      <a:pt x="312" y="115"/>
                    </a:cubicBezTo>
                    <a:cubicBezTo>
                      <a:pt x="310" y="118"/>
                      <a:pt x="312" y="118"/>
                      <a:pt x="313" y="119"/>
                    </a:cubicBezTo>
                    <a:cubicBezTo>
                      <a:pt x="315" y="119"/>
                      <a:pt x="315" y="118"/>
                      <a:pt x="315" y="115"/>
                    </a:cubicBezTo>
                    <a:close/>
                    <a:moveTo>
                      <a:pt x="347" y="140"/>
                    </a:moveTo>
                    <a:cubicBezTo>
                      <a:pt x="349" y="140"/>
                      <a:pt x="347" y="138"/>
                      <a:pt x="347" y="138"/>
                    </a:cubicBezTo>
                    <a:cubicBezTo>
                      <a:pt x="347" y="136"/>
                      <a:pt x="347" y="136"/>
                      <a:pt x="345" y="138"/>
                    </a:cubicBezTo>
                    <a:cubicBezTo>
                      <a:pt x="345" y="140"/>
                      <a:pt x="345" y="140"/>
                      <a:pt x="347" y="140"/>
                    </a:cubicBezTo>
                    <a:close/>
                    <a:moveTo>
                      <a:pt x="245" y="80"/>
                    </a:moveTo>
                    <a:cubicBezTo>
                      <a:pt x="246" y="82"/>
                      <a:pt x="246" y="80"/>
                      <a:pt x="246" y="79"/>
                    </a:cubicBezTo>
                    <a:cubicBezTo>
                      <a:pt x="245" y="77"/>
                      <a:pt x="246" y="76"/>
                      <a:pt x="245" y="76"/>
                    </a:cubicBezTo>
                    <a:cubicBezTo>
                      <a:pt x="245" y="77"/>
                      <a:pt x="245" y="79"/>
                      <a:pt x="245" y="80"/>
                    </a:cubicBezTo>
                    <a:close/>
                    <a:moveTo>
                      <a:pt x="256" y="60"/>
                    </a:moveTo>
                    <a:cubicBezTo>
                      <a:pt x="256" y="59"/>
                      <a:pt x="256" y="62"/>
                      <a:pt x="256" y="62"/>
                    </a:cubicBezTo>
                    <a:cubicBezTo>
                      <a:pt x="254" y="62"/>
                      <a:pt x="254" y="60"/>
                      <a:pt x="256" y="60"/>
                    </a:cubicBezTo>
                    <a:close/>
                    <a:moveTo>
                      <a:pt x="259" y="65"/>
                    </a:moveTo>
                    <a:cubicBezTo>
                      <a:pt x="260" y="63"/>
                      <a:pt x="262" y="63"/>
                      <a:pt x="260" y="65"/>
                    </a:cubicBezTo>
                    <a:cubicBezTo>
                      <a:pt x="260" y="67"/>
                      <a:pt x="259" y="65"/>
                      <a:pt x="259" y="65"/>
                    </a:cubicBezTo>
                    <a:close/>
                    <a:moveTo>
                      <a:pt x="260" y="94"/>
                    </a:moveTo>
                    <a:cubicBezTo>
                      <a:pt x="260" y="93"/>
                      <a:pt x="265" y="90"/>
                      <a:pt x="265" y="91"/>
                    </a:cubicBezTo>
                    <a:cubicBezTo>
                      <a:pt x="263" y="93"/>
                      <a:pt x="262" y="94"/>
                      <a:pt x="260" y="94"/>
                    </a:cubicBezTo>
                    <a:close/>
                    <a:moveTo>
                      <a:pt x="256" y="65"/>
                    </a:moveTo>
                    <a:cubicBezTo>
                      <a:pt x="254" y="65"/>
                      <a:pt x="256" y="63"/>
                      <a:pt x="256" y="63"/>
                    </a:cubicBezTo>
                    <a:cubicBezTo>
                      <a:pt x="257" y="65"/>
                      <a:pt x="257" y="65"/>
                      <a:pt x="256" y="65"/>
                    </a:cubicBezTo>
                    <a:close/>
                    <a:moveTo>
                      <a:pt x="280" y="67"/>
                    </a:moveTo>
                    <a:cubicBezTo>
                      <a:pt x="280" y="65"/>
                      <a:pt x="281" y="65"/>
                      <a:pt x="283" y="65"/>
                    </a:cubicBezTo>
                    <a:cubicBezTo>
                      <a:pt x="285" y="65"/>
                      <a:pt x="280" y="67"/>
                      <a:pt x="280" y="67"/>
                    </a:cubicBezTo>
                    <a:close/>
                    <a:moveTo>
                      <a:pt x="76" y="49"/>
                    </a:moveTo>
                    <a:cubicBezTo>
                      <a:pt x="74" y="48"/>
                      <a:pt x="71" y="46"/>
                      <a:pt x="74" y="45"/>
                    </a:cubicBezTo>
                    <a:cubicBezTo>
                      <a:pt x="77" y="43"/>
                      <a:pt x="76" y="49"/>
                      <a:pt x="76" y="49"/>
                    </a:cubicBezTo>
                    <a:close/>
                    <a:moveTo>
                      <a:pt x="71" y="46"/>
                    </a:moveTo>
                    <a:cubicBezTo>
                      <a:pt x="71" y="45"/>
                      <a:pt x="73" y="46"/>
                      <a:pt x="71" y="48"/>
                    </a:cubicBezTo>
                    <a:cubicBezTo>
                      <a:pt x="71" y="48"/>
                      <a:pt x="70" y="46"/>
                      <a:pt x="71" y="46"/>
                    </a:cubicBezTo>
                    <a:close/>
                    <a:moveTo>
                      <a:pt x="71" y="49"/>
                    </a:moveTo>
                    <a:cubicBezTo>
                      <a:pt x="71" y="48"/>
                      <a:pt x="73" y="48"/>
                      <a:pt x="73" y="49"/>
                    </a:cubicBezTo>
                    <a:cubicBezTo>
                      <a:pt x="73" y="49"/>
                      <a:pt x="73" y="51"/>
                      <a:pt x="71" y="49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29" name="Freeform 223"/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5272221" y="3170231"/>
                <a:ext cx="16375" cy="38598"/>
              </a:xfrm>
              <a:custGeom>
                <a:avLst/>
                <a:gdLst/>
                <a:ahLst/>
                <a:cxnLst>
                  <a:cxn ang="0">
                    <a:pos x="4" y="17"/>
                  </a:cxn>
                  <a:cxn ang="0">
                    <a:pos x="3" y="17"/>
                  </a:cxn>
                  <a:cxn ang="0">
                    <a:pos x="1" y="16"/>
                  </a:cxn>
                  <a:cxn ang="0">
                    <a:pos x="1" y="5"/>
                  </a:cxn>
                  <a:cxn ang="0">
                    <a:pos x="4" y="2"/>
                  </a:cxn>
                  <a:cxn ang="0">
                    <a:pos x="6" y="6"/>
                  </a:cxn>
                  <a:cxn ang="0">
                    <a:pos x="7" y="11"/>
                  </a:cxn>
                  <a:cxn ang="0">
                    <a:pos x="4" y="17"/>
                  </a:cxn>
                  <a:cxn ang="0">
                    <a:pos x="4" y="17"/>
                  </a:cxn>
                </a:cxnLst>
                <a:rect l="0" t="0" r="r" b="b"/>
                <a:pathLst>
                  <a:path w="7" h="17">
                    <a:moveTo>
                      <a:pt x="4" y="17"/>
                    </a:moveTo>
                    <a:cubicBezTo>
                      <a:pt x="4" y="17"/>
                      <a:pt x="4" y="17"/>
                      <a:pt x="3" y="17"/>
                    </a:cubicBezTo>
                    <a:cubicBezTo>
                      <a:pt x="3" y="17"/>
                      <a:pt x="1" y="17"/>
                      <a:pt x="1" y="16"/>
                    </a:cubicBezTo>
                    <a:cubicBezTo>
                      <a:pt x="1" y="8"/>
                      <a:pt x="0" y="9"/>
                      <a:pt x="1" y="5"/>
                    </a:cubicBezTo>
                    <a:cubicBezTo>
                      <a:pt x="3" y="3"/>
                      <a:pt x="3" y="0"/>
                      <a:pt x="4" y="2"/>
                    </a:cubicBezTo>
                    <a:cubicBezTo>
                      <a:pt x="6" y="3"/>
                      <a:pt x="7" y="5"/>
                      <a:pt x="6" y="6"/>
                    </a:cubicBezTo>
                    <a:cubicBezTo>
                      <a:pt x="6" y="9"/>
                      <a:pt x="7" y="9"/>
                      <a:pt x="7" y="11"/>
                    </a:cubicBezTo>
                    <a:cubicBezTo>
                      <a:pt x="7" y="14"/>
                      <a:pt x="6" y="17"/>
                      <a:pt x="4" y="17"/>
                    </a:cubicBezTo>
                    <a:cubicBezTo>
                      <a:pt x="4" y="17"/>
                      <a:pt x="4" y="17"/>
                      <a:pt x="4" y="17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30" name="Freeform 224"/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5370473" y="3167892"/>
                <a:ext cx="8187" cy="16375"/>
              </a:xfrm>
              <a:custGeom>
                <a:avLst/>
                <a:gdLst/>
                <a:ahLst/>
                <a:cxnLst>
                  <a:cxn ang="0">
                    <a:pos x="1" y="7"/>
                  </a:cxn>
                  <a:cxn ang="0">
                    <a:pos x="0" y="3"/>
                  </a:cxn>
                  <a:cxn ang="0">
                    <a:pos x="1" y="1"/>
                  </a:cxn>
                  <a:cxn ang="0">
                    <a:pos x="3" y="0"/>
                  </a:cxn>
                  <a:cxn ang="0">
                    <a:pos x="3" y="4"/>
                  </a:cxn>
                  <a:cxn ang="0">
                    <a:pos x="1" y="7"/>
                  </a:cxn>
                </a:cxnLst>
                <a:rect l="0" t="0" r="r" b="b"/>
                <a:pathLst>
                  <a:path w="4" h="7">
                    <a:moveTo>
                      <a:pt x="1" y="7"/>
                    </a:moveTo>
                    <a:cubicBezTo>
                      <a:pt x="0" y="7"/>
                      <a:pt x="1" y="3"/>
                      <a:pt x="0" y="3"/>
                    </a:cubicBezTo>
                    <a:cubicBezTo>
                      <a:pt x="1" y="1"/>
                      <a:pt x="0" y="1"/>
                      <a:pt x="1" y="1"/>
                    </a:cubicBezTo>
                    <a:cubicBezTo>
                      <a:pt x="3" y="3"/>
                      <a:pt x="1" y="0"/>
                      <a:pt x="3" y="0"/>
                    </a:cubicBezTo>
                    <a:cubicBezTo>
                      <a:pt x="4" y="0"/>
                      <a:pt x="3" y="3"/>
                      <a:pt x="3" y="4"/>
                    </a:cubicBezTo>
                    <a:cubicBezTo>
                      <a:pt x="3" y="4"/>
                      <a:pt x="1" y="6"/>
                      <a:pt x="1" y="7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31" name="Freeform 225"/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5279239" y="3174910"/>
                <a:ext cx="97081" cy="86553"/>
              </a:xfrm>
              <a:custGeom>
                <a:avLst/>
                <a:gdLst/>
                <a:ahLst/>
                <a:cxnLst>
                  <a:cxn ang="0">
                    <a:pos x="41" y="4"/>
                  </a:cxn>
                  <a:cxn ang="0">
                    <a:pos x="40" y="0"/>
                  </a:cxn>
                  <a:cxn ang="0">
                    <a:pos x="38" y="4"/>
                  </a:cxn>
                  <a:cxn ang="0">
                    <a:pos x="34" y="9"/>
                  </a:cxn>
                  <a:cxn ang="0">
                    <a:pos x="26" y="15"/>
                  </a:cxn>
                  <a:cxn ang="0">
                    <a:pos x="26" y="18"/>
                  </a:cxn>
                  <a:cxn ang="0">
                    <a:pos x="11" y="20"/>
                  </a:cxn>
                  <a:cxn ang="0">
                    <a:pos x="6" y="20"/>
                  </a:cxn>
                  <a:cxn ang="0">
                    <a:pos x="3" y="18"/>
                  </a:cxn>
                  <a:cxn ang="0">
                    <a:pos x="3" y="15"/>
                  </a:cxn>
                  <a:cxn ang="0">
                    <a:pos x="1" y="15"/>
                  </a:cxn>
                  <a:cxn ang="0">
                    <a:pos x="0" y="15"/>
                  </a:cxn>
                  <a:cxn ang="0">
                    <a:pos x="3" y="20"/>
                  </a:cxn>
                  <a:cxn ang="0">
                    <a:pos x="6" y="27"/>
                  </a:cxn>
                  <a:cxn ang="0">
                    <a:pos x="15" y="32"/>
                  </a:cxn>
                  <a:cxn ang="0">
                    <a:pos x="34" y="33"/>
                  </a:cxn>
                  <a:cxn ang="0">
                    <a:pos x="35" y="26"/>
                  </a:cxn>
                  <a:cxn ang="0">
                    <a:pos x="35" y="21"/>
                  </a:cxn>
                  <a:cxn ang="0">
                    <a:pos x="38" y="20"/>
                  </a:cxn>
                  <a:cxn ang="0">
                    <a:pos x="38" y="18"/>
                  </a:cxn>
                  <a:cxn ang="0">
                    <a:pos x="38" y="15"/>
                  </a:cxn>
                  <a:cxn ang="0">
                    <a:pos x="40" y="12"/>
                  </a:cxn>
                  <a:cxn ang="0">
                    <a:pos x="43" y="10"/>
                  </a:cxn>
                  <a:cxn ang="0">
                    <a:pos x="41" y="4"/>
                  </a:cxn>
                </a:cxnLst>
                <a:rect l="0" t="0" r="r" b="b"/>
                <a:pathLst>
                  <a:path w="43" h="38">
                    <a:moveTo>
                      <a:pt x="41" y="4"/>
                    </a:moveTo>
                    <a:cubicBezTo>
                      <a:pt x="40" y="4"/>
                      <a:pt x="41" y="0"/>
                      <a:pt x="40" y="0"/>
                    </a:cubicBezTo>
                    <a:cubicBezTo>
                      <a:pt x="38" y="6"/>
                      <a:pt x="40" y="0"/>
                      <a:pt x="38" y="4"/>
                    </a:cubicBezTo>
                    <a:cubicBezTo>
                      <a:pt x="37" y="6"/>
                      <a:pt x="35" y="6"/>
                      <a:pt x="34" y="9"/>
                    </a:cubicBezTo>
                    <a:cubicBezTo>
                      <a:pt x="31" y="12"/>
                      <a:pt x="28" y="15"/>
                      <a:pt x="26" y="15"/>
                    </a:cubicBezTo>
                    <a:cubicBezTo>
                      <a:pt x="26" y="16"/>
                      <a:pt x="29" y="15"/>
                      <a:pt x="26" y="18"/>
                    </a:cubicBezTo>
                    <a:cubicBezTo>
                      <a:pt x="23" y="23"/>
                      <a:pt x="17" y="18"/>
                      <a:pt x="11" y="20"/>
                    </a:cubicBezTo>
                    <a:cubicBezTo>
                      <a:pt x="6" y="21"/>
                      <a:pt x="6" y="21"/>
                      <a:pt x="6" y="20"/>
                    </a:cubicBezTo>
                    <a:cubicBezTo>
                      <a:pt x="6" y="16"/>
                      <a:pt x="5" y="18"/>
                      <a:pt x="3" y="18"/>
                    </a:cubicBezTo>
                    <a:cubicBezTo>
                      <a:pt x="0" y="18"/>
                      <a:pt x="3" y="15"/>
                      <a:pt x="3" y="15"/>
                    </a:cubicBezTo>
                    <a:cubicBezTo>
                      <a:pt x="3" y="13"/>
                      <a:pt x="1" y="15"/>
                      <a:pt x="1" y="15"/>
                    </a:cubicBezTo>
                    <a:cubicBezTo>
                      <a:pt x="1" y="15"/>
                      <a:pt x="1" y="15"/>
                      <a:pt x="0" y="15"/>
                    </a:cubicBezTo>
                    <a:cubicBezTo>
                      <a:pt x="0" y="18"/>
                      <a:pt x="0" y="18"/>
                      <a:pt x="3" y="20"/>
                    </a:cubicBezTo>
                    <a:cubicBezTo>
                      <a:pt x="6" y="23"/>
                      <a:pt x="6" y="23"/>
                      <a:pt x="6" y="27"/>
                    </a:cubicBezTo>
                    <a:cubicBezTo>
                      <a:pt x="8" y="30"/>
                      <a:pt x="6" y="30"/>
                      <a:pt x="15" y="32"/>
                    </a:cubicBezTo>
                    <a:cubicBezTo>
                      <a:pt x="24" y="33"/>
                      <a:pt x="32" y="38"/>
                      <a:pt x="34" y="33"/>
                    </a:cubicBezTo>
                    <a:cubicBezTo>
                      <a:pt x="34" y="32"/>
                      <a:pt x="32" y="30"/>
                      <a:pt x="35" y="26"/>
                    </a:cubicBezTo>
                    <a:cubicBezTo>
                      <a:pt x="37" y="21"/>
                      <a:pt x="37" y="23"/>
                      <a:pt x="35" y="21"/>
                    </a:cubicBezTo>
                    <a:cubicBezTo>
                      <a:pt x="35" y="21"/>
                      <a:pt x="37" y="21"/>
                      <a:pt x="38" y="20"/>
                    </a:cubicBezTo>
                    <a:cubicBezTo>
                      <a:pt x="41" y="20"/>
                      <a:pt x="40" y="18"/>
                      <a:pt x="38" y="18"/>
                    </a:cubicBezTo>
                    <a:cubicBezTo>
                      <a:pt x="37" y="18"/>
                      <a:pt x="38" y="18"/>
                      <a:pt x="38" y="15"/>
                    </a:cubicBezTo>
                    <a:cubicBezTo>
                      <a:pt x="38" y="12"/>
                      <a:pt x="38" y="9"/>
                      <a:pt x="40" y="12"/>
                    </a:cubicBezTo>
                    <a:cubicBezTo>
                      <a:pt x="41" y="15"/>
                      <a:pt x="40" y="12"/>
                      <a:pt x="43" y="10"/>
                    </a:cubicBezTo>
                    <a:cubicBezTo>
                      <a:pt x="43" y="7"/>
                      <a:pt x="43" y="6"/>
                      <a:pt x="41" y="4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32" name="Freeform 226"/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5354098" y="3150348"/>
                <a:ext cx="22224" cy="12866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5" y="3"/>
                  </a:cxn>
                  <a:cxn ang="0">
                    <a:pos x="8" y="1"/>
                  </a:cxn>
                  <a:cxn ang="0">
                    <a:pos x="2" y="6"/>
                  </a:cxn>
                </a:cxnLst>
                <a:rect l="0" t="0" r="r" b="b"/>
                <a:pathLst>
                  <a:path w="10" h="6">
                    <a:moveTo>
                      <a:pt x="2" y="6"/>
                    </a:moveTo>
                    <a:cubicBezTo>
                      <a:pt x="0" y="4"/>
                      <a:pt x="5" y="4"/>
                      <a:pt x="5" y="3"/>
                    </a:cubicBezTo>
                    <a:cubicBezTo>
                      <a:pt x="5" y="1"/>
                      <a:pt x="10" y="0"/>
                      <a:pt x="8" y="1"/>
                    </a:cubicBezTo>
                    <a:cubicBezTo>
                      <a:pt x="7" y="4"/>
                      <a:pt x="2" y="6"/>
                      <a:pt x="2" y="6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33" name="Freeform 227"/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5226605" y="3081339"/>
                <a:ext cx="4679" cy="11696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0" y="2"/>
                  </a:cxn>
                  <a:cxn ang="0">
                    <a:pos x="2" y="5"/>
                  </a:cxn>
                </a:cxnLst>
                <a:rect l="0" t="0" r="r" b="b"/>
                <a:pathLst>
                  <a:path w="2" h="5">
                    <a:moveTo>
                      <a:pt x="2" y="5"/>
                    </a:moveTo>
                    <a:cubicBezTo>
                      <a:pt x="0" y="5"/>
                      <a:pt x="0" y="2"/>
                      <a:pt x="0" y="2"/>
                    </a:cubicBezTo>
                    <a:cubicBezTo>
                      <a:pt x="0" y="0"/>
                      <a:pt x="2" y="3"/>
                      <a:pt x="2" y="5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34" name="Freeform 228"/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4989164" y="3018178"/>
                <a:ext cx="12866" cy="33919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4" y="11"/>
                  </a:cxn>
                  <a:cxn ang="0">
                    <a:pos x="0" y="15"/>
                  </a:cxn>
                  <a:cxn ang="0">
                    <a:pos x="0" y="13"/>
                  </a:cxn>
                  <a:cxn ang="0">
                    <a:pos x="1" y="8"/>
                  </a:cxn>
                  <a:cxn ang="0">
                    <a:pos x="0" y="8"/>
                  </a:cxn>
                  <a:cxn ang="0">
                    <a:pos x="1" y="8"/>
                  </a:cxn>
                  <a:cxn ang="0">
                    <a:pos x="1" y="2"/>
                  </a:cxn>
                  <a:cxn ang="0">
                    <a:pos x="4" y="3"/>
                  </a:cxn>
                </a:cxnLst>
                <a:rect l="0" t="0" r="r" b="b"/>
                <a:pathLst>
                  <a:path w="6" h="15">
                    <a:moveTo>
                      <a:pt x="4" y="3"/>
                    </a:moveTo>
                    <a:cubicBezTo>
                      <a:pt x="4" y="5"/>
                      <a:pt x="6" y="10"/>
                      <a:pt x="4" y="11"/>
                    </a:cubicBezTo>
                    <a:cubicBezTo>
                      <a:pt x="3" y="13"/>
                      <a:pt x="3" y="15"/>
                      <a:pt x="0" y="1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1"/>
                      <a:pt x="3" y="10"/>
                      <a:pt x="1" y="8"/>
                    </a:cubicBezTo>
                    <a:cubicBezTo>
                      <a:pt x="1" y="8"/>
                      <a:pt x="0" y="10"/>
                      <a:pt x="0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6"/>
                      <a:pt x="0" y="3"/>
                      <a:pt x="1" y="2"/>
                    </a:cubicBezTo>
                    <a:cubicBezTo>
                      <a:pt x="3" y="0"/>
                      <a:pt x="4" y="3"/>
                      <a:pt x="4" y="3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35" name="Freeform 229"/>
              <p:cNvSpPr>
                <a:spLocks/>
              </p:cNvSpPr>
              <p:nvPr>
                <p:custDataLst>
                  <p:tags r:id="rId255"/>
                </p:custDataLst>
              </p:nvPr>
            </p:nvSpPr>
            <p:spPr bwMode="auto">
              <a:xfrm>
                <a:off x="4979807" y="3000634"/>
                <a:ext cx="22224" cy="92401"/>
              </a:xfrm>
              <a:custGeom>
                <a:avLst/>
                <a:gdLst/>
                <a:ahLst/>
                <a:cxnLst>
                  <a:cxn ang="0">
                    <a:pos x="9" y="11"/>
                  </a:cxn>
                  <a:cxn ang="0">
                    <a:pos x="9" y="10"/>
                  </a:cxn>
                  <a:cxn ang="0">
                    <a:pos x="10" y="7"/>
                  </a:cxn>
                  <a:cxn ang="0">
                    <a:pos x="10" y="5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10" y="2"/>
                  </a:cxn>
                  <a:cxn ang="0">
                    <a:pos x="9" y="2"/>
                  </a:cxn>
                  <a:cxn ang="0">
                    <a:pos x="9" y="4"/>
                  </a:cxn>
                  <a:cxn ang="0">
                    <a:pos x="6" y="4"/>
                  </a:cxn>
                  <a:cxn ang="0">
                    <a:pos x="1" y="19"/>
                  </a:cxn>
                  <a:cxn ang="0">
                    <a:pos x="0" y="22"/>
                  </a:cxn>
                  <a:cxn ang="0">
                    <a:pos x="0" y="24"/>
                  </a:cxn>
                  <a:cxn ang="0">
                    <a:pos x="4" y="41"/>
                  </a:cxn>
                  <a:cxn ang="0">
                    <a:pos x="4" y="41"/>
                  </a:cxn>
                  <a:cxn ang="0">
                    <a:pos x="6" y="34"/>
                  </a:cxn>
                  <a:cxn ang="0">
                    <a:pos x="9" y="24"/>
                  </a:cxn>
                  <a:cxn ang="0">
                    <a:pos x="9" y="19"/>
                  </a:cxn>
                  <a:cxn ang="0">
                    <a:pos x="4" y="22"/>
                  </a:cxn>
                  <a:cxn ang="0">
                    <a:pos x="4" y="21"/>
                  </a:cxn>
                  <a:cxn ang="0">
                    <a:pos x="6" y="16"/>
                  </a:cxn>
                  <a:cxn ang="0">
                    <a:pos x="4" y="16"/>
                  </a:cxn>
                  <a:cxn ang="0">
                    <a:pos x="6" y="16"/>
                  </a:cxn>
                  <a:cxn ang="0">
                    <a:pos x="6" y="10"/>
                  </a:cxn>
                  <a:cxn ang="0">
                    <a:pos x="9" y="11"/>
                  </a:cxn>
                </a:cxnLst>
                <a:rect l="0" t="0" r="r" b="b"/>
                <a:pathLst>
                  <a:path w="10" h="41">
                    <a:moveTo>
                      <a:pt x="9" y="11"/>
                    </a:moveTo>
                    <a:cubicBezTo>
                      <a:pt x="9" y="10"/>
                      <a:pt x="9" y="10"/>
                      <a:pt x="9" y="10"/>
                    </a:cubicBezTo>
                    <a:cubicBezTo>
                      <a:pt x="9" y="8"/>
                      <a:pt x="9" y="7"/>
                      <a:pt x="10" y="7"/>
                    </a:cubicBezTo>
                    <a:cubicBezTo>
                      <a:pt x="10" y="7"/>
                      <a:pt x="10" y="7"/>
                      <a:pt x="10" y="5"/>
                    </a:cubicBezTo>
                    <a:cubicBezTo>
                      <a:pt x="10" y="5"/>
                      <a:pt x="10" y="4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9" y="2"/>
                      <a:pt x="9" y="0"/>
                      <a:pt x="9" y="2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4"/>
                      <a:pt x="7" y="4"/>
                      <a:pt x="6" y="4"/>
                    </a:cubicBezTo>
                    <a:cubicBezTo>
                      <a:pt x="4" y="7"/>
                      <a:pt x="3" y="17"/>
                      <a:pt x="1" y="19"/>
                    </a:cubicBezTo>
                    <a:cubicBezTo>
                      <a:pt x="3" y="19"/>
                      <a:pt x="0" y="22"/>
                      <a:pt x="0" y="2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1" y="28"/>
                      <a:pt x="3" y="34"/>
                      <a:pt x="4" y="41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4" y="41"/>
                      <a:pt x="6" y="36"/>
                      <a:pt x="6" y="34"/>
                    </a:cubicBezTo>
                    <a:cubicBezTo>
                      <a:pt x="6" y="30"/>
                      <a:pt x="9" y="25"/>
                      <a:pt x="9" y="24"/>
                    </a:cubicBezTo>
                    <a:cubicBezTo>
                      <a:pt x="9" y="22"/>
                      <a:pt x="9" y="21"/>
                      <a:pt x="9" y="19"/>
                    </a:cubicBezTo>
                    <a:cubicBezTo>
                      <a:pt x="7" y="21"/>
                      <a:pt x="7" y="22"/>
                      <a:pt x="4" y="22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4" y="19"/>
                      <a:pt x="7" y="17"/>
                      <a:pt x="6" y="16"/>
                    </a:cubicBezTo>
                    <a:cubicBezTo>
                      <a:pt x="6" y="16"/>
                      <a:pt x="4" y="17"/>
                      <a:pt x="4" y="16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6" y="14"/>
                      <a:pt x="4" y="11"/>
                      <a:pt x="6" y="10"/>
                    </a:cubicBezTo>
                    <a:cubicBezTo>
                      <a:pt x="7" y="8"/>
                      <a:pt x="9" y="11"/>
                      <a:pt x="9" y="11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36" name="Freeform 230"/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4975128" y="3043911"/>
                <a:ext cx="9358" cy="10527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1" y="5"/>
                  </a:cxn>
                  <a:cxn ang="0">
                    <a:pos x="1" y="3"/>
                  </a:cxn>
                  <a:cxn ang="0">
                    <a:pos x="3" y="0"/>
                  </a:cxn>
                </a:cxnLst>
                <a:rect l="0" t="0" r="r" b="b"/>
                <a:pathLst>
                  <a:path w="4" h="5">
                    <a:moveTo>
                      <a:pt x="3" y="0"/>
                    </a:moveTo>
                    <a:cubicBezTo>
                      <a:pt x="1" y="1"/>
                      <a:pt x="1" y="1"/>
                      <a:pt x="0" y="3"/>
                    </a:cubicBezTo>
                    <a:cubicBezTo>
                      <a:pt x="0" y="3"/>
                      <a:pt x="0" y="5"/>
                      <a:pt x="1" y="5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3"/>
                      <a:pt x="4" y="0"/>
                      <a:pt x="3" y="0"/>
                    </a:cubicBezTo>
                  </a:path>
                </a:pathLst>
              </a:custGeom>
              <a:solidFill>
                <a:srgbClr val="C4E76A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37" name="Freeform 231"/>
              <p:cNvSpPr>
                <a:spLocks noEditPoints="1"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4714294" y="2788930"/>
                <a:ext cx="154395" cy="177785"/>
              </a:xfrm>
              <a:custGeom>
                <a:avLst/>
                <a:gdLst/>
                <a:ahLst/>
                <a:cxnLst>
                  <a:cxn ang="0">
                    <a:pos x="32" y="6"/>
                  </a:cxn>
                  <a:cxn ang="0">
                    <a:pos x="44" y="6"/>
                  </a:cxn>
                  <a:cxn ang="0">
                    <a:pos x="54" y="8"/>
                  </a:cxn>
                  <a:cxn ang="0">
                    <a:pos x="41" y="11"/>
                  </a:cxn>
                  <a:cxn ang="0">
                    <a:pos x="36" y="19"/>
                  </a:cxn>
                  <a:cxn ang="0">
                    <a:pos x="32" y="20"/>
                  </a:cxn>
                  <a:cxn ang="0">
                    <a:pos x="25" y="15"/>
                  </a:cxn>
                  <a:cxn ang="0">
                    <a:pos x="27" y="28"/>
                  </a:cxn>
                  <a:cxn ang="0">
                    <a:pos x="32" y="39"/>
                  </a:cxn>
                  <a:cxn ang="0">
                    <a:pos x="32" y="43"/>
                  </a:cxn>
                  <a:cxn ang="0">
                    <a:pos x="30" y="50"/>
                  </a:cxn>
                  <a:cxn ang="0">
                    <a:pos x="29" y="60"/>
                  </a:cxn>
                  <a:cxn ang="0">
                    <a:pos x="19" y="56"/>
                  </a:cxn>
                  <a:cxn ang="0">
                    <a:pos x="12" y="45"/>
                  </a:cxn>
                  <a:cxn ang="0">
                    <a:pos x="21" y="40"/>
                  </a:cxn>
                  <a:cxn ang="0">
                    <a:pos x="22" y="39"/>
                  </a:cxn>
                  <a:cxn ang="0">
                    <a:pos x="9" y="36"/>
                  </a:cxn>
                  <a:cxn ang="0">
                    <a:pos x="4" y="25"/>
                  </a:cxn>
                  <a:cxn ang="0">
                    <a:pos x="9" y="19"/>
                  </a:cxn>
                  <a:cxn ang="0">
                    <a:pos x="21" y="8"/>
                  </a:cxn>
                  <a:cxn ang="0">
                    <a:pos x="7" y="43"/>
                  </a:cxn>
                  <a:cxn ang="0">
                    <a:pos x="7" y="39"/>
                  </a:cxn>
                  <a:cxn ang="0">
                    <a:pos x="27" y="60"/>
                  </a:cxn>
                  <a:cxn ang="0">
                    <a:pos x="41" y="74"/>
                  </a:cxn>
                  <a:cxn ang="0">
                    <a:pos x="47" y="73"/>
                  </a:cxn>
                  <a:cxn ang="0">
                    <a:pos x="33" y="68"/>
                  </a:cxn>
                  <a:cxn ang="0">
                    <a:pos x="68" y="60"/>
                  </a:cxn>
                  <a:cxn ang="0">
                    <a:pos x="68" y="60"/>
                  </a:cxn>
                  <a:cxn ang="0">
                    <a:pos x="50" y="39"/>
                  </a:cxn>
                  <a:cxn ang="0">
                    <a:pos x="53" y="28"/>
                  </a:cxn>
                  <a:cxn ang="0">
                    <a:pos x="54" y="31"/>
                  </a:cxn>
                  <a:cxn ang="0">
                    <a:pos x="41" y="12"/>
                  </a:cxn>
                  <a:cxn ang="0">
                    <a:pos x="38" y="43"/>
                  </a:cxn>
                  <a:cxn ang="0">
                    <a:pos x="30" y="33"/>
                  </a:cxn>
                  <a:cxn ang="0">
                    <a:pos x="47" y="53"/>
                  </a:cxn>
                  <a:cxn ang="0">
                    <a:pos x="60" y="71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45" y="22"/>
                  </a:cxn>
                  <a:cxn ang="0">
                    <a:pos x="48" y="20"/>
                  </a:cxn>
                  <a:cxn ang="0">
                    <a:pos x="44" y="54"/>
                  </a:cxn>
                  <a:cxn ang="0">
                    <a:pos x="38" y="57"/>
                  </a:cxn>
                  <a:cxn ang="0">
                    <a:pos x="38" y="48"/>
                  </a:cxn>
                  <a:cxn ang="0">
                    <a:pos x="38" y="51"/>
                  </a:cxn>
                  <a:cxn ang="0">
                    <a:pos x="50" y="48"/>
                  </a:cxn>
                  <a:cxn ang="0">
                    <a:pos x="7" y="37"/>
                  </a:cxn>
                  <a:cxn ang="0">
                    <a:pos x="41" y="34"/>
                  </a:cxn>
                  <a:cxn ang="0">
                    <a:pos x="42" y="48"/>
                  </a:cxn>
                  <a:cxn ang="0">
                    <a:pos x="42" y="48"/>
                  </a:cxn>
                </a:cxnLst>
                <a:rect l="0" t="0" r="r" b="b"/>
                <a:pathLst>
                  <a:path w="68" h="78">
                    <a:moveTo>
                      <a:pt x="21" y="8"/>
                    </a:moveTo>
                    <a:cubicBezTo>
                      <a:pt x="25" y="11"/>
                      <a:pt x="24" y="6"/>
                      <a:pt x="27" y="6"/>
                    </a:cubicBezTo>
                    <a:cubicBezTo>
                      <a:pt x="29" y="8"/>
                      <a:pt x="27" y="5"/>
                      <a:pt x="32" y="6"/>
                    </a:cubicBezTo>
                    <a:cubicBezTo>
                      <a:pt x="35" y="6"/>
                      <a:pt x="36" y="3"/>
                      <a:pt x="38" y="5"/>
                    </a:cubicBezTo>
                    <a:cubicBezTo>
                      <a:pt x="39" y="5"/>
                      <a:pt x="38" y="2"/>
                      <a:pt x="41" y="5"/>
                    </a:cubicBezTo>
                    <a:cubicBezTo>
                      <a:pt x="42" y="8"/>
                      <a:pt x="42" y="3"/>
                      <a:pt x="44" y="6"/>
                    </a:cubicBezTo>
                    <a:cubicBezTo>
                      <a:pt x="45" y="9"/>
                      <a:pt x="47" y="6"/>
                      <a:pt x="50" y="6"/>
                    </a:cubicBezTo>
                    <a:cubicBezTo>
                      <a:pt x="54" y="6"/>
                      <a:pt x="48" y="0"/>
                      <a:pt x="53" y="2"/>
                    </a:cubicBezTo>
                    <a:cubicBezTo>
                      <a:pt x="56" y="5"/>
                      <a:pt x="56" y="6"/>
                      <a:pt x="54" y="8"/>
                    </a:cubicBezTo>
                    <a:cubicBezTo>
                      <a:pt x="53" y="8"/>
                      <a:pt x="54" y="11"/>
                      <a:pt x="51" y="12"/>
                    </a:cubicBezTo>
                    <a:cubicBezTo>
                      <a:pt x="51" y="11"/>
                      <a:pt x="48" y="12"/>
                      <a:pt x="45" y="11"/>
                    </a:cubicBezTo>
                    <a:cubicBezTo>
                      <a:pt x="42" y="9"/>
                      <a:pt x="44" y="12"/>
                      <a:pt x="41" y="11"/>
                    </a:cubicBezTo>
                    <a:cubicBezTo>
                      <a:pt x="38" y="9"/>
                      <a:pt x="38" y="12"/>
                      <a:pt x="35" y="14"/>
                    </a:cubicBezTo>
                    <a:cubicBezTo>
                      <a:pt x="32" y="14"/>
                      <a:pt x="35" y="14"/>
                      <a:pt x="33" y="15"/>
                    </a:cubicBezTo>
                    <a:cubicBezTo>
                      <a:pt x="33" y="17"/>
                      <a:pt x="35" y="15"/>
                      <a:pt x="36" y="19"/>
                    </a:cubicBezTo>
                    <a:cubicBezTo>
                      <a:pt x="39" y="20"/>
                      <a:pt x="38" y="20"/>
                      <a:pt x="36" y="19"/>
                    </a:cubicBezTo>
                    <a:cubicBezTo>
                      <a:pt x="33" y="17"/>
                      <a:pt x="32" y="17"/>
                      <a:pt x="35" y="19"/>
                    </a:cubicBezTo>
                    <a:cubicBezTo>
                      <a:pt x="36" y="22"/>
                      <a:pt x="35" y="22"/>
                      <a:pt x="32" y="20"/>
                    </a:cubicBezTo>
                    <a:cubicBezTo>
                      <a:pt x="30" y="17"/>
                      <a:pt x="30" y="19"/>
                      <a:pt x="32" y="20"/>
                    </a:cubicBezTo>
                    <a:cubicBezTo>
                      <a:pt x="33" y="23"/>
                      <a:pt x="30" y="23"/>
                      <a:pt x="29" y="20"/>
                    </a:cubicBezTo>
                    <a:cubicBezTo>
                      <a:pt x="29" y="15"/>
                      <a:pt x="25" y="19"/>
                      <a:pt x="25" y="15"/>
                    </a:cubicBezTo>
                    <a:cubicBezTo>
                      <a:pt x="27" y="12"/>
                      <a:pt x="24" y="15"/>
                      <a:pt x="24" y="17"/>
                    </a:cubicBezTo>
                    <a:cubicBezTo>
                      <a:pt x="21" y="22"/>
                      <a:pt x="32" y="28"/>
                      <a:pt x="29" y="31"/>
                    </a:cubicBezTo>
                    <a:cubicBezTo>
                      <a:pt x="27" y="33"/>
                      <a:pt x="29" y="28"/>
                      <a:pt x="27" y="28"/>
                    </a:cubicBezTo>
                    <a:cubicBezTo>
                      <a:pt x="24" y="28"/>
                      <a:pt x="30" y="33"/>
                      <a:pt x="24" y="33"/>
                    </a:cubicBezTo>
                    <a:cubicBezTo>
                      <a:pt x="21" y="34"/>
                      <a:pt x="29" y="34"/>
                      <a:pt x="29" y="36"/>
                    </a:cubicBezTo>
                    <a:cubicBezTo>
                      <a:pt x="30" y="39"/>
                      <a:pt x="30" y="37"/>
                      <a:pt x="32" y="39"/>
                    </a:cubicBezTo>
                    <a:cubicBezTo>
                      <a:pt x="32" y="40"/>
                      <a:pt x="36" y="40"/>
                      <a:pt x="35" y="42"/>
                    </a:cubicBezTo>
                    <a:cubicBezTo>
                      <a:pt x="35" y="43"/>
                      <a:pt x="36" y="46"/>
                      <a:pt x="35" y="46"/>
                    </a:cubicBezTo>
                    <a:cubicBezTo>
                      <a:pt x="35" y="46"/>
                      <a:pt x="33" y="45"/>
                      <a:pt x="32" y="43"/>
                    </a:cubicBezTo>
                    <a:cubicBezTo>
                      <a:pt x="30" y="42"/>
                      <a:pt x="27" y="43"/>
                      <a:pt x="27" y="45"/>
                    </a:cubicBezTo>
                    <a:cubicBezTo>
                      <a:pt x="29" y="46"/>
                      <a:pt x="27" y="46"/>
                      <a:pt x="29" y="46"/>
                    </a:cubicBezTo>
                    <a:cubicBezTo>
                      <a:pt x="30" y="48"/>
                      <a:pt x="32" y="50"/>
                      <a:pt x="30" y="50"/>
                    </a:cubicBezTo>
                    <a:cubicBezTo>
                      <a:pt x="29" y="50"/>
                      <a:pt x="29" y="51"/>
                      <a:pt x="27" y="50"/>
                    </a:cubicBezTo>
                    <a:cubicBezTo>
                      <a:pt x="27" y="48"/>
                      <a:pt x="27" y="48"/>
                      <a:pt x="25" y="48"/>
                    </a:cubicBezTo>
                    <a:cubicBezTo>
                      <a:pt x="22" y="48"/>
                      <a:pt x="30" y="59"/>
                      <a:pt x="29" y="60"/>
                    </a:cubicBezTo>
                    <a:cubicBezTo>
                      <a:pt x="25" y="60"/>
                      <a:pt x="24" y="53"/>
                      <a:pt x="24" y="57"/>
                    </a:cubicBezTo>
                    <a:cubicBezTo>
                      <a:pt x="22" y="60"/>
                      <a:pt x="21" y="62"/>
                      <a:pt x="21" y="59"/>
                    </a:cubicBezTo>
                    <a:cubicBezTo>
                      <a:pt x="21" y="56"/>
                      <a:pt x="19" y="51"/>
                      <a:pt x="19" y="56"/>
                    </a:cubicBezTo>
                    <a:cubicBezTo>
                      <a:pt x="18" y="59"/>
                      <a:pt x="15" y="53"/>
                      <a:pt x="15" y="51"/>
                    </a:cubicBezTo>
                    <a:cubicBezTo>
                      <a:pt x="16" y="50"/>
                      <a:pt x="16" y="48"/>
                      <a:pt x="15" y="48"/>
                    </a:cubicBezTo>
                    <a:cubicBezTo>
                      <a:pt x="12" y="48"/>
                      <a:pt x="13" y="46"/>
                      <a:pt x="12" y="45"/>
                    </a:cubicBezTo>
                    <a:cubicBezTo>
                      <a:pt x="10" y="43"/>
                      <a:pt x="13" y="45"/>
                      <a:pt x="13" y="42"/>
                    </a:cubicBezTo>
                    <a:cubicBezTo>
                      <a:pt x="13" y="40"/>
                      <a:pt x="15" y="42"/>
                      <a:pt x="16" y="40"/>
                    </a:cubicBezTo>
                    <a:cubicBezTo>
                      <a:pt x="18" y="39"/>
                      <a:pt x="18" y="39"/>
                      <a:pt x="21" y="40"/>
                    </a:cubicBezTo>
                    <a:cubicBezTo>
                      <a:pt x="24" y="42"/>
                      <a:pt x="24" y="43"/>
                      <a:pt x="27" y="42"/>
                    </a:cubicBezTo>
                    <a:cubicBezTo>
                      <a:pt x="30" y="42"/>
                      <a:pt x="29" y="40"/>
                      <a:pt x="27" y="40"/>
                    </a:cubicBezTo>
                    <a:cubicBezTo>
                      <a:pt x="25" y="40"/>
                      <a:pt x="24" y="39"/>
                      <a:pt x="22" y="39"/>
                    </a:cubicBezTo>
                    <a:cubicBezTo>
                      <a:pt x="19" y="40"/>
                      <a:pt x="21" y="39"/>
                      <a:pt x="18" y="39"/>
                    </a:cubicBezTo>
                    <a:cubicBezTo>
                      <a:pt x="13" y="40"/>
                      <a:pt x="15" y="37"/>
                      <a:pt x="13" y="39"/>
                    </a:cubicBezTo>
                    <a:cubicBezTo>
                      <a:pt x="12" y="42"/>
                      <a:pt x="12" y="37"/>
                      <a:pt x="9" y="36"/>
                    </a:cubicBezTo>
                    <a:cubicBezTo>
                      <a:pt x="7" y="33"/>
                      <a:pt x="13" y="34"/>
                      <a:pt x="12" y="33"/>
                    </a:cubicBezTo>
                    <a:cubicBezTo>
                      <a:pt x="9" y="29"/>
                      <a:pt x="10" y="34"/>
                      <a:pt x="9" y="31"/>
                    </a:cubicBezTo>
                    <a:cubicBezTo>
                      <a:pt x="7" y="29"/>
                      <a:pt x="6" y="31"/>
                      <a:pt x="4" y="25"/>
                    </a:cubicBezTo>
                    <a:cubicBezTo>
                      <a:pt x="4" y="25"/>
                      <a:pt x="6" y="25"/>
                      <a:pt x="6" y="23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0"/>
                      <a:pt x="9" y="22"/>
                      <a:pt x="9" y="19"/>
                    </a:cubicBezTo>
                    <a:cubicBezTo>
                      <a:pt x="9" y="14"/>
                      <a:pt x="10" y="17"/>
                      <a:pt x="12" y="15"/>
                    </a:cubicBezTo>
                    <a:cubicBezTo>
                      <a:pt x="12" y="12"/>
                      <a:pt x="10" y="12"/>
                      <a:pt x="10" y="12"/>
                    </a:cubicBezTo>
                    <a:cubicBezTo>
                      <a:pt x="22" y="11"/>
                      <a:pt x="16" y="6"/>
                      <a:pt x="21" y="8"/>
                    </a:cubicBezTo>
                    <a:close/>
                    <a:moveTo>
                      <a:pt x="7" y="43"/>
                    </a:moveTo>
                    <a:cubicBezTo>
                      <a:pt x="9" y="43"/>
                      <a:pt x="12" y="46"/>
                      <a:pt x="10" y="46"/>
                    </a:cubicBezTo>
                    <a:cubicBezTo>
                      <a:pt x="9" y="46"/>
                      <a:pt x="7" y="45"/>
                      <a:pt x="7" y="43"/>
                    </a:cubicBezTo>
                    <a:close/>
                    <a:moveTo>
                      <a:pt x="9" y="42"/>
                    </a:moveTo>
                    <a:cubicBezTo>
                      <a:pt x="10" y="43"/>
                      <a:pt x="10" y="42"/>
                      <a:pt x="9" y="40"/>
                    </a:cubicBezTo>
                    <a:cubicBezTo>
                      <a:pt x="7" y="40"/>
                      <a:pt x="7" y="37"/>
                      <a:pt x="7" y="39"/>
                    </a:cubicBezTo>
                    <a:cubicBezTo>
                      <a:pt x="7" y="40"/>
                      <a:pt x="6" y="39"/>
                      <a:pt x="6" y="40"/>
                    </a:cubicBezTo>
                    <a:cubicBezTo>
                      <a:pt x="6" y="42"/>
                      <a:pt x="7" y="42"/>
                      <a:pt x="9" y="42"/>
                    </a:cubicBezTo>
                    <a:close/>
                    <a:moveTo>
                      <a:pt x="27" y="60"/>
                    </a:moveTo>
                    <a:cubicBezTo>
                      <a:pt x="29" y="62"/>
                      <a:pt x="27" y="65"/>
                      <a:pt x="27" y="64"/>
                    </a:cubicBezTo>
                    <a:cubicBezTo>
                      <a:pt x="25" y="62"/>
                      <a:pt x="25" y="60"/>
                      <a:pt x="27" y="60"/>
                    </a:cubicBezTo>
                    <a:close/>
                    <a:moveTo>
                      <a:pt x="41" y="74"/>
                    </a:moveTo>
                    <a:cubicBezTo>
                      <a:pt x="42" y="78"/>
                      <a:pt x="45" y="76"/>
                      <a:pt x="50" y="76"/>
                    </a:cubicBezTo>
                    <a:cubicBezTo>
                      <a:pt x="54" y="76"/>
                      <a:pt x="54" y="71"/>
                      <a:pt x="50" y="73"/>
                    </a:cubicBezTo>
                    <a:cubicBezTo>
                      <a:pt x="47" y="76"/>
                      <a:pt x="50" y="71"/>
                      <a:pt x="47" y="73"/>
                    </a:cubicBezTo>
                    <a:cubicBezTo>
                      <a:pt x="44" y="73"/>
                      <a:pt x="44" y="70"/>
                      <a:pt x="39" y="71"/>
                    </a:cubicBezTo>
                    <a:cubicBezTo>
                      <a:pt x="36" y="73"/>
                      <a:pt x="36" y="68"/>
                      <a:pt x="35" y="70"/>
                    </a:cubicBezTo>
                    <a:cubicBezTo>
                      <a:pt x="33" y="70"/>
                      <a:pt x="33" y="68"/>
                      <a:pt x="33" y="68"/>
                    </a:cubicBezTo>
                    <a:cubicBezTo>
                      <a:pt x="32" y="70"/>
                      <a:pt x="32" y="70"/>
                      <a:pt x="32" y="71"/>
                    </a:cubicBezTo>
                    <a:cubicBezTo>
                      <a:pt x="32" y="74"/>
                      <a:pt x="36" y="71"/>
                      <a:pt x="41" y="74"/>
                    </a:cubicBezTo>
                    <a:close/>
                    <a:moveTo>
                      <a:pt x="68" y="60"/>
                    </a:moveTo>
                    <a:cubicBezTo>
                      <a:pt x="68" y="59"/>
                      <a:pt x="63" y="62"/>
                      <a:pt x="63" y="64"/>
                    </a:cubicBezTo>
                    <a:cubicBezTo>
                      <a:pt x="65" y="64"/>
                      <a:pt x="63" y="65"/>
                      <a:pt x="65" y="67"/>
                    </a:cubicBezTo>
                    <a:cubicBezTo>
                      <a:pt x="67" y="67"/>
                      <a:pt x="68" y="60"/>
                      <a:pt x="68" y="60"/>
                    </a:cubicBezTo>
                    <a:close/>
                    <a:moveTo>
                      <a:pt x="50" y="37"/>
                    </a:moveTo>
                    <a:cubicBezTo>
                      <a:pt x="51" y="36"/>
                      <a:pt x="53" y="40"/>
                      <a:pt x="50" y="42"/>
                    </a:cubicBezTo>
                    <a:cubicBezTo>
                      <a:pt x="48" y="42"/>
                      <a:pt x="51" y="39"/>
                      <a:pt x="50" y="39"/>
                    </a:cubicBezTo>
                    <a:cubicBezTo>
                      <a:pt x="50" y="37"/>
                      <a:pt x="48" y="37"/>
                      <a:pt x="50" y="37"/>
                    </a:cubicBezTo>
                    <a:close/>
                    <a:moveTo>
                      <a:pt x="54" y="31"/>
                    </a:moveTo>
                    <a:cubicBezTo>
                      <a:pt x="53" y="28"/>
                      <a:pt x="54" y="29"/>
                      <a:pt x="53" y="28"/>
                    </a:cubicBezTo>
                    <a:cubicBezTo>
                      <a:pt x="53" y="28"/>
                      <a:pt x="51" y="28"/>
                      <a:pt x="50" y="29"/>
                    </a:cubicBezTo>
                    <a:cubicBezTo>
                      <a:pt x="48" y="29"/>
                      <a:pt x="50" y="31"/>
                      <a:pt x="53" y="33"/>
                    </a:cubicBezTo>
                    <a:cubicBezTo>
                      <a:pt x="54" y="33"/>
                      <a:pt x="56" y="33"/>
                      <a:pt x="54" y="31"/>
                    </a:cubicBezTo>
                    <a:close/>
                    <a:moveTo>
                      <a:pt x="41" y="12"/>
                    </a:moveTo>
                    <a:cubicBezTo>
                      <a:pt x="41" y="12"/>
                      <a:pt x="41" y="15"/>
                      <a:pt x="39" y="14"/>
                    </a:cubicBezTo>
                    <a:cubicBezTo>
                      <a:pt x="38" y="14"/>
                      <a:pt x="39" y="12"/>
                      <a:pt x="41" y="12"/>
                    </a:cubicBezTo>
                    <a:close/>
                    <a:moveTo>
                      <a:pt x="30" y="36"/>
                    </a:moveTo>
                    <a:cubicBezTo>
                      <a:pt x="33" y="37"/>
                      <a:pt x="32" y="39"/>
                      <a:pt x="33" y="39"/>
                    </a:cubicBezTo>
                    <a:cubicBezTo>
                      <a:pt x="36" y="39"/>
                      <a:pt x="36" y="43"/>
                      <a:pt x="38" y="43"/>
                    </a:cubicBezTo>
                    <a:cubicBezTo>
                      <a:pt x="39" y="45"/>
                      <a:pt x="39" y="42"/>
                      <a:pt x="38" y="42"/>
                    </a:cubicBezTo>
                    <a:cubicBezTo>
                      <a:pt x="36" y="40"/>
                      <a:pt x="36" y="39"/>
                      <a:pt x="36" y="37"/>
                    </a:cubicBezTo>
                    <a:cubicBezTo>
                      <a:pt x="36" y="34"/>
                      <a:pt x="35" y="37"/>
                      <a:pt x="30" y="33"/>
                    </a:cubicBezTo>
                    <a:cubicBezTo>
                      <a:pt x="29" y="31"/>
                      <a:pt x="25" y="33"/>
                      <a:pt x="25" y="34"/>
                    </a:cubicBezTo>
                    <a:cubicBezTo>
                      <a:pt x="27" y="34"/>
                      <a:pt x="29" y="34"/>
                      <a:pt x="30" y="36"/>
                    </a:cubicBezTo>
                    <a:close/>
                    <a:moveTo>
                      <a:pt x="47" y="53"/>
                    </a:moveTo>
                    <a:cubicBezTo>
                      <a:pt x="48" y="51"/>
                      <a:pt x="48" y="56"/>
                      <a:pt x="47" y="54"/>
                    </a:cubicBezTo>
                    <a:cubicBezTo>
                      <a:pt x="45" y="54"/>
                      <a:pt x="45" y="53"/>
                      <a:pt x="47" y="53"/>
                    </a:cubicBezTo>
                    <a:close/>
                    <a:moveTo>
                      <a:pt x="60" y="71"/>
                    </a:moveTo>
                    <a:cubicBezTo>
                      <a:pt x="59" y="71"/>
                      <a:pt x="59" y="67"/>
                      <a:pt x="60" y="68"/>
                    </a:cubicBezTo>
                    <a:cubicBezTo>
                      <a:pt x="60" y="70"/>
                      <a:pt x="60" y="71"/>
                      <a:pt x="60" y="71"/>
                    </a:cubicBezTo>
                    <a:close/>
                    <a:moveTo>
                      <a:pt x="4" y="28"/>
                    </a:moveTo>
                    <a:cubicBezTo>
                      <a:pt x="1" y="25"/>
                      <a:pt x="1" y="25"/>
                      <a:pt x="1" y="25"/>
                    </a:cubicBezTo>
                    <a:cubicBezTo>
                      <a:pt x="3" y="23"/>
                      <a:pt x="1" y="23"/>
                      <a:pt x="0" y="23"/>
                    </a:cubicBezTo>
                    <a:cubicBezTo>
                      <a:pt x="0" y="25"/>
                      <a:pt x="1" y="28"/>
                      <a:pt x="4" y="28"/>
                    </a:cubicBezTo>
                    <a:close/>
                    <a:moveTo>
                      <a:pt x="44" y="23"/>
                    </a:moveTo>
                    <a:cubicBezTo>
                      <a:pt x="45" y="22"/>
                      <a:pt x="45" y="25"/>
                      <a:pt x="45" y="23"/>
                    </a:cubicBezTo>
                    <a:cubicBezTo>
                      <a:pt x="45" y="22"/>
                      <a:pt x="47" y="20"/>
                      <a:pt x="45" y="22"/>
                    </a:cubicBezTo>
                    <a:cubicBezTo>
                      <a:pt x="45" y="22"/>
                      <a:pt x="42" y="20"/>
                      <a:pt x="42" y="22"/>
                    </a:cubicBezTo>
                    <a:cubicBezTo>
                      <a:pt x="42" y="23"/>
                      <a:pt x="44" y="23"/>
                      <a:pt x="44" y="23"/>
                    </a:cubicBezTo>
                    <a:close/>
                    <a:moveTo>
                      <a:pt x="48" y="20"/>
                    </a:moveTo>
                    <a:cubicBezTo>
                      <a:pt x="48" y="17"/>
                      <a:pt x="51" y="19"/>
                      <a:pt x="50" y="20"/>
                    </a:cubicBezTo>
                    <a:cubicBezTo>
                      <a:pt x="48" y="20"/>
                      <a:pt x="48" y="20"/>
                      <a:pt x="48" y="20"/>
                    </a:cubicBezTo>
                    <a:close/>
                    <a:moveTo>
                      <a:pt x="44" y="54"/>
                    </a:moveTo>
                    <a:cubicBezTo>
                      <a:pt x="42" y="53"/>
                      <a:pt x="44" y="51"/>
                      <a:pt x="45" y="53"/>
                    </a:cubicBezTo>
                    <a:cubicBezTo>
                      <a:pt x="44" y="54"/>
                      <a:pt x="44" y="54"/>
                      <a:pt x="44" y="54"/>
                    </a:cubicBezTo>
                    <a:close/>
                    <a:moveTo>
                      <a:pt x="38" y="57"/>
                    </a:moveTo>
                    <a:cubicBezTo>
                      <a:pt x="36" y="57"/>
                      <a:pt x="38" y="59"/>
                      <a:pt x="39" y="57"/>
                    </a:cubicBezTo>
                    <a:cubicBezTo>
                      <a:pt x="39" y="56"/>
                      <a:pt x="39" y="56"/>
                      <a:pt x="38" y="57"/>
                    </a:cubicBezTo>
                    <a:close/>
                    <a:moveTo>
                      <a:pt x="38" y="48"/>
                    </a:moveTo>
                    <a:cubicBezTo>
                      <a:pt x="36" y="48"/>
                      <a:pt x="38" y="46"/>
                      <a:pt x="38" y="46"/>
                    </a:cubicBezTo>
                    <a:cubicBezTo>
                      <a:pt x="38" y="48"/>
                      <a:pt x="38" y="48"/>
                      <a:pt x="38" y="48"/>
                    </a:cubicBezTo>
                    <a:close/>
                    <a:moveTo>
                      <a:pt x="38" y="51"/>
                    </a:moveTo>
                    <a:cubicBezTo>
                      <a:pt x="36" y="51"/>
                      <a:pt x="38" y="48"/>
                      <a:pt x="38" y="50"/>
                    </a:cubicBezTo>
                    <a:cubicBezTo>
                      <a:pt x="39" y="50"/>
                      <a:pt x="39" y="51"/>
                      <a:pt x="38" y="51"/>
                    </a:cubicBezTo>
                    <a:close/>
                    <a:moveTo>
                      <a:pt x="50" y="48"/>
                    </a:moveTo>
                    <a:cubicBezTo>
                      <a:pt x="50" y="46"/>
                      <a:pt x="53" y="46"/>
                      <a:pt x="53" y="46"/>
                    </a:cubicBezTo>
                    <a:cubicBezTo>
                      <a:pt x="53" y="46"/>
                      <a:pt x="50" y="50"/>
                      <a:pt x="50" y="48"/>
                    </a:cubicBezTo>
                    <a:close/>
                    <a:moveTo>
                      <a:pt x="7" y="37"/>
                    </a:moveTo>
                    <a:cubicBezTo>
                      <a:pt x="6" y="37"/>
                      <a:pt x="7" y="34"/>
                      <a:pt x="9" y="34"/>
                    </a:cubicBezTo>
                    <a:cubicBezTo>
                      <a:pt x="9" y="36"/>
                      <a:pt x="9" y="37"/>
                      <a:pt x="7" y="37"/>
                    </a:cubicBezTo>
                    <a:close/>
                    <a:moveTo>
                      <a:pt x="41" y="34"/>
                    </a:moveTo>
                    <a:cubicBezTo>
                      <a:pt x="39" y="34"/>
                      <a:pt x="39" y="33"/>
                      <a:pt x="39" y="33"/>
                    </a:cubicBezTo>
                    <a:cubicBezTo>
                      <a:pt x="39" y="31"/>
                      <a:pt x="41" y="34"/>
                      <a:pt x="41" y="34"/>
                    </a:cubicBezTo>
                    <a:close/>
                    <a:moveTo>
                      <a:pt x="42" y="48"/>
                    </a:moveTo>
                    <a:cubicBezTo>
                      <a:pt x="44" y="50"/>
                      <a:pt x="45" y="48"/>
                      <a:pt x="44" y="46"/>
                    </a:cubicBezTo>
                    <a:cubicBezTo>
                      <a:pt x="42" y="46"/>
                      <a:pt x="41" y="42"/>
                      <a:pt x="41" y="43"/>
                    </a:cubicBezTo>
                    <a:cubicBezTo>
                      <a:pt x="39" y="45"/>
                      <a:pt x="42" y="45"/>
                      <a:pt x="42" y="48"/>
                    </a:cubicBezTo>
                    <a:close/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38" name="Freeform 232"/>
              <p:cNvSpPr>
                <a:spLocks noEditPoints="1"/>
              </p:cNvSpPr>
              <p:nvPr>
                <p:custDataLst>
                  <p:tags r:id="rId258"/>
                </p:custDataLst>
              </p:nvPr>
            </p:nvSpPr>
            <p:spPr bwMode="auto">
              <a:xfrm>
                <a:off x="2994895" y="4150388"/>
                <a:ext cx="160244" cy="961442"/>
              </a:xfrm>
              <a:custGeom>
                <a:avLst/>
                <a:gdLst/>
                <a:ahLst/>
                <a:cxnLst>
                  <a:cxn ang="0">
                    <a:pos x="69" y="59"/>
                  </a:cxn>
                  <a:cxn ang="0">
                    <a:pos x="46" y="158"/>
                  </a:cxn>
                  <a:cxn ang="0">
                    <a:pos x="33" y="251"/>
                  </a:cxn>
                  <a:cxn ang="0">
                    <a:pos x="33" y="313"/>
                  </a:cxn>
                  <a:cxn ang="0">
                    <a:pos x="46" y="375"/>
                  </a:cxn>
                  <a:cxn ang="0">
                    <a:pos x="31" y="391"/>
                  </a:cxn>
                  <a:cxn ang="0">
                    <a:pos x="25" y="389"/>
                  </a:cxn>
                  <a:cxn ang="0">
                    <a:pos x="20" y="386"/>
                  </a:cxn>
                  <a:cxn ang="0">
                    <a:pos x="28" y="374"/>
                  </a:cxn>
                  <a:cxn ang="0">
                    <a:pos x="17" y="369"/>
                  </a:cxn>
                  <a:cxn ang="0">
                    <a:pos x="14" y="357"/>
                  </a:cxn>
                  <a:cxn ang="0">
                    <a:pos x="14" y="341"/>
                  </a:cxn>
                  <a:cxn ang="0">
                    <a:pos x="19" y="327"/>
                  </a:cxn>
                  <a:cxn ang="0">
                    <a:pos x="3" y="313"/>
                  </a:cxn>
                  <a:cxn ang="0">
                    <a:pos x="22" y="293"/>
                  </a:cxn>
                  <a:cxn ang="0">
                    <a:pos x="22" y="256"/>
                  </a:cxn>
                  <a:cxn ang="0">
                    <a:pos x="34" y="165"/>
                  </a:cxn>
                  <a:cxn ang="0">
                    <a:pos x="43" y="58"/>
                  </a:cxn>
                  <a:cxn ang="0">
                    <a:pos x="59" y="383"/>
                  </a:cxn>
                  <a:cxn ang="0">
                    <a:pos x="46" y="399"/>
                  </a:cxn>
                  <a:cxn ang="0">
                    <a:pos x="34" y="406"/>
                  </a:cxn>
                  <a:cxn ang="0">
                    <a:pos x="48" y="411"/>
                  </a:cxn>
                  <a:cxn ang="0">
                    <a:pos x="22" y="287"/>
                  </a:cxn>
                  <a:cxn ang="0">
                    <a:pos x="45" y="403"/>
                  </a:cxn>
                  <a:cxn ang="0">
                    <a:pos x="13" y="271"/>
                  </a:cxn>
                  <a:cxn ang="0">
                    <a:pos x="14" y="259"/>
                  </a:cxn>
                  <a:cxn ang="0">
                    <a:pos x="16" y="296"/>
                  </a:cxn>
                  <a:cxn ang="0">
                    <a:pos x="14" y="290"/>
                  </a:cxn>
                  <a:cxn ang="0">
                    <a:pos x="17" y="299"/>
                  </a:cxn>
                  <a:cxn ang="0">
                    <a:pos x="14" y="301"/>
                  </a:cxn>
                  <a:cxn ang="0">
                    <a:pos x="6" y="305"/>
                  </a:cxn>
                  <a:cxn ang="0">
                    <a:pos x="16" y="284"/>
                  </a:cxn>
                  <a:cxn ang="0">
                    <a:pos x="10" y="302"/>
                  </a:cxn>
                  <a:cxn ang="0">
                    <a:pos x="53" y="417"/>
                  </a:cxn>
                  <a:cxn ang="0">
                    <a:pos x="59" y="416"/>
                  </a:cxn>
                  <a:cxn ang="0">
                    <a:pos x="48" y="413"/>
                  </a:cxn>
                  <a:cxn ang="0">
                    <a:pos x="39" y="411"/>
                  </a:cxn>
                  <a:cxn ang="0">
                    <a:pos x="66" y="421"/>
                  </a:cxn>
                  <a:cxn ang="0">
                    <a:pos x="33" y="403"/>
                  </a:cxn>
                  <a:cxn ang="0">
                    <a:pos x="25" y="396"/>
                  </a:cxn>
                  <a:cxn ang="0">
                    <a:pos x="23" y="402"/>
                  </a:cxn>
                  <a:cxn ang="0">
                    <a:pos x="17" y="383"/>
                  </a:cxn>
                  <a:cxn ang="0">
                    <a:pos x="19" y="389"/>
                  </a:cxn>
                  <a:cxn ang="0">
                    <a:pos x="16" y="374"/>
                  </a:cxn>
                  <a:cxn ang="0">
                    <a:pos x="11" y="372"/>
                  </a:cxn>
                  <a:cxn ang="0">
                    <a:pos x="13" y="378"/>
                  </a:cxn>
                  <a:cxn ang="0">
                    <a:pos x="10" y="380"/>
                  </a:cxn>
                  <a:cxn ang="0">
                    <a:pos x="16" y="368"/>
                  </a:cxn>
                  <a:cxn ang="0">
                    <a:pos x="13" y="366"/>
                  </a:cxn>
                  <a:cxn ang="0">
                    <a:pos x="6" y="343"/>
                  </a:cxn>
                  <a:cxn ang="0">
                    <a:pos x="5" y="360"/>
                  </a:cxn>
                  <a:cxn ang="0">
                    <a:pos x="13" y="361"/>
                  </a:cxn>
                  <a:cxn ang="0">
                    <a:pos x="8" y="355"/>
                  </a:cxn>
                  <a:cxn ang="0">
                    <a:pos x="10" y="363"/>
                  </a:cxn>
                  <a:cxn ang="0">
                    <a:pos x="8" y="341"/>
                  </a:cxn>
                  <a:cxn ang="0">
                    <a:pos x="10" y="336"/>
                  </a:cxn>
                  <a:cxn ang="0">
                    <a:pos x="6" y="333"/>
                  </a:cxn>
                  <a:cxn ang="0">
                    <a:pos x="8" y="329"/>
                  </a:cxn>
                  <a:cxn ang="0">
                    <a:pos x="3" y="336"/>
                  </a:cxn>
                  <a:cxn ang="0">
                    <a:pos x="6" y="326"/>
                  </a:cxn>
                  <a:cxn ang="0">
                    <a:pos x="5" y="338"/>
                  </a:cxn>
                </a:cxnLst>
                <a:rect l="0" t="0" r="r" b="b"/>
                <a:pathLst>
                  <a:path w="71" h="424">
                    <a:moveTo>
                      <a:pt x="51" y="0"/>
                    </a:moveTo>
                    <a:cubicBezTo>
                      <a:pt x="53" y="7"/>
                      <a:pt x="54" y="7"/>
                      <a:pt x="54" y="8"/>
                    </a:cubicBezTo>
                    <a:cubicBezTo>
                      <a:pt x="54" y="10"/>
                      <a:pt x="56" y="17"/>
                      <a:pt x="57" y="17"/>
                    </a:cubicBezTo>
                    <a:cubicBezTo>
                      <a:pt x="59" y="21"/>
                      <a:pt x="60" y="21"/>
                      <a:pt x="59" y="22"/>
                    </a:cubicBezTo>
                    <a:cubicBezTo>
                      <a:pt x="56" y="25"/>
                      <a:pt x="60" y="25"/>
                      <a:pt x="59" y="27"/>
                    </a:cubicBezTo>
                    <a:cubicBezTo>
                      <a:pt x="57" y="30"/>
                      <a:pt x="57" y="31"/>
                      <a:pt x="59" y="31"/>
                    </a:cubicBezTo>
                    <a:cubicBezTo>
                      <a:pt x="60" y="33"/>
                      <a:pt x="57" y="36"/>
                      <a:pt x="60" y="36"/>
                    </a:cubicBezTo>
                    <a:cubicBezTo>
                      <a:pt x="62" y="36"/>
                      <a:pt x="63" y="46"/>
                      <a:pt x="63" y="52"/>
                    </a:cubicBezTo>
                    <a:cubicBezTo>
                      <a:pt x="65" y="56"/>
                      <a:pt x="66" y="56"/>
                      <a:pt x="69" y="55"/>
                    </a:cubicBezTo>
                    <a:cubicBezTo>
                      <a:pt x="71" y="56"/>
                      <a:pt x="71" y="58"/>
                      <a:pt x="69" y="59"/>
                    </a:cubicBezTo>
                    <a:cubicBezTo>
                      <a:pt x="69" y="63"/>
                      <a:pt x="69" y="67"/>
                      <a:pt x="66" y="69"/>
                    </a:cubicBezTo>
                    <a:cubicBezTo>
                      <a:pt x="65" y="69"/>
                      <a:pt x="57" y="72"/>
                      <a:pt x="59" y="77"/>
                    </a:cubicBezTo>
                    <a:cubicBezTo>
                      <a:pt x="60" y="78"/>
                      <a:pt x="57" y="91"/>
                      <a:pt x="60" y="95"/>
                    </a:cubicBezTo>
                    <a:cubicBezTo>
                      <a:pt x="63" y="103"/>
                      <a:pt x="57" y="95"/>
                      <a:pt x="56" y="103"/>
                    </a:cubicBezTo>
                    <a:cubicBezTo>
                      <a:pt x="53" y="111"/>
                      <a:pt x="54" y="109"/>
                      <a:pt x="51" y="111"/>
                    </a:cubicBezTo>
                    <a:cubicBezTo>
                      <a:pt x="49" y="112"/>
                      <a:pt x="49" y="119"/>
                      <a:pt x="48" y="120"/>
                    </a:cubicBezTo>
                    <a:cubicBezTo>
                      <a:pt x="45" y="123"/>
                      <a:pt x="49" y="129"/>
                      <a:pt x="48" y="133"/>
                    </a:cubicBezTo>
                    <a:cubicBezTo>
                      <a:pt x="46" y="134"/>
                      <a:pt x="46" y="131"/>
                      <a:pt x="45" y="136"/>
                    </a:cubicBezTo>
                    <a:cubicBezTo>
                      <a:pt x="43" y="140"/>
                      <a:pt x="42" y="145"/>
                      <a:pt x="43" y="147"/>
                    </a:cubicBezTo>
                    <a:cubicBezTo>
                      <a:pt x="45" y="150"/>
                      <a:pt x="45" y="153"/>
                      <a:pt x="46" y="158"/>
                    </a:cubicBezTo>
                    <a:cubicBezTo>
                      <a:pt x="48" y="162"/>
                      <a:pt x="45" y="164"/>
                      <a:pt x="48" y="164"/>
                    </a:cubicBezTo>
                    <a:cubicBezTo>
                      <a:pt x="51" y="164"/>
                      <a:pt x="48" y="167"/>
                      <a:pt x="48" y="171"/>
                    </a:cubicBezTo>
                    <a:cubicBezTo>
                      <a:pt x="49" y="176"/>
                      <a:pt x="45" y="173"/>
                      <a:pt x="45" y="181"/>
                    </a:cubicBezTo>
                    <a:cubicBezTo>
                      <a:pt x="43" y="190"/>
                      <a:pt x="45" y="192"/>
                      <a:pt x="43" y="195"/>
                    </a:cubicBezTo>
                    <a:cubicBezTo>
                      <a:pt x="40" y="200"/>
                      <a:pt x="39" y="196"/>
                      <a:pt x="39" y="200"/>
                    </a:cubicBezTo>
                    <a:cubicBezTo>
                      <a:pt x="37" y="203"/>
                      <a:pt x="39" y="207"/>
                      <a:pt x="37" y="210"/>
                    </a:cubicBezTo>
                    <a:cubicBezTo>
                      <a:pt x="37" y="214"/>
                      <a:pt x="42" y="221"/>
                      <a:pt x="39" y="223"/>
                    </a:cubicBezTo>
                    <a:cubicBezTo>
                      <a:pt x="33" y="228"/>
                      <a:pt x="37" y="231"/>
                      <a:pt x="34" y="232"/>
                    </a:cubicBezTo>
                    <a:cubicBezTo>
                      <a:pt x="31" y="235"/>
                      <a:pt x="36" y="240"/>
                      <a:pt x="33" y="243"/>
                    </a:cubicBezTo>
                    <a:cubicBezTo>
                      <a:pt x="29" y="246"/>
                      <a:pt x="33" y="245"/>
                      <a:pt x="33" y="251"/>
                    </a:cubicBezTo>
                    <a:cubicBezTo>
                      <a:pt x="31" y="257"/>
                      <a:pt x="34" y="259"/>
                      <a:pt x="33" y="260"/>
                    </a:cubicBezTo>
                    <a:cubicBezTo>
                      <a:pt x="33" y="263"/>
                      <a:pt x="31" y="259"/>
                      <a:pt x="29" y="265"/>
                    </a:cubicBezTo>
                    <a:cubicBezTo>
                      <a:pt x="29" y="271"/>
                      <a:pt x="33" y="271"/>
                      <a:pt x="33" y="273"/>
                    </a:cubicBezTo>
                    <a:cubicBezTo>
                      <a:pt x="34" y="274"/>
                      <a:pt x="31" y="279"/>
                      <a:pt x="34" y="281"/>
                    </a:cubicBezTo>
                    <a:cubicBezTo>
                      <a:pt x="36" y="282"/>
                      <a:pt x="29" y="288"/>
                      <a:pt x="34" y="287"/>
                    </a:cubicBezTo>
                    <a:cubicBezTo>
                      <a:pt x="40" y="285"/>
                      <a:pt x="39" y="291"/>
                      <a:pt x="34" y="291"/>
                    </a:cubicBezTo>
                    <a:cubicBezTo>
                      <a:pt x="29" y="290"/>
                      <a:pt x="29" y="291"/>
                      <a:pt x="33" y="293"/>
                    </a:cubicBezTo>
                    <a:cubicBezTo>
                      <a:pt x="37" y="293"/>
                      <a:pt x="37" y="298"/>
                      <a:pt x="34" y="299"/>
                    </a:cubicBezTo>
                    <a:cubicBezTo>
                      <a:pt x="29" y="301"/>
                      <a:pt x="36" y="304"/>
                      <a:pt x="33" y="305"/>
                    </a:cubicBezTo>
                    <a:cubicBezTo>
                      <a:pt x="31" y="307"/>
                      <a:pt x="36" y="312"/>
                      <a:pt x="33" y="313"/>
                    </a:cubicBezTo>
                    <a:cubicBezTo>
                      <a:pt x="28" y="316"/>
                      <a:pt x="36" y="316"/>
                      <a:pt x="31" y="319"/>
                    </a:cubicBezTo>
                    <a:cubicBezTo>
                      <a:pt x="26" y="324"/>
                      <a:pt x="29" y="324"/>
                      <a:pt x="28" y="326"/>
                    </a:cubicBezTo>
                    <a:cubicBezTo>
                      <a:pt x="25" y="329"/>
                      <a:pt x="31" y="330"/>
                      <a:pt x="28" y="333"/>
                    </a:cubicBezTo>
                    <a:cubicBezTo>
                      <a:pt x="25" y="335"/>
                      <a:pt x="23" y="344"/>
                      <a:pt x="20" y="344"/>
                    </a:cubicBezTo>
                    <a:cubicBezTo>
                      <a:pt x="17" y="343"/>
                      <a:pt x="20" y="347"/>
                      <a:pt x="19" y="351"/>
                    </a:cubicBezTo>
                    <a:cubicBezTo>
                      <a:pt x="17" y="355"/>
                      <a:pt x="20" y="352"/>
                      <a:pt x="22" y="358"/>
                    </a:cubicBezTo>
                    <a:cubicBezTo>
                      <a:pt x="22" y="363"/>
                      <a:pt x="23" y="358"/>
                      <a:pt x="26" y="358"/>
                    </a:cubicBezTo>
                    <a:cubicBezTo>
                      <a:pt x="29" y="358"/>
                      <a:pt x="26" y="371"/>
                      <a:pt x="29" y="372"/>
                    </a:cubicBezTo>
                    <a:cubicBezTo>
                      <a:pt x="33" y="374"/>
                      <a:pt x="29" y="375"/>
                      <a:pt x="34" y="375"/>
                    </a:cubicBezTo>
                    <a:cubicBezTo>
                      <a:pt x="39" y="375"/>
                      <a:pt x="46" y="375"/>
                      <a:pt x="46" y="375"/>
                    </a:cubicBezTo>
                    <a:cubicBezTo>
                      <a:pt x="51" y="378"/>
                      <a:pt x="59" y="377"/>
                      <a:pt x="60" y="380"/>
                    </a:cubicBezTo>
                    <a:cubicBezTo>
                      <a:pt x="59" y="380"/>
                      <a:pt x="57" y="380"/>
                      <a:pt x="56" y="378"/>
                    </a:cubicBezTo>
                    <a:cubicBezTo>
                      <a:pt x="53" y="378"/>
                      <a:pt x="53" y="378"/>
                      <a:pt x="51" y="382"/>
                    </a:cubicBezTo>
                    <a:cubicBezTo>
                      <a:pt x="48" y="383"/>
                      <a:pt x="49" y="380"/>
                      <a:pt x="46" y="383"/>
                    </a:cubicBezTo>
                    <a:cubicBezTo>
                      <a:pt x="43" y="385"/>
                      <a:pt x="42" y="383"/>
                      <a:pt x="40" y="386"/>
                    </a:cubicBezTo>
                    <a:cubicBezTo>
                      <a:pt x="40" y="391"/>
                      <a:pt x="40" y="388"/>
                      <a:pt x="39" y="394"/>
                    </a:cubicBezTo>
                    <a:cubicBezTo>
                      <a:pt x="39" y="399"/>
                      <a:pt x="40" y="399"/>
                      <a:pt x="37" y="399"/>
                    </a:cubicBezTo>
                    <a:cubicBezTo>
                      <a:pt x="34" y="399"/>
                      <a:pt x="33" y="397"/>
                      <a:pt x="33" y="397"/>
                    </a:cubicBezTo>
                    <a:cubicBezTo>
                      <a:pt x="31" y="397"/>
                      <a:pt x="28" y="394"/>
                      <a:pt x="28" y="393"/>
                    </a:cubicBezTo>
                    <a:cubicBezTo>
                      <a:pt x="28" y="391"/>
                      <a:pt x="29" y="391"/>
                      <a:pt x="31" y="391"/>
                    </a:cubicBezTo>
                    <a:cubicBezTo>
                      <a:pt x="31" y="393"/>
                      <a:pt x="31" y="391"/>
                      <a:pt x="33" y="391"/>
                    </a:cubicBezTo>
                    <a:cubicBezTo>
                      <a:pt x="34" y="393"/>
                      <a:pt x="33" y="391"/>
                      <a:pt x="34" y="389"/>
                    </a:cubicBezTo>
                    <a:cubicBezTo>
                      <a:pt x="37" y="389"/>
                      <a:pt x="39" y="386"/>
                      <a:pt x="37" y="386"/>
                    </a:cubicBezTo>
                    <a:cubicBezTo>
                      <a:pt x="36" y="385"/>
                      <a:pt x="36" y="386"/>
                      <a:pt x="33" y="388"/>
                    </a:cubicBezTo>
                    <a:cubicBezTo>
                      <a:pt x="31" y="388"/>
                      <a:pt x="33" y="389"/>
                      <a:pt x="29" y="389"/>
                    </a:cubicBezTo>
                    <a:cubicBezTo>
                      <a:pt x="25" y="388"/>
                      <a:pt x="31" y="389"/>
                      <a:pt x="29" y="391"/>
                    </a:cubicBezTo>
                    <a:cubicBezTo>
                      <a:pt x="28" y="391"/>
                      <a:pt x="26" y="391"/>
                      <a:pt x="26" y="394"/>
                    </a:cubicBezTo>
                    <a:cubicBezTo>
                      <a:pt x="28" y="396"/>
                      <a:pt x="26" y="394"/>
                      <a:pt x="25" y="393"/>
                    </a:cubicBezTo>
                    <a:cubicBezTo>
                      <a:pt x="22" y="393"/>
                      <a:pt x="20" y="389"/>
                      <a:pt x="22" y="389"/>
                    </a:cubicBezTo>
                    <a:cubicBezTo>
                      <a:pt x="23" y="389"/>
                      <a:pt x="25" y="391"/>
                      <a:pt x="25" y="389"/>
                    </a:cubicBezTo>
                    <a:cubicBezTo>
                      <a:pt x="23" y="389"/>
                      <a:pt x="25" y="389"/>
                      <a:pt x="23" y="388"/>
                    </a:cubicBezTo>
                    <a:cubicBezTo>
                      <a:pt x="23" y="386"/>
                      <a:pt x="25" y="385"/>
                      <a:pt x="26" y="386"/>
                    </a:cubicBezTo>
                    <a:cubicBezTo>
                      <a:pt x="28" y="388"/>
                      <a:pt x="28" y="383"/>
                      <a:pt x="31" y="383"/>
                    </a:cubicBezTo>
                    <a:cubicBezTo>
                      <a:pt x="33" y="385"/>
                      <a:pt x="34" y="385"/>
                      <a:pt x="36" y="383"/>
                    </a:cubicBezTo>
                    <a:cubicBezTo>
                      <a:pt x="36" y="383"/>
                      <a:pt x="29" y="382"/>
                      <a:pt x="28" y="383"/>
                    </a:cubicBezTo>
                    <a:cubicBezTo>
                      <a:pt x="26" y="385"/>
                      <a:pt x="28" y="382"/>
                      <a:pt x="25" y="382"/>
                    </a:cubicBezTo>
                    <a:cubicBezTo>
                      <a:pt x="23" y="383"/>
                      <a:pt x="25" y="383"/>
                      <a:pt x="25" y="383"/>
                    </a:cubicBezTo>
                    <a:cubicBezTo>
                      <a:pt x="26" y="385"/>
                      <a:pt x="23" y="385"/>
                      <a:pt x="23" y="386"/>
                    </a:cubicBezTo>
                    <a:cubicBezTo>
                      <a:pt x="23" y="388"/>
                      <a:pt x="23" y="389"/>
                      <a:pt x="20" y="389"/>
                    </a:cubicBezTo>
                    <a:cubicBezTo>
                      <a:pt x="17" y="388"/>
                      <a:pt x="22" y="388"/>
                      <a:pt x="20" y="386"/>
                    </a:cubicBezTo>
                    <a:cubicBezTo>
                      <a:pt x="20" y="386"/>
                      <a:pt x="19" y="385"/>
                      <a:pt x="20" y="386"/>
                    </a:cubicBezTo>
                    <a:cubicBezTo>
                      <a:pt x="22" y="386"/>
                      <a:pt x="20" y="382"/>
                      <a:pt x="19" y="385"/>
                    </a:cubicBezTo>
                    <a:cubicBezTo>
                      <a:pt x="17" y="386"/>
                      <a:pt x="17" y="385"/>
                      <a:pt x="19" y="382"/>
                    </a:cubicBezTo>
                    <a:cubicBezTo>
                      <a:pt x="20" y="380"/>
                      <a:pt x="17" y="382"/>
                      <a:pt x="19" y="380"/>
                    </a:cubicBezTo>
                    <a:cubicBezTo>
                      <a:pt x="19" y="377"/>
                      <a:pt x="16" y="375"/>
                      <a:pt x="17" y="377"/>
                    </a:cubicBezTo>
                    <a:cubicBezTo>
                      <a:pt x="19" y="377"/>
                      <a:pt x="20" y="380"/>
                      <a:pt x="22" y="378"/>
                    </a:cubicBezTo>
                    <a:cubicBezTo>
                      <a:pt x="22" y="377"/>
                      <a:pt x="23" y="377"/>
                      <a:pt x="23" y="377"/>
                    </a:cubicBezTo>
                    <a:cubicBezTo>
                      <a:pt x="23" y="378"/>
                      <a:pt x="23" y="378"/>
                      <a:pt x="23" y="375"/>
                    </a:cubicBezTo>
                    <a:cubicBezTo>
                      <a:pt x="25" y="374"/>
                      <a:pt x="28" y="378"/>
                      <a:pt x="26" y="377"/>
                    </a:cubicBezTo>
                    <a:cubicBezTo>
                      <a:pt x="25" y="375"/>
                      <a:pt x="26" y="375"/>
                      <a:pt x="28" y="374"/>
                    </a:cubicBezTo>
                    <a:cubicBezTo>
                      <a:pt x="28" y="371"/>
                      <a:pt x="26" y="371"/>
                      <a:pt x="23" y="369"/>
                    </a:cubicBezTo>
                    <a:cubicBezTo>
                      <a:pt x="20" y="368"/>
                      <a:pt x="20" y="369"/>
                      <a:pt x="23" y="371"/>
                    </a:cubicBezTo>
                    <a:cubicBezTo>
                      <a:pt x="26" y="372"/>
                      <a:pt x="28" y="374"/>
                      <a:pt x="25" y="374"/>
                    </a:cubicBezTo>
                    <a:cubicBezTo>
                      <a:pt x="22" y="372"/>
                      <a:pt x="23" y="374"/>
                      <a:pt x="23" y="374"/>
                    </a:cubicBezTo>
                    <a:cubicBezTo>
                      <a:pt x="22" y="374"/>
                      <a:pt x="22" y="375"/>
                      <a:pt x="22" y="377"/>
                    </a:cubicBezTo>
                    <a:cubicBezTo>
                      <a:pt x="20" y="378"/>
                      <a:pt x="17" y="374"/>
                      <a:pt x="19" y="374"/>
                    </a:cubicBezTo>
                    <a:cubicBezTo>
                      <a:pt x="20" y="375"/>
                      <a:pt x="19" y="375"/>
                      <a:pt x="19" y="372"/>
                    </a:cubicBezTo>
                    <a:cubicBezTo>
                      <a:pt x="19" y="371"/>
                      <a:pt x="17" y="374"/>
                      <a:pt x="16" y="372"/>
                    </a:cubicBezTo>
                    <a:cubicBezTo>
                      <a:pt x="16" y="371"/>
                      <a:pt x="17" y="371"/>
                      <a:pt x="16" y="369"/>
                    </a:cubicBezTo>
                    <a:cubicBezTo>
                      <a:pt x="16" y="368"/>
                      <a:pt x="16" y="368"/>
                      <a:pt x="17" y="369"/>
                    </a:cubicBezTo>
                    <a:cubicBezTo>
                      <a:pt x="17" y="371"/>
                      <a:pt x="19" y="371"/>
                      <a:pt x="17" y="368"/>
                    </a:cubicBezTo>
                    <a:cubicBezTo>
                      <a:pt x="17" y="366"/>
                      <a:pt x="17" y="366"/>
                      <a:pt x="16" y="366"/>
                    </a:cubicBezTo>
                    <a:cubicBezTo>
                      <a:pt x="14" y="366"/>
                      <a:pt x="14" y="368"/>
                      <a:pt x="14" y="364"/>
                    </a:cubicBezTo>
                    <a:cubicBezTo>
                      <a:pt x="14" y="363"/>
                      <a:pt x="14" y="364"/>
                      <a:pt x="14" y="363"/>
                    </a:cubicBezTo>
                    <a:cubicBezTo>
                      <a:pt x="13" y="363"/>
                      <a:pt x="14" y="361"/>
                      <a:pt x="16" y="363"/>
                    </a:cubicBezTo>
                    <a:cubicBezTo>
                      <a:pt x="16" y="363"/>
                      <a:pt x="17" y="361"/>
                      <a:pt x="17" y="360"/>
                    </a:cubicBezTo>
                    <a:cubicBezTo>
                      <a:pt x="19" y="357"/>
                      <a:pt x="17" y="357"/>
                      <a:pt x="17" y="358"/>
                    </a:cubicBezTo>
                    <a:cubicBezTo>
                      <a:pt x="16" y="361"/>
                      <a:pt x="16" y="361"/>
                      <a:pt x="14" y="360"/>
                    </a:cubicBezTo>
                    <a:cubicBezTo>
                      <a:pt x="13" y="358"/>
                      <a:pt x="13" y="358"/>
                      <a:pt x="14" y="358"/>
                    </a:cubicBezTo>
                    <a:cubicBezTo>
                      <a:pt x="16" y="358"/>
                      <a:pt x="16" y="358"/>
                      <a:pt x="14" y="357"/>
                    </a:cubicBezTo>
                    <a:cubicBezTo>
                      <a:pt x="13" y="357"/>
                      <a:pt x="14" y="357"/>
                      <a:pt x="13" y="357"/>
                    </a:cubicBezTo>
                    <a:cubicBezTo>
                      <a:pt x="11" y="355"/>
                      <a:pt x="11" y="355"/>
                      <a:pt x="10" y="354"/>
                    </a:cubicBezTo>
                    <a:cubicBezTo>
                      <a:pt x="8" y="354"/>
                      <a:pt x="11" y="352"/>
                      <a:pt x="13" y="354"/>
                    </a:cubicBezTo>
                    <a:cubicBezTo>
                      <a:pt x="14" y="355"/>
                      <a:pt x="16" y="355"/>
                      <a:pt x="14" y="354"/>
                    </a:cubicBezTo>
                    <a:cubicBezTo>
                      <a:pt x="13" y="352"/>
                      <a:pt x="11" y="351"/>
                      <a:pt x="14" y="352"/>
                    </a:cubicBezTo>
                    <a:cubicBezTo>
                      <a:pt x="17" y="352"/>
                      <a:pt x="16" y="352"/>
                      <a:pt x="13" y="351"/>
                    </a:cubicBezTo>
                    <a:cubicBezTo>
                      <a:pt x="11" y="349"/>
                      <a:pt x="14" y="349"/>
                      <a:pt x="13" y="347"/>
                    </a:cubicBezTo>
                    <a:cubicBezTo>
                      <a:pt x="13" y="347"/>
                      <a:pt x="14" y="346"/>
                      <a:pt x="16" y="347"/>
                    </a:cubicBezTo>
                    <a:cubicBezTo>
                      <a:pt x="17" y="349"/>
                      <a:pt x="16" y="346"/>
                      <a:pt x="14" y="344"/>
                    </a:cubicBezTo>
                    <a:cubicBezTo>
                      <a:pt x="14" y="343"/>
                      <a:pt x="16" y="341"/>
                      <a:pt x="14" y="341"/>
                    </a:cubicBezTo>
                    <a:cubicBezTo>
                      <a:pt x="13" y="343"/>
                      <a:pt x="14" y="346"/>
                      <a:pt x="13" y="346"/>
                    </a:cubicBezTo>
                    <a:cubicBezTo>
                      <a:pt x="11" y="346"/>
                      <a:pt x="13" y="343"/>
                      <a:pt x="11" y="340"/>
                    </a:cubicBezTo>
                    <a:cubicBezTo>
                      <a:pt x="11" y="336"/>
                      <a:pt x="13" y="336"/>
                      <a:pt x="13" y="335"/>
                    </a:cubicBezTo>
                    <a:cubicBezTo>
                      <a:pt x="13" y="332"/>
                      <a:pt x="16" y="335"/>
                      <a:pt x="16" y="335"/>
                    </a:cubicBezTo>
                    <a:cubicBezTo>
                      <a:pt x="14" y="333"/>
                      <a:pt x="16" y="333"/>
                      <a:pt x="14" y="333"/>
                    </a:cubicBezTo>
                    <a:cubicBezTo>
                      <a:pt x="14" y="332"/>
                      <a:pt x="13" y="332"/>
                      <a:pt x="11" y="330"/>
                    </a:cubicBezTo>
                    <a:cubicBezTo>
                      <a:pt x="11" y="329"/>
                      <a:pt x="11" y="330"/>
                      <a:pt x="10" y="329"/>
                    </a:cubicBezTo>
                    <a:cubicBezTo>
                      <a:pt x="10" y="327"/>
                      <a:pt x="11" y="329"/>
                      <a:pt x="14" y="329"/>
                    </a:cubicBezTo>
                    <a:cubicBezTo>
                      <a:pt x="16" y="329"/>
                      <a:pt x="17" y="329"/>
                      <a:pt x="19" y="330"/>
                    </a:cubicBezTo>
                    <a:cubicBezTo>
                      <a:pt x="22" y="332"/>
                      <a:pt x="17" y="327"/>
                      <a:pt x="19" y="327"/>
                    </a:cubicBezTo>
                    <a:cubicBezTo>
                      <a:pt x="20" y="327"/>
                      <a:pt x="17" y="324"/>
                      <a:pt x="17" y="326"/>
                    </a:cubicBezTo>
                    <a:cubicBezTo>
                      <a:pt x="17" y="327"/>
                      <a:pt x="16" y="324"/>
                      <a:pt x="13" y="326"/>
                    </a:cubicBezTo>
                    <a:cubicBezTo>
                      <a:pt x="10" y="326"/>
                      <a:pt x="10" y="326"/>
                      <a:pt x="10" y="324"/>
                    </a:cubicBezTo>
                    <a:cubicBezTo>
                      <a:pt x="11" y="322"/>
                      <a:pt x="11" y="324"/>
                      <a:pt x="13" y="324"/>
                    </a:cubicBezTo>
                    <a:cubicBezTo>
                      <a:pt x="14" y="324"/>
                      <a:pt x="10" y="322"/>
                      <a:pt x="11" y="321"/>
                    </a:cubicBezTo>
                    <a:cubicBezTo>
                      <a:pt x="13" y="318"/>
                      <a:pt x="16" y="319"/>
                      <a:pt x="16" y="318"/>
                    </a:cubicBezTo>
                    <a:cubicBezTo>
                      <a:pt x="16" y="315"/>
                      <a:pt x="14" y="316"/>
                      <a:pt x="14" y="315"/>
                    </a:cubicBezTo>
                    <a:cubicBezTo>
                      <a:pt x="13" y="313"/>
                      <a:pt x="11" y="313"/>
                      <a:pt x="11" y="315"/>
                    </a:cubicBezTo>
                    <a:cubicBezTo>
                      <a:pt x="11" y="316"/>
                      <a:pt x="8" y="315"/>
                      <a:pt x="6" y="313"/>
                    </a:cubicBezTo>
                    <a:cubicBezTo>
                      <a:pt x="6" y="310"/>
                      <a:pt x="3" y="312"/>
                      <a:pt x="3" y="313"/>
                    </a:cubicBezTo>
                    <a:cubicBezTo>
                      <a:pt x="3" y="316"/>
                      <a:pt x="3" y="316"/>
                      <a:pt x="2" y="315"/>
                    </a:cubicBezTo>
                    <a:cubicBezTo>
                      <a:pt x="0" y="312"/>
                      <a:pt x="3" y="310"/>
                      <a:pt x="6" y="307"/>
                    </a:cubicBezTo>
                    <a:cubicBezTo>
                      <a:pt x="11" y="305"/>
                      <a:pt x="8" y="302"/>
                      <a:pt x="11" y="304"/>
                    </a:cubicBezTo>
                    <a:cubicBezTo>
                      <a:pt x="13" y="304"/>
                      <a:pt x="10" y="302"/>
                      <a:pt x="13" y="302"/>
                    </a:cubicBezTo>
                    <a:cubicBezTo>
                      <a:pt x="16" y="302"/>
                      <a:pt x="13" y="305"/>
                      <a:pt x="16" y="307"/>
                    </a:cubicBezTo>
                    <a:cubicBezTo>
                      <a:pt x="19" y="308"/>
                      <a:pt x="14" y="313"/>
                      <a:pt x="17" y="312"/>
                    </a:cubicBezTo>
                    <a:cubicBezTo>
                      <a:pt x="19" y="310"/>
                      <a:pt x="17" y="310"/>
                      <a:pt x="19" y="305"/>
                    </a:cubicBezTo>
                    <a:cubicBezTo>
                      <a:pt x="19" y="301"/>
                      <a:pt x="19" y="302"/>
                      <a:pt x="19" y="299"/>
                    </a:cubicBezTo>
                    <a:cubicBezTo>
                      <a:pt x="19" y="298"/>
                      <a:pt x="22" y="298"/>
                      <a:pt x="20" y="296"/>
                    </a:cubicBezTo>
                    <a:cubicBezTo>
                      <a:pt x="20" y="294"/>
                      <a:pt x="19" y="294"/>
                      <a:pt x="22" y="293"/>
                    </a:cubicBezTo>
                    <a:cubicBezTo>
                      <a:pt x="23" y="293"/>
                      <a:pt x="25" y="291"/>
                      <a:pt x="25" y="290"/>
                    </a:cubicBezTo>
                    <a:cubicBezTo>
                      <a:pt x="26" y="288"/>
                      <a:pt x="26" y="285"/>
                      <a:pt x="23" y="285"/>
                    </a:cubicBezTo>
                    <a:cubicBezTo>
                      <a:pt x="22" y="285"/>
                      <a:pt x="20" y="284"/>
                      <a:pt x="22" y="284"/>
                    </a:cubicBezTo>
                    <a:cubicBezTo>
                      <a:pt x="23" y="282"/>
                      <a:pt x="23" y="279"/>
                      <a:pt x="22" y="276"/>
                    </a:cubicBezTo>
                    <a:cubicBezTo>
                      <a:pt x="22" y="273"/>
                      <a:pt x="26" y="273"/>
                      <a:pt x="25" y="268"/>
                    </a:cubicBezTo>
                    <a:cubicBezTo>
                      <a:pt x="23" y="265"/>
                      <a:pt x="25" y="266"/>
                      <a:pt x="25" y="263"/>
                    </a:cubicBezTo>
                    <a:cubicBezTo>
                      <a:pt x="25" y="262"/>
                      <a:pt x="25" y="262"/>
                      <a:pt x="26" y="263"/>
                    </a:cubicBezTo>
                    <a:cubicBezTo>
                      <a:pt x="28" y="265"/>
                      <a:pt x="29" y="260"/>
                      <a:pt x="25" y="260"/>
                    </a:cubicBezTo>
                    <a:cubicBezTo>
                      <a:pt x="22" y="259"/>
                      <a:pt x="28" y="257"/>
                      <a:pt x="26" y="256"/>
                    </a:cubicBezTo>
                    <a:cubicBezTo>
                      <a:pt x="23" y="256"/>
                      <a:pt x="23" y="251"/>
                      <a:pt x="22" y="256"/>
                    </a:cubicBezTo>
                    <a:cubicBezTo>
                      <a:pt x="22" y="257"/>
                      <a:pt x="19" y="259"/>
                      <a:pt x="16" y="252"/>
                    </a:cubicBezTo>
                    <a:cubicBezTo>
                      <a:pt x="14" y="248"/>
                      <a:pt x="16" y="248"/>
                      <a:pt x="17" y="238"/>
                    </a:cubicBezTo>
                    <a:cubicBezTo>
                      <a:pt x="17" y="232"/>
                      <a:pt x="19" y="240"/>
                      <a:pt x="20" y="231"/>
                    </a:cubicBezTo>
                    <a:cubicBezTo>
                      <a:pt x="22" y="223"/>
                      <a:pt x="19" y="224"/>
                      <a:pt x="19" y="218"/>
                    </a:cubicBezTo>
                    <a:cubicBezTo>
                      <a:pt x="20" y="210"/>
                      <a:pt x="17" y="215"/>
                      <a:pt x="17" y="207"/>
                    </a:cubicBezTo>
                    <a:cubicBezTo>
                      <a:pt x="19" y="203"/>
                      <a:pt x="22" y="210"/>
                      <a:pt x="22" y="203"/>
                    </a:cubicBezTo>
                    <a:cubicBezTo>
                      <a:pt x="22" y="196"/>
                      <a:pt x="23" y="206"/>
                      <a:pt x="23" y="196"/>
                    </a:cubicBezTo>
                    <a:cubicBezTo>
                      <a:pt x="25" y="190"/>
                      <a:pt x="26" y="195"/>
                      <a:pt x="26" y="190"/>
                    </a:cubicBezTo>
                    <a:cubicBezTo>
                      <a:pt x="26" y="187"/>
                      <a:pt x="31" y="184"/>
                      <a:pt x="31" y="175"/>
                    </a:cubicBezTo>
                    <a:cubicBezTo>
                      <a:pt x="31" y="167"/>
                      <a:pt x="36" y="171"/>
                      <a:pt x="34" y="165"/>
                    </a:cubicBezTo>
                    <a:cubicBezTo>
                      <a:pt x="33" y="161"/>
                      <a:pt x="37" y="158"/>
                      <a:pt x="36" y="154"/>
                    </a:cubicBezTo>
                    <a:cubicBezTo>
                      <a:pt x="34" y="151"/>
                      <a:pt x="36" y="150"/>
                      <a:pt x="34" y="142"/>
                    </a:cubicBezTo>
                    <a:cubicBezTo>
                      <a:pt x="33" y="134"/>
                      <a:pt x="34" y="133"/>
                      <a:pt x="36" y="131"/>
                    </a:cubicBezTo>
                    <a:cubicBezTo>
                      <a:pt x="37" y="129"/>
                      <a:pt x="37" y="125"/>
                      <a:pt x="36" y="120"/>
                    </a:cubicBezTo>
                    <a:cubicBezTo>
                      <a:pt x="33" y="116"/>
                      <a:pt x="37" y="117"/>
                      <a:pt x="39" y="111"/>
                    </a:cubicBezTo>
                    <a:cubicBezTo>
                      <a:pt x="39" y="103"/>
                      <a:pt x="40" y="106"/>
                      <a:pt x="40" y="101"/>
                    </a:cubicBezTo>
                    <a:cubicBezTo>
                      <a:pt x="39" y="98"/>
                      <a:pt x="43" y="91"/>
                      <a:pt x="42" y="88"/>
                    </a:cubicBezTo>
                    <a:cubicBezTo>
                      <a:pt x="40" y="84"/>
                      <a:pt x="45" y="83"/>
                      <a:pt x="43" y="77"/>
                    </a:cubicBezTo>
                    <a:cubicBezTo>
                      <a:pt x="40" y="69"/>
                      <a:pt x="45" y="63"/>
                      <a:pt x="43" y="63"/>
                    </a:cubicBezTo>
                    <a:cubicBezTo>
                      <a:pt x="40" y="61"/>
                      <a:pt x="43" y="58"/>
                      <a:pt x="43" y="58"/>
                    </a:cubicBezTo>
                    <a:cubicBezTo>
                      <a:pt x="45" y="58"/>
                      <a:pt x="45" y="56"/>
                      <a:pt x="46" y="47"/>
                    </a:cubicBezTo>
                    <a:cubicBezTo>
                      <a:pt x="48" y="38"/>
                      <a:pt x="45" y="36"/>
                      <a:pt x="46" y="30"/>
                    </a:cubicBezTo>
                    <a:cubicBezTo>
                      <a:pt x="46" y="24"/>
                      <a:pt x="45" y="24"/>
                      <a:pt x="45" y="19"/>
                    </a:cubicBezTo>
                    <a:cubicBezTo>
                      <a:pt x="45" y="16"/>
                      <a:pt x="43" y="21"/>
                      <a:pt x="43" y="10"/>
                    </a:cubicBezTo>
                    <a:cubicBezTo>
                      <a:pt x="53" y="7"/>
                      <a:pt x="46" y="4"/>
                      <a:pt x="48" y="4"/>
                    </a:cubicBezTo>
                    <a:cubicBezTo>
                      <a:pt x="51" y="4"/>
                      <a:pt x="51" y="0"/>
                      <a:pt x="51" y="0"/>
                    </a:cubicBezTo>
                    <a:close/>
                    <a:moveTo>
                      <a:pt x="59" y="411"/>
                    </a:moveTo>
                    <a:cubicBezTo>
                      <a:pt x="59" y="383"/>
                      <a:pt x="59" y="383"/>
                      <a:pt x="59" y="383"/>
                    </a:cubicBezTo>
                    <a:moveTo>
                      <a:pt x="59" y="411"/>
                    </a:moveTo>
                    <a:cubicBezTo>
                      <a:pt x="59" y="383"/>
                      <a:pt x="59" y="383"/>
                      <a:pt x="59" y="383"/>
                    </a:cubicBezTo>
                    <a:cubicBezTo>
                      <a:pt x="57" y="382"/>
                      <a:pt x="56" y="385"/>
                      <a:pt x="54" y="385"/>
                    </a:cubicBezTo>
                    <a:cubicBezTo>
                      <a:pt x="53" y="385"/>
                      <a:pt x="53" y="382"/>
                      <a:pt x="51" y="382"/>
                    </a:cubicBezTo>
                    <a:cubicBezTo>
                      <a:pt x="49" y="382"/>
                      <a:pt x="49" y="385"/>
                      <a:pt x="48" y="386"/>
                    </a:cubicBezTo>
                    <a:cubicBezTo>
                      <a:pt x="46" y="386"/>
                      <a:pt x="45" y="385"/>
                      <a:pt x="45" y="385"/>
                    </a:cubicBezTo>
                    <a:cubicBezTo>
                      <a:pt x="43" y="385"/>
                      <a:pt x="45" y="385"/>
                      <a:pt x="45" y="386"/>
                    </a:cubicBezTo>
                    <a:cubicBezTo>
                      <a:pt x="45" y="388"/>
                      <a:pt x="46" y="386"/>
                      <a:pt x="46" y="388"/>
                    </a:cubicBezTo>
                    <a:cubicBezTo>
                      <a:pt x="45" y="389"/>
                      <a:pt x="45" y="389"/>
                      <a:pt x="45" y="388"/>
                    </a:cubicBezTo>
                    <a:cubicBezTo>
                      <a:pt x="43" y="386"/>
                      <a:pt x="43" y="389"/>
                      <a:pt x="45" y="393"/>
                    </a:cubicBezTo>
                    <a:cubicBezTo>
                      <a:pt x="45" y="396"/>
                      <a:pt x="51" y="391"/>
                      <a:pt x="53" y="393"/>
                    </a:cubicBezTo>
                    <a:cubicBezTo>
                      <a:pt x="54" y="396"/>
                      <a:pt x="45" y="396"/>
                      <a:pt x="46" y="399"/>
                    </a:cubicBezTo>
                    <a:cubicBezTo>
                      <a:pt x="46" y="403"/>
                      <a:pt x="56" y="405"/>
                      <a:pt x="56" y="406"/>
                    </a:cubicBezTo>
                    <a:cubicBezTo>
                      <a:pt x="49" y="405"/>
                      <a:pt x="51" y="403"/>
                      <a:pt x="51" y="405"/>
                    </a:cubicBezTo>
                    <a:cubicBezTo>
                      <a:pt x="49" y="406"/>
                      <a:pt x="48" y="403"/>
                      <a:pt x="46" y="403"/>
                    </a:cubicBezTo>
                    <a:cubicBezTo>
                      <a:pt x="45" y="405"/>
                      <a:pt x="48" y="406"/>
                      <a:pt x="45" y="405"/>
                    </a:cubicBezTo>
                    <a:cubicBezTo>
                      <a:pt x="42" y="402"/>
                      <a:pt x="39" y="400"/>
                      <a:pt x="40" y="402"/>
                    </a:cubicBezTo>
                    <a:cubicBezTo>
                      <a:pt x="40" y="405"/>
                      <a:pt x="45" y="403"/>
                      <a:pt x="42" y="405"/>
                    </a:cubicBezTo>
                    <a:cubicBezTo>
                      <a:pt x="39" y="405"/>
                      <a:pt x="40" y="406"/>
                      <a:pt x="39" y="406"/>
                    </a:cubicBezTo>
                    <a:cubicBezTo>
                      <a:pt x="36" y="405"/>
                      <a:pt x="36" y="405"/>
                      <a:pt x="36" y="405"/>
                    </a:cubicBezTo>
                    <a:cubicBezTo>
                      <a:pt x="36" y="406"/>
                      <a:pt x="34" y="405"/>
                      <a:pt x="33" y="405"/>
                    </a:cubicBezTo>
                    <a:cubicBezTo>
                      <a:pt x="31" y="405"/>
                      <a:pt x="34" y="406"/>
                      <a:pt x="34" y="406"/>
                    </a:cubicBezTo>
                    <a:cubicBezTo>
                      <a:pt x="33" y="408"/>
                      <a:pt x="31" y="405"/>
                      <a:pt x="31" y="406"/>
                    </a:cubicBezTo>
                    <a:cubicBezTo>
                      <a:pt x="31" y="408"/>
                      <a:pt x="31" y="408"/>
                      <a:pt x="31" y="408"/>
                    </a:cubicBezTo>
                    <a:cubicBezTo>
                      <a:pt x="33" y="410"/>
                      <a:pt x="34" y="408"/>
                      <a:pt x="36" y="408"/>
                    </a:cubicBezTo>
                    <a:cubicBezTo>
                      <a:pt x="36" y="410"/>
                      <a:pt x="36" y="406"/>
                      <a:pt x="37" y="406"/>
                    </a:cubicBezTo>
                    <a:cubicBezTo>
                      <a:pt x="37" y="406"/>
                      <a:pt x="36" y="408"/>
                      <a:pt x="37" y="408"/>
                    </a:cubicBezTo>
                    <a:cubicBezTo>
                      <a:pt x="37" y="410"/>
                      <a:pt x="40" y="406"/>
                      <a:pt x="39" y="408"/>
                    </a:cubicBezTo>
                    <a:cubicBezTo>
                      <a:pt x="39" y="411"/>
                      <a:pt x="39" y="410"/>
                      <a:pt x="40" y="410"/>
                    </a:cubicBezTo>
                    <a:cubicBezTo>
                      <a:pt x="40" y="410"/>
                      <a:pt x="40" y="411"/>
                      <a:pt x="42" y="410"/>
                    </a:cubicBezTo>
                    <a:cubicBezTo>
                      <a:pt x="43" y="410"/>
                      <a:pt x="45" y="411"/>
                      <a:pt x="45" y="411"/>
                    </a:cubicBezTo>
                    <a:cubicBezTo>
                      <a:pt x="46" y="410"/>
                      <a:pt x="46" y="411"/>
                      <a:pt x="48" y="411"/>
                    </a:cubicBezTo>
                    <a:cubicBezTo>
                      <a:pt x="48" y="410"/>
                      <a:pt x="49" y="411"/>
                      <a:pt x="49" y="410"/>
                    </a:cubicBezTo>
                    <a:cubicBezTo>
                      <a:pt x="49" y="408"/>
                      <a:pt x="49" y="411"/>
                      <a:pt x="51" y="411"/>
                    </a:cubicBezTo>
                    <a:cubicBezTo>
                      <a:pt x="56" y="411"/>
                      <a:pt x="57" y="413"/>
                      <a:pt x="57" y="411"/>
                    </a:cubicBezTo>
                    <a:cubicBezTo>
                      <a:pt x="57" y="410"/>
                      <a:pt x="57" y="411"/>
                      <a:pt x="59" y="411"/>
                    </a:cubicBezTo>
                    <a:close/>
                    <a:moveTo>
                      <a:pt x="20" y="291"/>
                    </a:moveTo>
                    <a:cubicBezTo>
                      <a:pt x="20" y="291"/>
                      <a:pt x="19" y="291"/>
                      <a:pt x="20" y="293"/>
                    </a:cubicBezTo>
                    <a:cubicBezTo>
                      <a:pt x="22" y="293"/>
                      <a:pt x="23" y="291"/>
                      <a:pt x="23" y="291"/>
                    </a:cubicBezTo>
                    <a:cubicBezTo>
                      <a:pt x="25" y="290"/>
                      <a:pt x="23" y="290"/>
                      <a:pt x="23" y="290"/>
                    </a:cubicBezTo>
                    <a:cubicBezTo>
                      <a:pt x="25" y="290"/>
                      <a:pt x="26" y="288"/>
                      <a:pt x="23" y="287"/>
                    </a:cubicBezTo>
                    <a:cubicBezTo>
                      <a:pt x="22" y="285"/>
                      <a:pt x="23" y="287"/>
                      <a:pt x="22" y="287"/>
                    </a:cubicBezTo>
                    <a:cubicBezTo>
                      <a:pt x="22" y="287"/>
                      <a:pt x="20" y="287"/>
                      <a:pt x="20" y="288"/>
                    </a:cubicBezTo>
                    <a:cubicBezTo>
                      <a:pt x="22" y="290"/>
                      <a:pt x="20" y="288"/>
                      <a:pt x="19" y="290"/>
                    </a:cubicBezTo>
                    <a:cubicBezTo>
                      <a:pt x="19" y="290"/>
                      <a:pt x="19" y="290"/>
                      <a:pt x="20" y="291"/>
                    </a:cubicBezTo>
                    <a:close/>
                    <a:moveTo>
                      <a:pt x="43" y="402"/>
                    </a:moveTo>
                    <a:cubicBezTo>
                      <a:pt x="42" y="400"/>
                      <a:pt x="42" y="400"/>
                      <a:pt x="43" y="400"/>
                    </a:cubicBezTo>
                    <a:cubicBezTo>
                      <a:pt x="45" y="402"/>
                      <a:pt x="45" y="402"/>
                      <a:pt x="43" y="400"/>
                    </a:cubicBezTo>
                    <a:cubicBezTo>
                      <a:pt x="43" y="399"/>
                      <a:pt x="43" y="397"/>
                      <a:pt x="43" y="396"/>
                    </a:cubicBezTo>
                    <a:cubicBezTo>
                      <a:pt x="43" y="394"/>
                      <a:pt x="42" y="396"/>
                      <a:pt x="42" y="397"/>
                    </a:cubicBezTo>
                    <a:cubicBezTo>
                      <a:pt x="42" y="399"/>
                      <a:pt x="40" y="397"/>
                      <a:pt x="40" y="399"/>
                    </a:cubicBezTo>
                    <a:cubicBezTo>
                      <a:pt x="40" y="400"/>
                      <a:pt x="42" y="402"/>
                      <a:pt x="45" y="403"/>
                    </a:cubicBezTo>
                    <a:cubicBezTo>
                      <a:pt x="46" y="405"/>
                      <a:pt x="45" y="403"/>
                      <a:pt x="43" y="402"/>
                    </a:cubicBezTo>
                    <a:close/>
                    <a:moveTo>
                      <a:pt x="39" y="402"/>
                    </a:moveTo>
                    <a:cubicBezTo>
                      <a:pt x="39" y="400"/>
                      <a:pt x="37" y="402"/>
                      <a:pt x="37" y="400"/>
                    </a:cubicBezTo>
                    <a:cubicBezTo>
                      <a:pt x="36" y="399"/>
                      <a:pt x="34" y="399"/>
                      <a:pt x="34" y="400"/>
                    </a:cubicBezTo>
                    <a:cubicBezTo>
                      <a:pt x="34" y="402"/>
                      <a:pt x="33" y="403"/>
                      <a:pt x="34" y="403"/>
                    </a:cubicBezTo>
                    <a:cubicBezTo>
                      <a:pt x="36" y="403"/>
                      <a:pt x="34" y="402"/>
                      <a:pt x="36" y="403"/>
                    </a:cubicBezTo>
                    <a:cubicBezTo>
                      <a:pt x="37" y="403"/>
                      <a:pt x="36" y="403"/>
                      <a:pt x="37" y="405"/>
                    </a:cubicBezTo>
                    <a:cubicBezTo>
                      <a:pt x="39" y="405"/>
                      <a:pt x="39" y="403"/>
                      <a:pt x="39" y="402"/>
                    </a:cubicBezTo>
                    <a:close/>
                    <a:moveTo>
                      <a:pt x="13" y="265"/>
                    </a:moveTo>
                    <a:cubicBezTo>
                      <a:pt x="13" y="266"/>
                      <a:pt x="14" y="266"/>
                      <a:pt x="13" y="271"/>
                    </a:cubicBezTo>
                    <a:cubicBezTo>
                      <a:pt x="11" y="276"/>
                      <a:pt x="13" y="274"/>
                      <a:pt x="16" y="276"/>
                    </a:cubicBezTo>
                    <a:cubicBezTo>
                      <a:pt x="20" y="276"/>
                      <a:pt x="16" y="273"/>
                      <a:pt x="17" y="273"/>
                    </a:cubicBezTo>
                    <a:cubicBezTo>
                      <a:pt x="20" y="273"/>
                      <a:pt x="17" y="270"/>
                      <a:pt x="19" y="270"/>
                    </a:cubicBezTo>
                    <a:cubicBezTo>
                      <a:pt x="20" y="270"/>
                      <a:pt x="20" y="270"/>
                      <a:pt x="17" y="266"/>
                    </a:cubicBezTo>
                    <a:cubicBezTo>
                      <a:pt x="16" y="265"/>
                      <a:pt x="19" y="266"/>
                      <a:pt x="17" y="265"/>
                    </a:cubicBezTo>
                    <a:cubicBezTo>
                      <a:pt x="17" y="263"/>
                      <a:pt x="17" y="263"/>
                      <a:pt x="19" y="263"/>
                    </a:cubicBezTo>
                    <a:cubicBezTo>
                      <a:pt x="22" y="263"/>
                      <a:pt x="20" y="262"/>
                      <a:pt x="19" y="260"/>
                    </a:cubicBezTo>
                    <a:cubicBezTo>
                      <a:pt x="19" y="259"/>
                      <a:pt x="19" y="257"/>
                      <a:pt x="17" y="259"/>
                    </a:cubicBezTo>
                    <a:cubicBezTo>
                      <a:pt x="14" y="259"/>
                      <a:pt x="17" y="257"/>
                      <a:pt x="16" y="257"/>
                    </a:cubicBezTo>
                    <a:cubicBezTo>
                      <a:pt x="14" y="257"/>
                      <a:pt x="14" y="257"/>
                      <a:pt x="14" y="259"/>
                    </a:cubicBezTo>
                    <a:cubicBezTo>
                      <a:pt x="16" y="262"/>
                      <a:pt x="14" y="262"/>
                      <a:pt x="13" y="265"/>
                    </a:cubicBezTo>
                    <a:close/>
                    <a:moveTo>
                      <a:pt x="22" y="281"/>
                    </a:moveTo>
                    <a:cubicBezTo>
                      <a:pt x="22" y="281"/>
                      <a:pt x="22" y="282"/>
                      <a:pt x="20" y="282"/>
                    </a:cubicBezTo>
                    <a:cubicBezTo>
                      <a:pt x="20" y="282"/>
                      <a:pt x="20" y="281"/>
                      <a:pt x="22" y="281"/>
                    </a:cubicBezTo>
                    <a:close/>
                    <a:moveTo>
                      <a:pt x="16" y="281"/>
                    </a:moveTo>
                    <a:cubicBezTo>
                      <a:pt x="17" y="281"/>
                      <a:pt x="17" y="281"/>
                      <a:pt x="17" y="281"/>
                    </a:cubicBezTo>
                    <a:cubicBezTo>
                      <a:pt x="16" y="279"/>
                      <a:pt x="16" y="281"/>
                      <a:pt x="14" y="281"/>
                    </a:cubicBezTo>
                    <a:cubicBezTo>
                      <a:pt x="14" y="279"/>
                      <a:pt x="13" y="281"/>
                      <a:pt x="14" y="281"/>
                    </a:cubicBezTo>
                    <a:cubicBezTo>
                      <a:pt x="16" y="282"/>
                      <a:pt x="16" y="282"/>
                      <a:pt x="16" y="281"/>
                    </a:cubicBezTo>
                    <a:close/>
                    <a:moveTo>
                      <a:pt x="16" y="296"/>
                    </a:moveTo>
                    <a:cubicBezTo>
                      <a:pt x="16" y="296"/>
                      <a:pt x="16" y="296"/>
                      <a:pt x="17" y="296"/>
                    </a:cubicBezTo>
                    <a:cubicBezTo>
                      <a:pt x="17" y="298"/>
                      <a:pt x="17" y="296"/>
                      <a:pt x="17" y="294"/>
                    </a:cubicBezTo>
                    <a:cubicBezTo>
                      <a:pt x="16" y="293"/>
                      <a:pt x="16" y="294"/>
                      <a:pt x="14" y="294"/>
                    </a:cubicBezTo>
                    <a:cubicBezTo>
                      <a:pt x="13" y="293"/>
                      <a:pt x="13" y="294"/>
                      <a:pt x="14" y="296"/>
                    </a:cubicBezTo>
                    <a:cubicBezTo>
                      <a:pt x="14" y="296"/>
                      <a:pt x="14" y="296"/>
                      <a:pt x="16" y="296"/>
                    </a:cubicBezTo>
                    <a:close/>
                    <a:moveTo>
                      <a:pt x="16" y="293"/>
                    </a:moveTo>
                    <a:cubicBezTo>
                      <a:pt x="16" y="293"/>
                      <a:pt x="16" y="293"/>
                      <a:pt x="14" y="291"/>
                    </a:cubicBezTo>
                    <a:cubicBezTo>
                      <a:pt x="13" y="291"/>
                      <a:pt x="13" y="293"/>
                      <a:pt x="13" y="293"/>
                    </a:cubicBezTo>
                    <a:cubicBezTo>
                      <a:pt x="11" y="294"/>
                      <a:pt x="13" y="293"/>
                      <a:pt x="16" y="293"/>
                    </a:cubicBezTo>
                    <a:close/>
                    <a:moveTo>
                      <a:pt x="14" y="290"/>
                    </a:moveTo>
                    <a:cubicBezTo>
                      <a:pt x="16" y="290"/>
                      <a:pt x="16" y="290"/>
                      <a:pt x="16" y="290"/>
                    </a:cubicBezTo>
                    <a:cubicBezTo>
                      <a:pt x="16" y="288"/>
                      <a:pt x="14" y="288"/>
                      <a:pt x="13" y="290"/>
                    </a:cubicBezTo>
                    <a:cubicBezTo>
                      <a:pt x="11" y="290"/>
                      <a:pt x="13" y="290"/>
                      <a:pt x="13" y="291"/>
                    </a:cubicBezTo>
                    <a:cubicBezTo>
                      <a:pt x="13" y="291"/>
                      <a:pt x="14" y="291"/>
                      <a:pt x="14" y="290"/>
                    </a:cubicBezTo>
                    <a:close/>
                    <a:moveTo>
                      <a:pt x="17" y="290"/>
                    </a:moveTo>
                    <a:cubicBezTo>
                      <a:pt x="19" y="290"/>
                      <a:pt x="19" y="288"/>
                      <a:pt x="17" y="288"/>
                    </a:cubicBezTo>
                    <a:cubicBezTo>
                      <a:pt x="16" y="288"/>
                      <a:pt x="17" y="288"/>
                      <a:pt x="17" y="290"/>
                    </a:cubicBezTo>
                    <a:cubicBezTo>
                      <a:pt x="17" y="290"/>
                      <a:pt x="17" y="290"/>
                      <a:pt x="17" y="290"/>
                    </a:cubicBezTo>
                    <a:close/>
                    <a:moveTo>
                      <a:pt x="19" y="301"/>
                    </a:moveTo>
                    <a:cubicBezTo>
                      <a:pt x="19" y="299"/>
                      <a:pt x="19" y="299"/>
                      <a:pt x="17" y="299"/>
                    </a:cubicBezTo>
                    <a:cubicBezTo>
                      <a:pt x="17" y="299"/>
                      <a:pt x="16" y="301"/>
                      <a:pt x="17" y="302"/>
                    </a:cubicBezTo>
                    <a:cubicBezTo>
                      <a:pt x="17" y="302"/>
                      <a:pt x="19" y="302"/>
                      <a:pt x="19" y="301"/>
                    </a:cubicBezTo>
                    <a:close/>
                    <a:moveTo>
                      <a:pt x="13" y="301"/>
                    </a:moveTo>
                    <a:cubicBezTo>
                      <a:pt x="14" y="301"/>
                      <a:pt x="13" y="299"/>
                      <a:pt x="13" y="299"/>
                    </a:cubicBezTo>
                    <a:cubicBezTo>
                      <a:pt x="11" y="298"/>
                      <a:pt x="11" y="299"/>
                      <a:pt x="11" y="301"/>
                    </a:cubicBezTo>
                    <a:cubicBezTo>
                      <a:pt x="13" y="301"/>
                      <a:pt x="11" y="302"/>
                      <a:pt x="13" y="302"/>
                    </a:cubicBezTo>
                    <a:cubicBezTo>
                      <a:pt x="13" y="301"/>
                      <a:pt x="13" y="301"/>
                      <a:pt x="13" y="301"/>
                    </a:cubicBezTo>
                    <a:close/>
                    <a:moveTo>
                      <a:pt x="14" y="301"/>
                    </a:moveTo>
                    <a:cubicBezTo>
                      <a:pt x="14" y="301"/>
                      <a:pt x="16" y="299"/>
                      <a:pt x="16" y="301"/>
                    </a:cubicBezTo>
                    <a:cubicBezTo>
                      <a:pt x="16" y="301"/>
                      <a:pt x="16" y="302"/>
                      <a:pt x="14" y="301"/>
                    </a:cubicBezTo>
                    <a:close/>
                    <a:moveTo>
                      <a:pt x="17" y="304"/>
                    </a:moveTo>
                    <a:cubicBezTo>
                      <a:pt x="17" y="304"/>
                      <a:pt x="17" y="304"/>
                      <a:pt x="17" y="302"/>
                    </a:cubicBezTo>
                    <a:cubicBezTo>
                      <a:pt x="17" y="302"/>
                      <a:pt x="16" y="302"/>
                      <a:pt x="16" y="304"/>
                    </a:cubicBezTo>
                    <a:cubicBezTo>
                      <a:pt x="16" y="305"/>
                      <a:pt x="16" y="305"/>
                      <a:pt x="17" y="304"/>
                    </a:cubicBezTo>
                    <a:close/>
                    <a:moveTo>
                      <a:pt x="6" y="305"/>
                    </a:moveTo>
                    <a:cubicBezTo>
                      <a:pt x="6" y="305"/>
                      <a:pt x="6" y="305"/>
                      <a:pt x="6" y="305"/>
                    </a:cubicBezTo>
                    <a:cubicBezTo>
                      <a:pt x="6" y="307"/>
                      <a:pt x="8" y="307"/>
                      <a:pt x="8" y="305"/>
                    </a:cubicBezTo>
                    <a:cubicBezTo>
                      <a:pt x="10" y="305"/>
                      <a:pt x="10" y="304"/>
                      <a:pt x="8" y="302"/>
                    </a:cubicBezTo>
                    <a:cubicBezTo>
                      <a:pt x="8" y="302"/>
                      <a:pt x="8" y="302"/>
                      <a:pt x="6" y="304"/>
                    </a:cubicBezTo>
                    <a:cubicBezTo>
                      <a:pt x="6" y="304"/>
                      <a:pt x="6" y="304"/>
                      <a:pt x="6" y="305"/>
                    </a:cubicBezTo>
                    <a:close/>
                    <a:moveTo>
                      <a:pt x="13" y="287"/>
                    </a:moveTo>
                    <a:cubicBezTo>
                      <a:pt x="13" y="287"/>
                      <a:pt x="13" y="287"/>
                      <a:pt x="11" y="287"/>
                    </a:cubicBezTo>
                    <a:cubicBezTo>
                      <a:pt x="11" y="288"/>
                      <a:pt x="11" y="288"/>
                      <a:pt x="11" y="288"/>
                    </a:cubicBezTo>
                    <a:cubicBezTo>
                      <a:pt x="13" y="288"/>
                      <a:pt x="13" y="287"/>
                      <a:pt x="13" y="287"/>
                    </a:cubicBezTo>
                    <a:close/>
                    <a:moveTo>
                      <a:pt x="14" y="288"/>
                    </a:moveTo>
                    <a:cubicBezTo>
                      <a:pt x="16" y="288"/>
                      <a:pt x="16" y="288"/>
                      <a:pt x="16" y="288"/>
                    </a:cubicBezTo>
                    <a:cubicBezTo>
                      <a:pt x="16" y="287"/>
                      <a:pt x="14" y="288"/>
                      <a:pt x="13" y="288"/>
                    </a:cubicBezTo>
                    <a:cubicBezTo>
                      <a:pt x="13" y="288"/>
                      <a:pt x="13" y="288"/>
                      <a:pt x="14" y="288"/>
                    </a:cubicBezTo>
                    <a:close/>
                    <a:moveTo>
                      <a:pt x="14" y="285"/>
                    </a:moveTo>
                    <a:cubicBezTo>
                      <a:pt x="14" y="284"/>
                      <a:pt x="14" y="284"/>
                      <a:pt x="16" y="284"/>
                    </a:cubicBezTo>
                    <a:cubicBezTo>
                      <a:pt x="16" y="285"/>
                      <a:pt x="14" y="287"/>
                      <a:pt x="14" y="285"/>
                    </a:cubicBezTo>
                    <a:close/>
                    <a:moveTo>
                      <a:pt x="19" y="284"/>
                    </a:moveTo>
                    <a:cubicBezTo>
                      <a:pt x="17" y="284"/>
                      <a:pt x="17" y="282"/>
                      <a:pt x="17" y="282"/>
                    </a:cubicBezTo>
                    <a:cubicBezTo>
                      <a:pt x="17" y="281"/>
                      <a:pt x="19" y="284"/>
                      <a:pt x="19" y="284"/>
                    </a:cubicBezTo>
                    <a:close/>
                    <a:moveTo>
                      <a:pt x="8" y="277"/>
                    </a:moveTo>
                    <a:cubicBezTo>
                      <a:pt x="8" y="277"/>
                      <a:pt x="10" y="276"/>
                      <a:pt x="10" y="277"/>
                    </a:cubicBezTo>
                    <a:cubicBezTo>
                      <a:pt x="11" y="277"/>
                      <a:pt x="8" y="279"/>
                      <a:pt x="8" y="277"/>
                    </a:cubicBezTo>
                    <a:close/>
                    <a:moveTo>
                      <a:pt x="10" y="302"/>
                    </a:moveTo>
                    <a:cubicBezTo>
                      <a:pt x="10" y="301"/>
                      <a:pt x="10" y="301"/>
                      <a:pt x="10" y="301"/>
                    </a:cubicBezTo>
                    <a:cubicBezTo>
                      <a:pt x="11" y="301"/>
                      <a:pt x="11" y="302"/>
                      <a:pt x="10" y="302"/>
                    </a:cubicBezTo>
                    <a:close/>
                    <a:moveTo>
                      <a:pt x="16" y="299"/>
                    </a:moveTo>
                    <a:cubicBezTo>
                      <a:pt x="16" y="299"/>
                      <a:pt x="14" y="298"/>
                      <a:pt x="14" y="299"/>
                    </a:cubicBezTo>
                    <a:cubicBezTo>
                      <a:pt x="14" y="299"/>
                      <a:pt x="14" y="299"/>
                      <a:pt x="16" y="299"/>
                    </a:cubicBezTo>
                    <a:cubicBezTo>
                      <a:pt x="16" y="299"/>
                      <a:pt x="17" y="299"/>
                      <a:pt x="16" y="299"/>
                    </a:cubicBezTo>
                    <a:close/>
                    <a:moveTo>
                      <a:pt x="17" y="293"/>
                    </a:moveTo>
                    <a:cubicBezTo>
                      <a:pt x="16" y="293"/>
                      <a:pt x="16" y="291"/>
                      <a:pt x="16" y="291"/>
                    </a:cubicBezTo>
                    <a:cubicBezTo>
                      <a:pt x="17" y="291"/>
                      <a:pt x="17" y="293"/>
                      <a:pt x="17" y="293"/>
                    </a:cubicBezTo>
                    <a:close/>
                    <a:moveTo>
                      <a:pt x="51" y="417"/>
                    </a:moveTo>
                    <a:cubicBezTo>
                      <a:pt x="53" y="417"/>
                      <a:pt x="53" y="419"/>
                      <a:pt x="54" y="419"/>
                    </a:cubicBezTo>
                    <a:cubicBezTo>
                      <a:pt x="56" y="419"/>
                      <a:pt x="54" y="419"/>
                      <a:pt x="53" y="417"/>
                    </a:cubicBezTo>
                    <a:cubicBezTo>
                      <a:pt x="51" y="416"/>
                      <a:pt x="53" y="416"/>
                      <a:pt x="54" y="416"/>
                    </a:cubicBezTo>
                    <a:cubicBezTo>
                      <a:pt x="56" y="416"/>
                      <a:pt x="57" y="416"/>
                      <a:pt x="56" y="416"/>
                    </a:cubicBezTo>
                    <a:cubicBezTo>
                      <a:pt x="56" y="417"/>
                      <a:pt x="56" y="417"/>
                      <a:pt x="56" y="419"/>
                    </a:cubicBezTo>
                    <a:cubicBezTo>
                      <a:pt x="57" y="421"/>
                      <a:pt x="57" y="417"/>
                      <a:pt x="59" y="419"/>
                    </a:cubicBezTo>
                    <a:cubicBezTo>
                      <a:pt x="59" y="421"/>
                      <a:pt x="60" y="419"/>
                      <a:pt x="60" y="421"/>
                    </a:cubicBezTo>
                    <a:cubicBezTo>
                      <a:pt x="62" y="422"/>
                      <a:pt x="62" y="421"/>
                      <a:pt x="62" y="422"/>
                    </a:cubicBezTo>
                    <a:cubicBezTo>
                      <a:pt x="63" y="424"/>
                      <a:pt x="63" y="421"/>
                      <a:pt x="63" y="421"/>
                    </a:cubicBezTo>
                    <a:cubicBezTo>
                      <a:pt x="62" y="419"/>
                      <a:pt x="63" y="419"/>
                      <a:pt x="60" y="417"/>
                    </a:cubicBezTo>
                    <a:cubicBezTo>
                      <a:pt x="57" y="416"/>
                      <a:pt x="62" y="417"/>
                      <a:pt x="60" y="416"/>
                    </a:cubicBezTo>
                    <a:cubicBezTo>
                      <a:pt x="60" y="416"/>
                      <a:pt x="60" y="416"/>
                      <a:pt x="59" y="416"/>
                    </a:cubicBezTo>
                    <a:cubicBezTo>
                      <a:pt x="57" y="414"/>
                      <a:pt x="57" y="414"/>
                      <a:pt x="59" y="414"/>
                    </a:cubicBezTo>
                    <a:cubicBezTo>
                      <a:pt x="60" y="414"/>
                      <a:pt x="60" y="413"/>
                      <a:pt x="60" y="413"/>
                    </a:cubicBezTo>
                    <a:cubicBezTo>
                      <a:pt x="59" y="411"/>
                      <a:pt x="56" y="413"/>
                      <a:pt x="54" y="413"/>
                    </a:cubicBezTo>
                    <a:cubicBezTo>
                      <a:pt x="53" y="413"/>
                      <a:pt x="51" y="413"/>
                      <a:pt x="48" y="414"/>
                    </a:cubicBezTo>
                    <a:cubicBezTo>
                      <a:pt x="46" y="414"/>
                      <a:pt x="48" y="414"/>
                      <a:pt x="49" y="416"/>
                    </a:cubicBezTo>
                    <a:cubicBezTo>
                      <a:pt x="51" y="417"/>
                      <a:pt x="46" y="416"/>
                      <a:pt x="51" y="417"/>
                    </a:cubicBezTo>
                    <a:close/>
                    <a:moveTo>
                      <a:pt x="51" y="413"/>
                    </a:moveTo>
                    <a:cubicBezTo>
                      <a:pt x="54" y="411"/>
                      <a:pt x="53" y="413"/>
                      <a:pt x="51" y="411"/>
                    </a:cubicBezTo>
                    <a:cubicBezTo>
                      <a:pt x="48" y="411"/>
                      <a:pt x="48" y="411"/>
                      <a:pt x="46" y="413"/>
                    </a:cubicBezTo>
                    <a:cubicBezTo>
                      <a:pt x="45" y="413"/>
                      <a:pt x="46" y="413"/>
                      <a:pt x="48" y="413"/>
                    </a:cubicBezTo>
                    <a:cubicBezTo>
                      <a:pt x="48" y="413"/>
                      <a:pt x="48" y="413"/>
                      <a:pt x="51" y="413"/>
                    </a:cubicBezTo>
                    <a:close/>
                    <a:moveTo>
                      <a:pt x="43" y="413"/>
                    </a:moveTo>
                    <a:cubicBezTo>
                      <a:pt x="43" y="413"/>
                      <a:pt x="42" y="413"/>
                      <a:pt x="43" y="413"/>
                    </a:cubicBezTo>
                    <a:cubicBezTo>
                      <a:pt x="46" y="413"/>
                      <a:pt x="45" y="411"/>
                      <a:pt x="43" y="411"/>
                    </a:cubicBezTo>
                    <a:cubicBezTo>
                      <a:pt x="42" y="411"/>
                      <a:pt x="42" y="413"/>
                      <a:pt x="40" y="413"/>
                    </a:cubicBezTo>
                    <a:cubicBezTo>
                      <a:pt x="39" y="413"/>
                      <a:pt x="39" y="413"/>
                      <a:pt x="39" y="413"/>
                    </a:cubicBezTo>
                    <a:cubicBezTo>
                      <a:pt x="39" y="414"/>
                      <a:pt x="40" y="414"/>
                      <a:pt x="42" y="414"/>
                    </a:cubicBezTo>
                    <a:cubicBezTo>
                      <a:pt x="43" y="414"/>
                      <a:pt x="42" y="416"/>
                      <a:pt x="43" y="416"/>
                    </a:cubicBezTo>
                    <a:cubicBezTo>
                      <a:pt x="45" y="414"/>
                      <a:pt x="45" y="413"/>
                      <a:pt x="43" y="413"/>
                    </a:cubicBezTo>
                    <a:close/>
                    <a:moveTo>
                      <a:pt x="39" y="411"/>
                    </a:moveTo>
                    <a:cubicBezTo>
                      <a:pt x="39" y="411"/>
                      <a:pt x="37" y="410"/>
                      <a:pt x="36" y="411"/>
                    </a:cubicBezTo>
                    <a:cubicBezTo>
                      <a:pt x="36" y="411"/>
                      <a:pt x="36" y="413"/>
                      <a:pt x="37" y="411"/>
                    </a:cubicBezTo>
                    <a:cubicBezTo>
                      <a:pt x="39" y="411"/>
                      <a:pt x="37" y="413"/>
                      <a:pt x="39" y="411"/>
                    </a:cubicBezTo>
                    <a:cubicBezTo>
                      <a:pt x="40" y="411"/>
                      <a:pt x="39" y="411"/>
                      <a:pt x="39" y="411"/>
                    </a:cubicBezTo>
                    <a:close/>
                    <a:moveTo>
                      <a:pt x="65" y="424"/>
                    </a:moveTo>
                    <a:cubicBezTo>
                      <a:pt x="63" y="422"/>
                      <a:pt x="66" y="422"/>
                      <a:pt x="66" y="422"/>
                    </a:cubicBezTo>
                    <a:cubicBezTo>
                      <a:pt x="68" y="424"/>
                      <a:pt x="65" y="424"/>
                      <a:pt x="65" y="424"/>
                    </a:cubicBezTo>
                    <a:close/>
                    <a:moveTo>
                      <a:pt x="68" y="421"/>
                    </a:moveTo>
                    <a:cubicBezTo>
                      <a:pt x="68" y="421"/>
                      <a:pt x="68" y="419"/>
                      <a:pt x="68" y="421"/>
                    </a:cubicBezTo>
                    <a:cubicBezTo>
                      <a:pt x="68" y="422"/>
                      <a:pt x="66" y="421"/>
                      <a:pt x="66" y="421"/>
                    </a:cubicBezTo>
                    <a:cubicBezTo>
                      <a:pt x="66" y="422"/>
                      <a:pt x="66" y="422"/>
                      <a:pt x="68" y="422"/>
                    </a:cubicBezTo>
                    <a:cubicBezTo>
                      <a:pt x="69" y="422"/>
                      <a:pt x="69" y="422"/>
                      <a:pt x="68" y="421"/>
                    </a:cubicBezTo>
                    <a:close/>
                    <a:moveTo>
                      <a:pt x="33" y="403"/>
                    </a:moveTo>
                    <a:cubicBezTo>
                      <a:pt x="33" y="402"/>
                      <a:pt x="34" y="402"/>
                      <a:pt x="34" y="402"/>
                    </a:cubicBezTo>
                    <a:cubicBezTo>
                      <a:pt x="33" y="400"/>
                      <a:pt x="34" y="399"/>
                      <a:pt x="33" y="399"/>
                    </a:cubicBezTo>
                    <a:cubicBezTo>
                      <a:pt x="31" y="399"/>
                      <a:pt x="31" y="399"/>
                      <a:pt x="31" y="399"/>
                    </a:cubicBezTo>
                    <a:cubicBezTo>
                      <a:pt x="31" y="400"/>
                      <a:pt x="29" y="399"/>
                      <a:pt x="29" y="399"/>
                    </a:cubicBezTo>
                    <a:cubicBezTo>
                      <a:pt x="28" y="400"/>
                      <a:pt x="29" y="400"/>
                      <a:pt x="29" y="402"/>
                    </a:cubicBezTo>
                    <a:cubicBezTo>
                      <a:pt x="31" y="402"/>
                      <a:pt x="33" y="402"/>
                      <a:pt x="31" y="403"/>
                    </a:cubicBezTo>
                    <a:cubicBezTo>
                      <a:pt x="31" y="405"/>
                      <a:pt x="33" y="405"/>
                      <a:pt x="33" y="403"/>
                    </a:cubicBezTo>
                    <a:cubicBezTo>
                      <a:pt x="33" y="403"/>
                      <a:pt x="33" y="403"/>
                      <a:pt x="33" y="403"/>
                    </a:cubicBezTo>
                    <a:close/>
                    <a:moveTo>
                      <a:pt x="22" y="377"/>
                    </a:moveTo>
                    <a:cubicBezTo>
                      <a:pt x="22" y="375"/>
                      <a:pt x="23" y="374"/>
                      <a:pt x="23" y="374"/>
                    </a:cubicBezTo>
                    <a:cubicBezTo>
                      <a:pt x="25" y="374"/>
                      <a:pt x="23" y="377"/>
                      <a:pt x="22" y="377"/>
                    </a:cubicBezTo>
                    <a:close/>
                    <a:moveTo>
                      <a:pt x="28" y="400"/>
                    </a:moveTo>
                    <a:cubicBezTo>
                      <a:pt x="28" y="402"/>
                      <a:pt x="28" y="402"/>
                      <a:pt x="28" y="400"/>
                    </a:cubicBezTo>
                    <a:cubicBezTo>
                      <a:pt x="28" y="399"/>
                      <a:pt x="31" y="399"/>
                      <a:pt x="29" y="397"/>
                    </a:cubicBezTo>
                    <a:cubicBezTo>
                      <a:pt x="29" y="397"/>
                      <a:pt x="28" y="397"/>
                      <a:pt x="28" y="396"/>
                    </a:cubicBezTo>
                    <a:cubicBezTo>
                      <a:pt x="28" y="396"/>
                      <a:pt x="26" y="394"/>
                      <a:pt x="25" y="396"/>
                    </a:cubicBezTo>
                    <a:cubicBezTo>
                      <a:pt x="25" y="396"/>
                      <a:pt x="25" y="394"/>
                      <a:pt x="25" y="396"/>
                    </a:cubicBezTo>
                    <a:cubicBezTo>
                      <a:pt x="23" y="396"/>
                      <a:pt x="25" y="394"/>
                      <a:pt x="23" y="393"/>
                    </a:cubicBezTo>
                    <a:cubicBezTo>
                      <a:pt x="22" y="393"/>
                      <a:pt x="23" y="394"/>
                      <a:pt x="20" y="394"/>
                    </a:cubicBezTo>
                    <a:cubicBezTo>
                      <a:pt x="19" y="393"/>
                      <a:pt x="22" y="396"/>
                      <a:pt x="20" y="396"/>
                    </a:cubicBezTo>
                    <a:cubicBezTo>
                      <a:pt x="19" y="396"/>
                      <a:pt x="19" y="394"/>
                      <a:pt x="19" y="396"/>
                    </a:cubicBezTo>
                    <a:cubicBezTo>
                      <a:pt x="17" y="397"/>
                      <a:pt x="19" y="396"/>
                      <a:pt x="19" y="397"/>
                    </a:cubicBezTo>
                    <a:cubicBezTo>
                      <a:pt x="19" y="399"/>
                      <a:pt x="20" y="396"/>
                      <a:pt x="20" y="397"/>
                    </a:cubicBezTo>
                    <a:cubicBezTo>
                      <a:pt x="22" y="399"/>
                      <a:pt x="20" y="400"/>
                      <a:pt x="22" y="400"/>
                    </a:cubicBezTo>
                    <a:cubicBezTo>
                      <a:pt x="23" y="402"/>
                      <a:pt x="22" y="397"/>
                      <a:pt x="23" y="399"/>
                    </a:cubicBezTo>
                    <a:cubicBezTo>
                      <a:pt x="23" y="400"/>
                      <a:pt x="25" y="397"/>
                      <a:pt x="25" y="399"/>
                    </a:cubicBezTo>
                    <a:cubicBezTo>
                      <a:pt x="25" y="402"/>
                      <a:pt x="22" y="402"/>
                      <a:pt x="23" y="402"/>
                    </a:cubicBezTo>
                    <a:cubicBezTo>
                      <a:pt x="25" y="402"/>
                      <a:pt x="25" y="400"/>
                      <a:pt x="26" y="402"/>
                    </a:cubicBezTo>
                    <a:cubicBezTo>
                      <a:pt x="26" y="402"/>
                      <a:pt x="26" y="400"/>
                      <a:pt x="28" y="400"/>
                    </a:cubicBezTo>
                    <a:close/>
                    <a:moveTo>
                      <a:pt x="29" y="403"/>
                    </a:moveTo>
                    <a:cubicBezTo>
                      <a:pt x="29" y="402"/>
                      <a:pt x="29" y="400"/>
                      <a:pt x="28" y="402"/>
                    </a:cubicBezTo>
                    <a:cubicBezTo>
                      <a:pt x="28" y="403"/>
                      <a:pt x="26" y="402"/>
                      <a:pt x="28" y="403"/>
                    </a:cubicBezTo>
                    <a:cubicBezTo>
                      <a:pt x="28" y="403"/>
                      <a:pt x="28" y="403"/>
                      <a:pt x="29" y="403"/>
                    </a:cubicBezTo>
                    <a:close/>
                    <a:moveTo>
                      <a:pt x="14" y="391"/>
                    </a:moveTo>
                    <a:cubicBezTo>
                      <a:pt x="16" y="391"/>
                      <a:pt x="14" y="393"/>
                      <a:pt x="13" y="393"/>
                    </a:cubicBezTo>
                    <a:cubicBezTo>
                      <a:pt x="13" y="391"/>
                      <a:pt x="14" y="391"/>
                      <a:pt x="14" y="391"/>
                    </a:cubicBezTo>
                    <a:close/>
                    <a:moveTo>
                      <a:pt x="17" y="383"/>
                    </a:moveTo>
                    <a:cubicBezTo>
                      <a:pt x="17" y="382"/>
                      <a:pt x="17" y="382"/>
                      <a:pt x="17" y="382"/>
                    </a:cubicBezTo>
                    <a:cubicBezTo>
                      <a:pt x="17" y="380"/>
                      <a:pt x="17" y="382"/>
                      <a:pt x="16" y="382"/>
                    </a:cubicBezTo>
                    <a:cubicBezTo>
                      <a:pt x="14" y="383"/>
                      <a:pt x="16" y="383"/>
                      <a:pt x="16" y="385"/>
                    </a:cubicBezTo>
                    <a:cubicBezTo>
                      <a:pt x="16" y="385"/>
                      <a:pt x="17" y="385"/>
                      <a:pt x="17" y="383"/>
                    </a:cubicBezTo>
                    <a:close/>
                    <a:moveTo>
                      <a:pt x="16" y="391"/>
                    </a:moveTo>
                    <a:cubicBezTo>
                      <a:pt x="17" y="391"/>
                      <a:pt x="17" y="389"/>
                      <a:pt x="19" y="391"/>
                    </a:cubicBezTo>
                    <a:cubicBezTo>
                      <a:pt x="19" y="391"/>
                      <a:pt x="17" y="391"/>
                      <a:pt x="19" y="393"/>
                    </a:cubicBezTo>
                    <a:cubicBezTo>
                      <a:pt x="19" y="393"/>
                      <a:pt x="19" y="391"/>
                      <a:pt x="20" y="393"/>
                    </a:cubicBezTo>
                    <a:cubicBezTo>
                      <a:pt x="22" y="393"/>
                      <a:pt x="22" y="393"/>
                      <a:pt x="22" y="391"/>
                    </a:cubicBezTo>
                    <a:cubicBezTo>
                      <a:pt x="20" y="391"/>
                      <a:pt x="20" y="389"/>
                      <a:pt x="19" y="389"/>
                    </a:cubicBezTo>
                    <a:cubicBezTo>
                      <a:pt x="19" y="389"/>
                      <a:pt x="19" y="388"/>
                      <a:pt x="17" y="389"/>
                    </a:cubicBezTo>
                    <a:cubicBezTo>
                      <a:pt x="17" y="389"/>
                      <a:pt x="17" y="388"/>
                      <a:pt x="16" y="388"/>
                    </a:cubicBezTo>
                    <a:cubicBezTo>
                      <a:pt x="14" y="388"/>
                      <a:pt x="13" y="388"/>
                      <a:pt x="11" y="386"/>
                    </a:cubicBezTo>
                    <a:cubicBezTo>
                      <a:pt x="10" y="385"/>
                      <a:pt x="8" y="385"/>
                      <a:pt x="10" y="386"/>
                    </a:cubicBezTo>
                    <a:cubicBezTo>
                      <a:pt x="11" y="386"/>
                      <a:pt x="10" y="386"/>
                      <a:pt x="11" y="388"/>
                    </a:cubicBezTo>
                    <a:cubicBezTo>
                      <a:pt x="13" y="388"/>
                      <a:pt x="11" y="389"/>
                      <a:pt x="14" y="389"/>
                    </a:cubicBezTo>
                    <a:cubicBezTo>
                      <a:pt x="14" y="389"/>
                      <a:pt x="16" y="389"/>
                      <a:pt x="16" y="391"/>
                    </a:cubicBezTo>
                    <a:close/>
                    <a:moveTo>
                      <a:pt x="14" y="371"/>
                    </a:moveTo>
                    <a:cubicBezTo>
                      <a:pt x="14" y="369"/>
                      <a:pt x="14" y="371"/>
                      <a:pt x="14" y="372"/>
                    </a:cubicBezTo>
                    <a:cubicBezTo>
                      <a:pt x="13" y="372"/>
                      <a:pt x="14" y="374"/>
                      <a:pt x="16" y="374"/>
                    </a:cubicBezTo>
                    <a:cubicBezTo>
                      <a:pt x="16" y="372"/>
                      <a:pt x="16" y="371"/>
                      <a:pt x="14" y="371"/>
                    </a:cubicBezTo>
                    <a:close/>
                    <a:moveTo>
                      <a:pt x="8" y="375"/>
                    </a:moveTo>
                    <a:cubicBezTo>
                      <a:pt x="8" y="374"/>
                      <a:pt x="10" y="374"/>
                      <a:pt x="10" y="372"/>
                    </a:cubicBezTo>
                    <a:cubicBezTo>
                      <a:pt x="8" y="371"/>
                      <a:pt x="8" y="371"/>
                      <a:pt x="8" y="372"/>
                    </a:cubicBezTo>
                    <a:cubicBezTo>
                      <a:pt x="8" y="374"/>
                      <a:pt x="8" y="374"/>
                      <a:pt x="8" y="372"/>
                    </a:cubicBezTo>
                    <a:cubicBezTo>
                      <a:pt x="6" y="372"/>
                      <a:pt x="6" y="374"/>
                      <a:pt x="6" y="374"/>
                    </a:cubicBezTo>
                    <a:cubicBezTo>
                      <a:pt x="8" y="375"/>
                      <a:pt x="6" y="375"/>
                      <a:pt x="6" y="377"/>
                    </a:cubicBezTo>
                    <a:cubicBezTo>
                      <a:pt x="6" y="377"/>
                      <a:pt x="8" y="377"/>
                      <a:pt x="8" y="375"/>
                    </a:cubicBezTo>
                    <a:close/>
                    <a:moveTo>
                      <a:pt x="13" y="374"/>
                    </a:moveTo>
                    <a:cubicBezTo>
                      <a:pt x="11" y="372"/>
                      <a:pt x="11" y="372"/>
                      <a:pt x="11" y="372"/>
                    </a:cubicBezTo>
                    <a:cubicBezTo>
                      <a:pt x="13" y="374"/>
                      <a:pt x="11" y="374"/>
                      <a:pt x="13" y="375"/>
                    </a:cubicBezTo>
                    <a:cubicBezTo>
                      <a:pt x="14" y="375"/>
                      <a:pt x="14" y="374"/>
                      <a:pt x="13" y="374"/>
                    </a:cubicBezTo>
                    <a:close/>
                    <a:moveTo>
                      <a:pt x="16" y="377"/>
                    </a:moveTo>
                    <a:cubicBezTo>
                      <a:pt x="17" y="380"/>
                      <a:pt x="17" y="378"/>
                      <a:pt x="17" y="377"/>
                    </a:cubicBezTo>
                    <a:cubicBezTo>
                      <a:pt x="16" y="375"/>
                      <a:pt x="14" y="374"/>
                      <a:pt x="14" y="375"/>
                    </a:cubicBezTo>
                    <a:cubicBezTo>
                      <a:pt x="14" y="377"/>
                      <a:pt x="14" y="375"/>
                      <a:pt x="16" y="377"/>
                    </a:cubicBezTo>
                    <a:close/>
                    <a:moveTo>
                      <a:pt x="16" y="380"/>
                    </a:moveTo>
                    <a:cubicBezTo>
                      <a:pt x="16" y="380"/>
                      <a:pt x="16" y="378"/>
                      <a:pt x="14" y="377"/>
                    </a:cubicBezTo>
                    <a:cubicBezTo>
                      <a:pt x="13" y="377"/>
                      <a:pt x="11" y="377"/>
                      <a:pt x="13" y="377"/>
                    </a:cubicBezTo>
                    <a:cubicBezTo>
                      <a:pt x="13" y="378"/>
                      <a:pt x="13" y="377"/>
                      <a:pt x="13" y="378"/>
                    </a:cubicBezTo>
                    <a:cubicBezTo>
                      <a:pt x="14" y="378"/>
                      <a:pt x="13" y="378"/>
                      <a:pt x="14" y="380"/>
                    </a:cubicBezTo>
                    <a:cubicBezTo>
                      <a:pt x="14" y="382"/>
                      <a:pt x="14" y="380"/>
                      <a:pt x="16" y="380"/>
                    </a:cubicBezTo>
                    <a:close/>
                    <a:moveTo>
                      <a:pt x="10" y="375"/>
                    </a:moveTo>
                    <a:cubicBezTo>
                      <a:pt x="11" y="374"/>
                      <a:pt x="10" y="374"/>
                      <a:pt x="10" y="375"/>
                    </a:cubicBezTo>
                    <a:cubicBezTo>
                      <a:pt x="8" y="377"/>
                      <a:pt x="8" y="378"/>
                      <a:pt x="8" y="377"/>
                    </a:cubicBezTo>
                    <a:cubicBezTo>
                      <a:pt x="10" y="377"/>
                      <a:pt x="10" y="377"/>
                      <a:pt x="10" y="375"/>
                    </a:cubicBezTo>
                    <a:close/>
                    <a:moveTo>
                      <a:pt x="10" y="380"/>
                    </a:moveTo>
                    <a:cubicBezTo>
                      <a:pt x="10" y="380"/>
                      <a:pt x="11" y="378"/>
                      <a:pt x="10" y="378"/>
                    </a:cubicBezTo>
                    <a:cubicBezTo>
                      <a:pt x="8" y="378"/>
                      <a:pt x="8" y="378"/>
                      <a:pt x="8" y="378"/>
                    </a:cubicBezTo>
                    <a:cubicBezTo>
                      <a:pt x="8" y="378"/>
                      <a:pt x="8" y="378"/>
                      <a:pt x="10" y="380"/>
                    </a:cubicBezTo>
                    <a:close/>
                    <a:moveTo>
                      <a:pt x="6" y="369"/>
                    </a:moveTo>
                    <a:cubicBezTo>
                      <a:pt x="6" y="368"/>
                      <a:pt x="6" y="368"/>
                      <a:pt x="6" y="368"/>
                    </a:cubicBezTo>
                    <a:cubicBezTo>
                      <a:pt x="5" y="366"/>
                      <a:pt x="5" y="368"/>
                      <a:pt x="5" y="369"/>
                    </a:cubicBezTo>
                    <a:cubicBezTo>
                      <a:pt x="5" y="371"/>
                      <a:pt x="3" y="372"/>
                      <a:pt x="5" y="371"/>
                    </a:cubicBezTo>
                    <a:cubicBezTo>
                      <a:pt x="6" y="371"/>
                      <a:pt x="5" y="369"/>
                      <a:pt x="6" y="369"/>
                    </a:cubicBezTo>
                    <a:close/>
                    <a:moveTo>
                      <a:pt x="14" y="369"/>
                    </a:moveTo>
                    <a:cubicBezTo>
                      <a:pt x="13" y="369"/>
                      <a:pt x="13" y="368"/>
                      <a:pt x="13" y="368"/>
                    </a:cubicBezTo>
                    <a:cubicBezTo>
                      <a:pt x="14" y="368"/>
                      <a:pt x="14" y="369"/>
                      <a:pt x="14" y="369"/>
                    </a:cubicBezTo>
                    <a:close/>
                    <a:moveTo>
                      <a:pt x="14" y="368"/>
                    </a:moveTo>
                    <a:cubicBezTo>
                      <a:pt x="14" y="366"/>
                      <a:pt x="16" y="366"/>
                      <a:pt x="16" y="368"/>
                    </a:cubicBezTo>
                    <a:cubicBezTo>
                      <a:pt x="16" y="368"/>
                      <a:pt x="14" y="369"/>
                      <a:pt x="14" y="368"/>
                    </a:cubicBezTo>
                    <a:close/>
                    <a:moveTo>
                      <a:pt x="10" y="368"/>
                    </a:moveTo>
                    <a:cubicBezTo>
                      <a:pt x="10" y="369"/>
                      <a:pt x="11" y="369"/>
                      <a:pt x="11" y="368"/>
                    </a:cubicBezTo>
                    <a:cubicBezTo>
                      <a:pt x="10" y="368"/>
                      <a:pt x="11" y="366"/>
                      <a:pt x="10" y="366"/>
                    </a:cubicBezTo>
                    <a:cubicBezTo>
                      <a:pt x="8" y="366"/>
                      <a:pt x="8" y="368"/>
                      <a:pt x="8" y="368"/>
                    </a:cubicBezTo>
                    <a:cubicBezTo>
                      <a:pt x="6" y="369"/>
                      <a:pt x="6" y="369"/>
                      <a:pt x="8" y="369"/>
                    </a:cubicBezTo>
                    <a:cubicBezTo>
                      <a:pt x="10" y="369"/>
                      <a:pt x="10" y="368"/>
                      <a:pt x="10" y="368"/>
                    </a:cubicBezTo>
                    <a:close/>
                    <a:moveTo>
                      <a:pt x="13" y="366"/>
                    </a:moveTo>
                    <a:cubicBezTo>
                      <a:pt x="13" y="363"/>
                      <a:pt x="13" y="363"/>
                      <a:pt x="13" y="363"/>
                    </a:cubicBezTo>
                    <a:cubicBezTo>
                      <a:pt x="13" y="363"/>
                      <a:pt x="14" y="366"/>
                      <a:pt x="13" y="366"/>
                    </a:cubicBezTo>
                    <a:close/>
                    <a:moveTo>
                      <a:pt x="11" y="349"/>
                    </a:moveTo>
                    <a:cubicBezTo>
                      <a:pt x="13" y="349"/>
                      <a:pt x="11" y="347"/>
                      <a:pt x="11" y="347"/>
                    </a:cubicBezTo>
                    <a:cubicBezTo>
                      <a:pt x="11" y="349"/>
                      <a:pt x="10" y="347"/>
                      <a:pt x="11" y="347"/>
                    </a:cubicBezTo>
                    <a:cubicBezTo>
                      <a:pt x="11" y="346"/>
                      <a:pt x="11" y="344"/>
                      <a:pt x="11" y="341"/>
                    </a:cubicBezTo>
                    <a:cubicBezTo>
                      <a:pt x="11" y="338"/>
                      <a:pt x="11" y="336"/>
                      <a:pt x="11" y="336"/>
                    </a:cubicBezTo>
                    <a:cubicBezTo>
                      <a:pt x="10" y="336"/>
                      <a:pt x="10" y="336"/>
                      <a:pt x="8" y="336"/>
                    </a:cubicBezTo>
                    <a:cubicBezTo>
                      <a:pt x="6" y="338"/>
                      <a:pt x="6" y="338"/>
                      <a:pt x="6" y="338"/>
                    </a:cubicBezTo>
                    <a:cubicBezTo>
                      <a:pt x="8" y="340"/>
                      <a:pt x="6" y="340"/>
                      <a:pt x="8" y="340"/>
                    </a:cubicBezTo>
                    <a:cubicBezTo>
                      <a:pt x="8" y="341"/>
                      <a:pt x="8" y="343"/>
                      <a:pt x="8" y="344"/>
                    </a:cubicBezTo>
                    <a:cubicBezTo>
                      <a:pt x="6" y="343"/>
                      <a:pt x="6" y="343"/>
                      <a:pt x="6" y="343"/>
                    </a:cubicBezTo>
                    <a:cubicBezTo>
                      <a:pt x="5" y="344"/>
                      <a:pt x="5" y="343"/>
                      <a:pt x="5" y="343"/>
                    </a:cubicBezTo>
                    <a:cubicBezTo>
                      <a:pt x="3" y="344"/>
                      <a:pt x="3" y="344"/>
                      <a:pt x="5" y="346"/>
                    </a:cubicBezTo>
                    <a:cubicBezTo>
                      <a:pt x="5" y="347"/>
                      <a:pt x="5" y="349"/>
                      <a:pt x="6" y="351"/>
                    </a:cubicBezTo>
                    <a:cubicBezTo>
                      <a:pt x="8" y="352"/>
                      <a:pt x="8" y="349"/>
                      <a:pt x="6" y="347"/>
                    </a:cubicBezTo>
                    <a:cubicBezTo>
                      <a:pt x="6" y="346"/>
                      <a:pt x="6" y="346"/>
                      <a:pt x="8" y="347"/>
                    </a:cubicBezTo>
                    <a:cubicBezTo>
                      <a:pt x="10" y="347"/>
                      <a:pt x="8" y="347"/>
                      <a:pt x="8" y="349"/>
                    </a:cubicBezTo>
                    <a:cubicBezTo>
                      <a:pt x="8" y="351"/>
                      <a:pt x="8" y="349"/>
                      <a:pt x="8" y="351"/>
                    </a:cubicBezTo>
                    <a:cubicBezTo>
                      <a:pt x="8" y="352"/>
                      <a:pt x="8" y="352"/>
                      <a:pt x="10" y="352"/>
                    </a:cubicBezTo>
                    <a:cubicBezTo>
                      <a:pt x="13" y="352"/>
                      <a:pt x="11" y="349"/>
                      <a:pt x="11" y="349"/>
                    </a:cubicBezTo>
                    <a:close/>
                    <a:moveTo>
                      <a:pt x="5" y="360"/>
                    </a:moveTo>
                    <a:cubicBezTo>
                      <a:pt x="6" y="358"/>
                      <a:pt x="6" y="358"/>
                      <a:pt x="5" y="358"/>
                    </a:cubicBezTo>
                    <a:cubicBezTo>
                      <a:pt x="2" y="357"/>
                      <a:pt x="5" y="358"/>
                      <a:pt x="3" y="360"/>
                    </a:cubicBezTo>
                    <a:cubicBezTo>
                      <a:pt x="3" y="360"/>
                      <a:pt x="2" y="361"/>
                      <a:pt x="3" y="361"/>
                    </a:cubicBezTo>
                    <a:cubicBezTo>
                      <a:pt x="5" y="361"/>
                      <a:pt x="5" y="360"/>
                      <a:pt x="5" y="360"/>
                    </a:cubicBezTo>
                    <a:close/>
                    <a:moveTo>
                      <a:pt x="13" y="361"/>
                    </a:moveTo>
                    <a:cubicBezTo>
                      <a:pt x="14" y="361"/>
                      <a:pt x="14" y="361"/>
                      <a:pt x="13" y="360"/>
                    </a:cubicBezTo>
                    <a:cubicBezTo>
                      <a:pt x="13" y="358"/>
                      <a:pt x="13" y="358"/>
                      <a:pt x="11" y="357"/>
                    </a:cubicBezTo>
                    <a:cubicBezTo>
                      <a:pt x="11" y="357"/>
                      <a:pt x="10" y="357"/>
                      <a:pt x="11" y="358"/>
                    </a:cubicBezTo>
                    <a:cubicBezTo>
                      <a:pt x="13" y="360"/>
                      <a:pt x="10" y="358"/>
                      <a:pt x="11" y="361"/>
                    </a:cubicBezTo>
                    <a:cubicBezTo>
                      <a:pt x="13" y="361"/>
                      <a:pt x="13" y="361"/>
                      <a:pt x="13" y="361"/>
                    </a:cubicBezTo>
                    <a:close/>
                    <a:moveTo>
                      <a:pt x="3" y="349"/>
                    </a:moveTo>
                    <a:cubicBezTo>
                      <a:pt x="5" y="349"/>
                      <a:pt x="3" y="351"/>
                      <a:pt x="5" y="351"/>
                    </a:cubicBezTo>
                    <a:cubicBezTo>
                      <a:pt x="5" y="351"/>
                      <a:pt x="5" y="351"/>
                      <a:pt x="5" y="349"/>
                    </a:cubicBezTo>
                    <a:cubicBezTo>
                      <a:pt x="5" y="347"/>
                      <a:pt x="5" y="347"/>
                      <a:pt x="3" y="347"/>
                    </a:cubicBezTo>
                    <a:cubicBezTo>
                      <a:pt x="2" y="347"/>
                      <a:pt x="2" y="347"/>
                      <a:pt x="2" y="351"/>
                    </a:cubicBezTo>
                    <a:cubicBezTo>
                      <a:pt x="2" y="351"/>
                      <a:pt x="3" y="351"/>
                      <a:pt x="3" y="349"/>
                    </a:cubicBezTo>
                    <a:close/>
                    <a:moveTo>
                      <a:pt x="5" y="357"/>
                    </a:moveTo>
                    <a:cubicBezTo>
                      <a:pt x="5" y="357"/>
                      <a:pt x="5" y="358"/>
                      <a:pt x="6" y="357"/>
                    </a:cubicBezTo>
                    <a:cubicBezTo>
                      <a:pt x="6" y="355"/>
                      <a:pt x="6" y="357"/>
                      <a:pt x="8" y="357"/>
                    </a:cubicBezTo>
                    <a:cubicBezTo>
                      <a:pt x="8" y="355"/>
                      <a:pt x="6" y="355"/>
                      <a:pt x="8" y="355"/>
                    </a:cubicBezTo>
                    <a:cubicBezTo>
                      <a:pt x="10" y="354"/>
                      <a:pt x="8" y="354"/>
                      <a:pt x="8" y="354"/>
                    </a:cubicBezTo>
                    <a:cubicBezTo>
                      <a:pt x="6" y="355"/>
                      <a:pt x="8" y="352"/>
                      <a:pt x="6" y="354"/>
                    </a:cubicBezTo>
                    <a:cubicBezTo>
                      <a:pt x="6" y="354"/>
                      <a:pt x="5" y="352"/>
                      <a:pt x="3" y="352"/>
                    </a:cubicBezTo>
                    <a:cubicBezTo>
                      <a:pt x="2" y="352"/>
                      <a:pt x="6" y="354"/>
                      <a:pt x="5" y="354"/>
                    </a:cubicBezTo>
                    <a:cubicBezTo>
                      <a:pt x="5" y="355"/>
                      <a:pt x="3" y="352"/>
                      <a:pt x="3" y="355"/>
                    </a:cubicBezTo>
                    <a:cubicBezTo>
                      <a:pt x="3" y="357"/>
                      <a:pt x="5" y="355"/>
                      <a:pt x="5" y="357"/>
                    </a:cubicBezTo>
                    <a:close/>
                    <a:moveTo>
                      <a:pt x="11" y="364"/>
                    </a:moveTo>
                    <a:cubicBezTo>
                      <a:pt x="11" y="364"/>
                      <a:pt x="13" y="363"/>
                      <a:pt x="11" y="363"/>
                    </a:cubicBezTo>
                    <a:cubicBezTo>
                      <a:pt x="11" y="361"/>
                      <a:pt x="10" y="360"/>
                      <a:pt x="10" y="361"/>
                    </a:cubicBezTo>
                    <a:cubicBezTo>
                      <a:pt x="10" y="363"/>
                      <a:pt x="11" y="363"/>
                      <a:pt x="10" y="363"/>
                    </a:cubicBezTo>
                    <a:cubicBezTo>
                      <a:pt x="6" y="363"/>
                      <a:pt x="6" y="363"/>
                      <a:pt x="8" y="363"/>
                    </a:cubicBezTo>
                    <a:cubicBezTo>
                      <a:pt x="10" y="364"/>
                      <a:pt x="8" y="364"/>
                      <a:pt x="10" y="364"/>
                    </a:cubicBezTo>
                    <a:cubicBezTo>
                      <a:pt x="10" y="366"/>
                      <a:pt x="11" y="363"/>
                      <a:pt x="11" y="364"/>
                    </a:cubicBezTo>
                    <a:close/>
                    <a:moveTo>
                      <a:pt x="10" y="363"/>
                    </a:moveTo>
                    <a:cubicBezTo>
                      <a:pt x="8" y="361"/>
                      <a:pt x="6" y="361"/>
                      <a:pt x="8" y="360"/>
                    </a:cubicBezTo>
                    <a:cubicBezTo>
                      <a:pt x="10" y="363"/>
                      <a:pt x="10" y="363"/>
                      <a:pt x="10" y="363"/>
                    </a:cubicBezTo>
                    <a:close/>
                    <a:moveTo>
                      <a:pt x="11" y="366"/>
                    </a:moveTo>
                    <a:cubicBezTo>
                      <a:pt x="10" y="366"/>
                      <a:pt x="11" y="364"/>
                      <a:pt x="11" y="364"/>
                    </a:cubicBezTo>
                    <a:cubicBezTo>
                      <a:pt x="11" y="366"/>
                      <a:pt x="13" y="368"/>
                      <a:pt x="11" y="366"/>
                    </a:cubicBezTo>
                    <a:close/>
                    <a:moveTo>
                      <a:pt x="8" y="341"/>
                    </a:moveTo>
                    <a:cubicBezTo>
                      <a:pt x="8" y="341"/>
                      <a:pt x="5" y="340"/>
                      <a:pt x="5" y="341"/>
                    </a:cubicBezTo>
                    <a:cubicBezTo>
                      <a:pt x="5" y="343"/>
                      <a:pt x="6" y="341"/>
                      <a:pt x="6" y="343"/>
                    </a:cubicBezTo>
                    <a:cubicBezTo>
                      <a:pt x="8" y="343"/>
                      <a:pt x="8" y="343"/>
                      <a:pt x="8" y="341"/>
                    </a:cubicBezTo>
                    <a:close/>
                    <a:moveTo>
                      <a:pt x="11" y="335"/>
                    </a:moveTo>
                    <a:cubicBezTo>
                      <a:pt x="11" y="335"/>
                      <a:pt x="11" y="336"/>
                      <a:pt x="11" y="335"/>
                    </a:cubicBezTo>
                    <a:cubicBezTo>
                      <a:pt x="10" y="333"/>
                      <a:pt x="11" y="333"/>
                      <a:pt x="11" y="332"/>
                    </a:cubicBezTo>
                    <a:cubicBezTo>
                      <a:pt x="10" y="330"/>
                      <a:pt x="10" y="329"/>
                      <a:pt x="10" y="330"/>
                    </a:cubicBezTo>
                    <a:cubicBezTo>
                      <a:pt x="8" y="332"/>
                      <a:pt x="10" y="332"/>
                      <a:pt x="10" y="333"/>
                    </a:cubicBezTo>
                    <a:cubicBezTo>
                      <a:pt x="10" y="335"/>
                      <a:pt x="8" y="332"/>
                      <a:pt x="6" y="333"/>
                    </a:cubicBezTo>
                    <a:cubicBezTo>
                      <a:pt x="6" y="335"/>
                      <a:pt x="8" y="335"/>
                      <a:pt x="10" y="336"/>
                    </a:cubicBezTo>
                    <a:cubicBezTo>
                      <a:pt x="11" y="336"/>
                      <a:pt x="11" y="336"/>
                      <a:pt x="11" y="335"/>
                    </a:cubicBezTo>
                    <a:close/>
                    <a:moveTo>
                      <a:pt x="16" y="327"/>
                    </a:moveTo>
                    <a:cubicBezTo>
                      <a:pt x="16" y="329"/>
                      <a:pt x="16" y="327"/>
                      <a:pt x="17" y="327"/>
                    </a:cubicBezTo>
                    <a:cubicBezTo>
                      <a:pt x="17" y="327"/>
                      <a:pt x="16" y="327"/>
                      <a:pt x="14" y="326"/>
                    </a:cubicBezTo>
                    <a:cubicBezTo>
                      <a:pt x="14" y="326"/>
                      <a:pt x="11" y="326"/>
                      <a:pt x="11" y="327"/>
                    </a:cubicBezTo>
                    <a:cubicBezTo>
                      <a:pt x="11" y="329"/>
                      <a:pt x="14" y="327"/>
                      <a:pt x="16" y="327"/>
                    </a:cubicBezTo>
                    <a:close/>
                    <a:moveTo>
                      <a:pt x="8" y="333"/>
                    </a:moveTo>
                    <a:cubicBezTo>
                      <a:pt x="8" y="332"/>
                      <a:pt x="8" y="332"/>
                      <a:pt x="8" y="330"/>
                    </a:cubicBezTo>
                    <a:cubicBezTo>
                      <a:pt x="8" y="330"/>
                      <a:pt x="6" y="330"/>
                      <a:pt x="6" y="329"/>
                    </a:cubicBezTo>
                    <a:cubicBezTo>
                      <a:pt x="5" y="329"/>
                      <a:pt x="5" y="332"/>
                      <a:pt x="6" y="333"/>
                    </a:cubicBezTo>
                    <a:cubicBezTo>
                      <a:pt x="8" y="333"/>
                      <a:pt x="8" y="333"/>
                      <a:pt x="8" y="333"/>
                    </a:cubicBezTo>
                    <a:close/>
                    <a:moveTo>
                      <a:pt x="3" y="343"/>
                    </a:moveTo>
                    <a:cubicBezTo>
                      <a:pt x="3" y="341"/>
                      <a:pt x="5" y="343"/>
                      <a:pt x="3" y="341"/>
                    </a:cubicBezTo>
                    <a:cubicBezTo>
                      <a:pt x="3" y="340"/>
                      <a:pt x="3" y="341"/>
                      <a:pt x="3" y="341"/>
                    </a:cubicBezTo>
                    <a:cubicBezTo>
                      <a:pt x="2" y="341"/>
                      <a:pt x="2" y="343"/>
                      <a:pt x="2" y="343"/>
                    </a:cubicBezTo>
                    <a:cubicBezTo>
                      <a:pt x="3" y="344"/>
                      <a:pt x="3" y="344"/>
                      <a:pt x="3" y="343"/>
                    </a:cubicBezTo>
                    <a:close/>
                    <a:moveTo>
                      <a:pt x="8" y="326"/>
                    </a:moveTo>
                    <a:cubicBezTo>
                      <a:pt x="8" y="326"/>
                      <a:pt x="8" y="327"/>
                      <a:pt x="6" y="327"/>
                    </a:cubicBezTo>
                    <a:cubicBezTo>
                      <a:pt x="5" y="327"/>
                      <a:pt x="5" y="329"/>
                      <a:pt x="6" y="329"/>
                    </a:cubicBezTo>
                    <a:cubicBezTo>
                      <a:pt x="8" y="329"/>
                      <a:pt x="6" y="329"/>
                      <a:pt x="8" y="329"/>
                    </a:cubicBezTo>
                    <a:cubicBezTo>
                      <a:pt x="8" y="329"/>
                      <a:pt x="10" y="326"/>
                      <a:pt x="8" y="326"/>
                    </a:cubicBezTo>
                    <a:close/>
                    <a:moveTo>
                      <a:pt x="6" y="335"/>
                    </a:moveTo>
                    <a:cubicBezTo>
                      <a:pt x="6" y="333"/>
                      <a:pt x="5" y="332"/>
                      <a:pt x="5" y="330"/>
                    </a:cubicBezTo>
                    <a:cubicBezTo>
                      <a:pt x="3" y="329"/>
                      <a:pt x="3" y="329"/>
                      <a:pt x="3" y="329"/>
                    </a:cubicBezTo>
                    <a:cubicBezTo>
                      <a:pt x="2" y="330"/>
                      <a:pt x="3" y="330"/>
                      <a:pt x="3" y="332"/>
                    </a:cubicBezTo>
                    <a:cubicBezTo>
                      <a:pt x="2" y="332"/>
                      <a:pt x="2" y="333"/>
                      <a:pt x="3" y="333"/>
                    </a:cubicBezTo>
                    <a:cubicBezTo>
                      <a:pt x="5" y="332"/>
                      <a:pt x="5" y="333"/>
                      <a:pt x="5" y="335"/>
                    </a:cubicBezTo>
                    <a:cubicBezTo>
                      <a:pt x="5" y="336"/>
                      <a:pt x="5" y="336"/>
                      <a:pt x="5" y="336"/>
                    </a:cubicBezTo>
                    <a:cubicBezTo>
                      <a:pt x="6" y="335"/>
                      <a:pt x="6" y="335"/>
                      <a:pt x="6" y="335"/>
                    </a:cubicBezTo>
                    <a:close/>
                    <a:moveTo>
                      <a:pt x="3" y="336"/>
                    </a:moveTo>
                    <a:cubicBezTo>
                      <a:pt x="5" y="335"/>
                      <a:pt x="3" y="333"/>
                      <a:pt x="3" y="333"/>
                    </a:cubicBezTo>
                    <a:cubicBezTo>
                      <a:pt x="2" y="335"/>
                      <a:pt x="2" y="333"/>
                      <a:pt x="2" y="335"/>
                    </a:cubicBezTo>
                    <a:cubicBezTo>
                      <a:pt x="2" y="336"/>
                      <a:pt x="2" y="336"/>
                      <a:pt x="3" y="336"/>
                    </a:cubicBezTo>
                    <a:close/>
                    <a:moveTo>
                      <a:pt x="3" y="340"/>
                    </a:moveTo>
                    <a:cubicBezTo>
                      <a:pt x="5" y="340"/>
                      <a:pt x="5" y="341"/>
                      <a:pt x="5" y="340"/>
                    </a:cubicBezTo>
                    <a:cubicBezTo>
                      <a:pt x="5" y="340"/>
                      <a:pt x="5" y="338"/>
                      <a:pt x="3" y="338"/>
                    </a:cubicBezTo>
                    <a:cubicBezTo>
                      <a:pt x="3" y="338"/>
                      <a:pt x="0" y="338"/>
                      <a:pt x="2" y="340"/>
                    </a:cubicBezTo>
                    <a:cubicBezTo>
                      <a:pt x="3" y="340"/>
                      <a:pt x="3" y="340"/>
                      <a:pt x="3" y="340"/>
                    </a:cubicBezTo>
                    <a:close/>
                    <a:moveTo>
                      <a:pt x="5" y="326"/>
                    </a:moveTo>
                    <a:cubicBezTo>
                      <a:pt x="5" y="326"/>
                      <a:pt x="6" y="324"/>
                      <a:pt x="6" y="326"/>
                    </a:cubicBezTo>
                    <a:cubicBezTo>
                      <a:pt x="6" y="326"/>
                      <a:pt x="5" y="327"/>
                      <a:pt x="5" y="326"/>
                    </a:cubicBezTo>
                    <a:close/>
                    <a:moveTo>
                      <a:pt x="13" y="318"/>
                    </a:moveTo>
                    <a:cubicBezTo>
                      <a:pt x="13" y="316"/>
                      <a:pt x="16" y="316"/>
                      <a:pt x="14" y="318"/>
                    </a:cubicBezTo>
                    <a:cubicBezTo>
                      <a:pt x="13" y="318"/>
                      <a:pt x="13" y="318"/>
                      <a:pt x="13" y="318"/>
                    </a:cubicBezTo>
                    <a:close/>
                    <a:moveTo>
                      <a:pt x="3" y="336"/>
                    </a:moveTo>
                    <a:cubicBezTo>
                      <a:pt x="5" y="336"/>
                      <a:pt x="5" y="336"/>
                      <a:pt x="3" y="336"/>
                    </a:cubicBezTo>
                    <a:cubicBezTo>
                      <a:pt x="2" y="336"/>
                      <a:pt x="2" y="336"/>
                      <a:pt x="2" y="338"/>
                    </a:cubicBezTo>
                    <a:cubicBezTo>
                      <a:pt x="2" y="338"/>
                      <a:pt x="2" y="338"/>
                      <a:pt x="3" y="336"/>
                    </a:cubicBezTo>
                    <a:close/>
                    <a:moveTo>
                      <a:pt x="6" y="340"/>
                    </a:moveTo>
                    <a:cubicBezTo>
                      <a:pt x="6" y="340"/>
                      <a:pt x="6" y="338"/>
                      <a:pt x="5" y="338"/>
                    </a:cubicBezTo>
                    <a:cubicBezTo>
                      <a:pt x="5" y="338"/>
                      <a:pt x="5" y="338"/>
                      <a:pt x="5" y="340"/>
                    </a:cubicBezTo>
                    <a:cubicBezTo>
                      <a:pt x="5" y="340"/>
                      <a:pt x="5" y="340"/>
                      <a:pt x="6" y="340"/>
                    </a:cubicBezTo>
                    <a:close/>
                    <a:moveTo>
                      <a:pt x="14" y="333"/>
                    </a:moveTo>
                    <a:cubicBezTo>
                      <a:pt x="14" y="333"/>
                      <a:pt x="13" y="332"/>
                      <a:pt x="11" y="332"/>
                    </a:cubicBezTo>
                    <a:cubicBezTo>
                      <a:pt x="11" y="330"/>
                      <a:pt x="11" y="329"/>
                      <a:pt x="11" y="330"/>
                    </a:cubicBezTo>
                    <a:cubicBezTo>
                      <a:pt x="11" y="333"/>
                      <a:pt x="11" y="332"/>
                      <a:pt x="11" y="333"/>
                    </a:cubicBezTo>
                    <a:cubicBezTo>
                      <a:pt x="13" y="333"/>
                      <a:pt x="14" y="333"/>
                      <a:pt x="14" y="333"/>
                    </a:cubicBezTo>
                    <a:close/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39" name="Freeform 233"/>
              <p:cNvSpPr>
                <a:spLocks noEditPoints="1"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3033494" y="4249807"/>
                <a:ext cx="362594" cy="846818"/>
              </a:xfrm>
              <a:custGeom>
                <a:avLst/>
                <a:gdLst/>
                <a:ahLst/>
                <a:cxnLst>
                  <a:cxn ang="0">
                    <a:pos x="124" y="104"/>
                  </a:cxn>
                  <a:cxn ang="0">
                    <a:pos x="130" y="140"/>
                  </a:cxn>
                  <a:cxn ang="0">
                    <a:pos x="131" y="166"/>
                  </a:cxn>
                  <a:cxn ang="0">
                    <a:pos x="93" y="180"/>
                  </a:cxn>
                  <a:cxn ang="0">
                    <a:pos x="92" y="199"/>
                  </a:cxn>
                  <a:cxn ang="0">
                    <a:pos x="69" y="202"/>
                  </a:cxn>
                  <a:cxn ang="0">
                    <a:pos x="81" y="222"/>
                  </a:cxn>
                  <a:cxn ang="0">
                    <a:pos x="73" y="227"/>
                  </a:cxn>
                  <a:cxn ang="0">
                    <a:pos x="58" y="250"/>
                  </a:cxn>
                  <a:cxn ang="0">
                    <a:pos x="64" y="275"/>
                  </a:cxn>
                  <a:cxn ang="0">
                    <a:pos x="49" y="298"/>
                  </a:cxn>
                  <a:cxn ang="0">
                    <a:pos x="43" y="335"/>
                  </a:cxn>
                  <a:cxn ang="0">
                    <a:pos x="13" y="328"/>
                  </a:cxn>
                  <a:cxn ang="0">
                    <a:pos x="2" y="306"/>
                  </a:cxn>
                  <a:cxn ang="0">
                    <a:pos x="11" y="281"/>
                  </a:cxn>
                  <a:cxn ang="0">
                    <a:pos x="16" y="261"/>
                  </a:cxn>
                  <a:cxn ang="0">
                    <a:pos x="17" y="247"/>
                  </a:cxn>
                  <a:cxn ang="0">
                    <a:pos x="16" y="228"/>
                  </a:cxn>
                  <a:cxn ang="0">
                    <a:pos x="16" y="206"/>
                  </a:cxn>
                  <a:cxn ang="0">
                    <a:pos x="22" y="179"/>
                  </a:cxn>
                  <a:cxn ang="0">
                    <a:pos x="26" y="151"/>
                  </a:cxn>
                  <a:cxn ang="0">
                    <a:pos x="31" y="119"/>
                  </a:cxn>
                  <a:cxn ang="0">
                    <a:pos x="28" y="91"/>
                  </a:cxn>
                  <a:cxn ang="0">
                    <a:pos x="34" y="67"/>
                  </a:cxn>
                  <a:cxn ang="0">
                    <a:pos x="42" y="33"/>
                  </a:cxn>
                  <a:cxn ang="0">
                    <a:pos x="52" y="11"/>
                  </a:cxn>
                  <a:cxn ang="0">
                    <a:pos x="66" y="5"/>
                  </a:cxn>
                  <a:cxn ang="0">
                    <a:pos x="86" y="3"/>
                  </a:cxn>
                  <a:cxn ang="0">
                    <a:pos x="101" y="20"/>
                  </a:cxn>
                  <a:cxn ang="0">
                    <a:pos x="128" y="39"/>
                  </a:cxn>
                  <a:cxn ang="0">
                    <a:pos x="121" y="56"/>
                  </a:cxn>
                  <a:cxn ang="0">
                    <a:pos x="145" y="57"/>
                  </a:cxn>
                  <a:cxn ang="0">
                    <a:pos x="159" y="42"/>
                  </a:cxn>
                  <a:cxn ang="0">
                    <a:pos x="133" y="82"/>
                  </a:cxn>
                  <a:cxn ang="0">
                    <a:pos x="45" y="366"/>
                  </a:cxn>
                  <a:cxn ang="0">
                    <a:pos x="64" y="366"/>
                  </a:cxn>
                  <a:cxn ang="0">
                    <a:pos x="66" y="363"/>
                  </a:cxn>
                  <a:cxn ang="0">
                    <a:pos x="46" y="349"/>
                  </a:cxn>
                  <a:cxn ang="0">
                    <a:pos x="43" y="345"/>
                  </a:cxn>
                  <a:cxn ang="0">
                    <a:pos x="42" y="366"/>
                  </a:cxn>
                  <a:cxn ang="0">
                    <a:pos x="78" y="365"/>
                  </a:cxn>
                  <a:cxn ang="0">
                    <a:pos x="72" y="366"/>
                  </a:cxn>
                  <a:cxn ang="0">
                    <a:pos x="49" y="370"/>
                  </a:cxn>
                  <a:cxn ang="0">
                    <a:pos x="51" y="368"/>
                  </a:cxn>
                  <a:cxn ang="0">
                    <a:pos x="45" y="371"/>
                  </a:cxn>
                  <a:cxn ang="0">
                    <a:pos x="55" y="371"/>
                  </a:cxn>
                  <a:cxn ang="0">
                    <a:pos x="58" y="370"/>
                  </a:cxn>
                </a:cxnLst>
                <a:rect l="0" t="0" r="r" b="b"/>
                <a:pathLst>
                  <a:path w="160" h="373">
                    <a:moveTo>
                      <a:pt x="128" y="87"/>
                    </a:moveTo>
                    <a:cubicBezTo>
                      <a:pt x="125" y="91"/>
                      <a:pt x="128" y="93"/>
                      <a:pt x="125" y="98"/>
                    </a:cubicBezTo>
                    <a:cubicBezTo>
                      <a:pt x="122" y="102"/>
                      <a:pt x="127" y="102"/>
                      <a:pt x="124" y="104"/>
                    </a:cubicBezTo>
                    <a:cubicBezTo>
                      <a:pt x="122" y="107"/>
                      <a:pt x="127" y="116"/>
                      <a:pt x="124" y="118"/>
                    </a:cubicBezTo>
                    <a:cubicBezTo>
                      <a:pt x="121" y="119"/>
                      <a:pt x="121" y="126"/>
                      <a:pt x="122" y="129"/>
                    </a:cubicBezTo>
                    <a:cubicBezTo>
                      <a:pt x="118" y="135"/>
                      <a:pt x="127" y="135"/>
                      <a:pt x="130" y="140"/>
                    </a:cubicBezTo>
                    <a:cubicBezTo>
                      <a:pt x="134" y="146"/>
                      <a:pt x="128" y="144"/>
                      <a:pt x="130" y="149"/>
                    </a:cubicBezTo>
                    <a:cubicBezTo>
                      <a:pt x="133" y="155"/>
                      <a:pt x="136" y="149"/>
                      <a:pt x="136" y="155"/>
                    </a:cubicBezTo>
                    <a:cubicBezTo>
                      <a:pt x="136" y="160"/>
                      <a:pt x="134" y="163"/>
                      <a:pt x="131" y="166"/>
                    </a:cubicBezTo>
                    <a:cubicBezTo>
                      <a:pt x="128" y="171"/>
                      <a:pt x="131" y="171"/>
                      <a:pt x="127" y="174"/>
                    </a:cubicBezTo>
                    <a:cubicBezTo>
                      <a:pt x="121" y="177"/>
                      <a:pt x="110" y="180"/>
                      <a:pt x="102" y="182"/>
                    </a:cubicBezTo>
                    <a:cubicBezTo>
                      <a:pt x="95" y="182"/>
                      <a:pt x="96" y="183"/>
                      <a:pt x="93" y="180"/>
                    </a:cubicBezTo>
                    <a:cubicBezTo>
                      <a:pt x="89" y="179"/>
                      <a:pt x="90" y="183"/>
                      <a:pt x="92" y="185"/>
                    </a:cubicBezTo>
                    <a:cubicBezTo>
                      <a:pt x="95" y="186"/>
                      <a:pt x="93" y="189"/>
                      <a:pt x="92" y="192"/>
                    </a:cubicBezTo>
                    <a:cubicBezTo>
                      <a:pt x="90" y="194"/>
                      <a:pt x="89" y="197"/>
                      <a:pt x="92" y="199"/>
                    </a:cubicBezTo>
                    <a:cubicBezTo>
                      <a:pt x="93" y="200"/>
                      <a:pt x="93" y="202"/>
                      <a:pt x="87" y="205"/>
                    </a:cubicBezTo>
                    <a:cubicBezTo>
                      <a:pt x="83" y="206"/>
                      <a:pt x="86" y="205"/>
                      <a:pt x="81" y="205"/>
                    </a:cubicBezTo>
                    <a:cubicBezTo>
                      <a:pt x="77" y="206"/>
                      <a:pt x="73" y="200"/>
                      <a:pt x="69" y="202"/>
                    </a:cubicBezTo>
                    <a:cubicBezTo>
                      <a:pt x="66" y="203"/>
                      <a:pt x="70" y="208"/>
                      <a:pt x="69" y="213"/>
                    </a:cubicBezTo>
                    <a:cubicBezTo>
                      <a:pt x="69" y="219"/>
                      <a:pt x="72" y="219"/>
                      <a:pt x="78" y="216"/>
                    </a:cubicBezTo>
                    <a:cubicBezTo>
                      <a:pt x="81" y="216"/>
                      <a:pt x="81" y="220"/>
                      <a:pt x="81" y="222"/>
                    </a:cubicBezTo>
                    <a:cubicBezTo>
                      <a:pt x="80" y="227"/>
                      <a:pt x="77" y="227"/>
                      <a:pt x="75" y="224"/>
                    </a:cubicBezTo>
                    <a:cubicBezTo>
                      <a:pt x="73" y="220"/>
                      <a:pt x="67" y="222"/>
                      <a:pt x="70" y="225"/>
                    </a:cubicBezTo>
                    <a:cubicBezTo>
                      <a:pt x="73" y="227"/>
                      <a:pt x="77" y="225"/>
                      <a:pt x="73" y="227"/>
                    </a:cubicBezTo>
                    <a:cubicBezTo>
                      <a:pt x="67" y="228"/>
                      <a:pt x="66" y="234"/>
                      <a:pt x="67" y="237"/>
                    </a:cubicBezTo>
                    <a:cubicBezTo>
                      <a:pt x="70" y="245"/>
                      <a:pt x="63" y="244"/>
                      <a:pt x="64" y="247"/>
                    </a:cubicBezTo>
                    <a:cubicBezTo>
                      <a:pt x="67" y="250"/>
                      <a:pt x="60" y="248"/>
                      <a:pt x="58" y="250"/>
                    </a:cubicBezTo>
                    <a:cubicBezTo>
                      <a:pt x="57" y="253"/>
                      <a:pt x="55" y="248"/>
                      <a:pt x="52" y="256"/>
                    </a:cubicBezTo>
                    <a:cubicBezTo>
                      <a:pt x="48" y="262"/>
                      <a:pt x="48" y="262"/>
                      <a:pt x="52" y="269"/>
                    </a:cubicBezTo>
                    <a:cubicBezTo>
                      <a:pt x="58" y="276"/>
                      <a:pt x="63" y="270"/>
                      <a:pt x="64" y="275"/>
                    </a:cubicBezTo>
                    <a:cubicBezTo>
                      <a:pt x="64" y="281"/>
                      <a:pt x="61" y="279"/>
                      <a:pt x="63" y="281"/>
                    </a:cubicBezTo>
                    <a:cubicBezTo>
                      <a:pt x="64" y="284"/>
                      <a:pt x="60" y="284"/>
                      <a:pt x="60" y="287"/>
                    </a:cubicBezTo>
                    <a:cubicBezTo>
                      <a:pt x="60" y="289"/>
                      <a:pt x="51" y="290"/>
                      <a:pt x="49" y="298"/>
                    </a:cubicBezTo>
                    <a:cubicBezTo>
                      <a:pt x="48" y="304"/>
                      <a:pt x="49" y="307"/>
                      <a:pt x="43" y="309"/>
                    </a:cubicBezTo>
                    <a:cubicBezTo>
                      <a:pt x="35" y="312"/>
                      <a:pt x="37" y="318"/>
                      <a:pt x="37" y="323"/>
                    </a:cubicBezTo>
                    <a:cubicBezTo>
                      <a:pt x="38" y="331"/>
                      <a:pt x="45" y="335"/>
                      <a:pt x="43" y="335"/>
                    </a:cubicBezTo>
                    <a:cubicBezTo>
                      <a:pt x="42" y="332"/>
                      <a:pt x="34" y="334"/>
                      <a:pt x="29" y="331"/>
                    </a:cubicBezTo>
                    <a:cubicBezTo>
                      <a:pt x="29" y="331"/>
                      <a:pt x="22" y="331"/>
                      <a:pt x="17" y="331"/>
                    </a:cubicBezTo>
                    <a:cubicBezTo>
                      <a:pt x="13" y="331"/>
                      <a:pt x="16" y="329"/>
                      <a:pt x="13" y="328"/>
                    </a:cubicBezTo>
                    <a:cubicBezTo>
                      <a:pt x="10" y="326"/>
                      <a:pt x="13" y="314"/>
                      <a:pt x="10" y="314"/>
                    </a:cubicBezTo>
                    <a:cubicBezTo>
                      <a:pt x="7" y="314"/>
                      <a:pt x="5" y="318"/>
                      <a:pt x="5" y="314"/>
                    </a:cubicBezTo>
                    <a:cubicBezTo>
                      <a:pt x="3" y="307"/>
                      <a:pt x="0" y="310"/>
                      <a:pt x="2" y="306"/>
                    </a:cubicBezTo>
                    <a:cubicBezTo>
                      <a:pt x="3" y="303"/>
                      <a:pt x="0" y="298"/>
                      <a:pt x="3" y="300"/>
                    </a:cubicBezTo>
                    <a:cubicBezTo>
                      <a:pt x="7" y="300"/>
                      <a:pt x="8" y="290"/>
                      <a:pt x="11" y="289"/>
                    </a:cubicBezTo>
                    <a:cubicBezTo>
                      <a:pt x="14" y="286"/>
                      <a:pt x="8" y="284"/>
                      <a:pt x="11" y="281"/>
                    </a:cubicBezTo>
                    <a:cubicBezTo>
                      <a:pt x="13" y="279"/>
                      <a:pt x="10" y="279"/>
                      <a:pt x="14" y="275"/>
                    </a:cubicBezTo>
                    <a:cubicBezTo>
                      <a:pt x="19" y="272"/>
                      <a:pt x="11" y="272"/>
                      <a:pt x="16" y="269"/>
                    </a:cubicBezTo>
                    <a:cubicBezTo>
                      <a:pt x="19" y="267"/>
                      <a:pt x="14" y="262"/>
                      <a:pt x="16" y="261"/>
                    </a:cubicBezTo>
                    <a:cubicBezTo>
                      <a:pt x="19" y="259"/>
                      <a:pt x="13" y="256"/>
                      <a:pt x="17" y="255"/>
                    </a:cubicBezTo>
                    <a:cubicBezTo>
                      <a:pt x="20" y="253"/>
                      <a:pt x="20" y="248"/>
                      <a:pt x="16" y="248"/>
                    </a:cubicBezTo>
                    <a:cubicBezTo>
                      <a:pt x="13" y="247"/>
                      <a:pt x="13" y="245"/>
                      <a:pt x="17" y="247"/>
                    </a:cubicBezTo>
                    <a:cubicBezTo>
                      <a:pt x="22" y="247"/>
                      <a:pt x="23" y="241"/>
                      <a:pt x="17" y="242"/>
                    </a:cubicBezTo>
                    <a:cubicBezTo>
                      <a:pt x="13" y="244"/>
                      <a:pt x="19" y="237"/>
                      <a:pt x="17" y="236"/>
                    </a:cubicBezTo>
                    <a:cubicBezTo>
                      <a:pt x="14" y="234"/>
                      <a:pt x="17" y="230"/>
                      <a:pt x="16" y="228"/>
                    </a:cubicBezTo>
                    <a:cubicBezTo>
                      <a:pt x="16" y="227"/>
                      <a:pt x="13" y="227"/>
                      <a:pt x="13" y="220"/>
                    </a:cubicBezTo>
                    <a:cubicBezTo>
                      <a:pt x="14" y="214"/>
                      <a:pt x="16" y="219"/>
                      <a:pt x="16" y="216"/>
                    </a:cubicBezTo>
                    <a:cubicBezTo>
                      <a:pt x="17" y="214"/>
                      <a:pt x="14" y="213"/>
                      <a:pt x="16" y="206"/>
                    </a:cubicBezTo>
                    <a:cubicBezTo>
                      <a:pt x="16" y="200"/>
                      <a:pt x="13" y="202"/>
                      <a:pt x="16" y="199"/>
                    </a:cubicBezTo>
                    <a:cubicBezTo>
                      <a:pt x="19" y="196"/>
                      <a:pt x="14" y="191"/>
                      <a:pt x="17" y="188"/>
                    </a:cubicBezTo>
                    <a:cubicBezTo>
                      <a:pt x="20" y="186"/>
                      <a:pt x="16" y="183"/>
                      <a:pt x="22" y="179"/>
                    </a:cubicBezTo>
                    <a:cubicBezTo>
                      <a:pt x="25" y="177"/>
                      <a:pt x="20" y="169"/>
                      <a:pt x="20" y="166"/>
                    </a:cubicBezTo>
                    <a:cubicBezTo>
                      <a:pt x="22" y="163"/>
                      <a:pt x="20" y="158"/>
                      <a:pt x="22" y="155"/>
                    </a:cubicBezTo>
                    <a:cubicBezTo>
                      <a:pt x="22" y="152"/>
                      <a:pt x="23" y="155"/>
                      <a:pt x="26" y="151"/>
                    </a:cubicBezTo>
                    <a:cubicBezTo>
                      <a:pt x="28" y="147"/>
                      <a:pt x="26" y="146"/>
                      <a:pt x="28" y="136"/>
                    </a:cubicBezTo>
                    <a:cubicBezTo>
                      <a:pt x="28" y="129"/>
                      <a:pt x="32" y="132"/>
                      <a:pt x="31" y="127"/>
                    </a:cubicBezTo>
                    <a:cubicBezTo>
                      <a:pt x="31" y="123"/>
                      <a:pt x="34" y="119"/>
                      <a:pt x="31" y="119"/>
                    </a:cubicBezTo>
                    <a:cubicBezTo>
                      <a:pt x="28" y="119"/>
                      <a:pt x="31" y="118"/>
                      <a:pt x="29" y="113"/>
                    </a:cubicBezTo>
                    <a:cubicBezTo>
                      <a:pt x="28" y="109"/>
                      <a:pt x="28" y="106"/>
                      <a:pt x="26" y="102"/>
                    </a:cubicBezTo>
                    <a:cubicBezTo>
                      <a:pt x="25" y="101"/>
                      <a:pt x="26" y="96"/>
                      <a:pt x="28" y="91"/>
                    </a:cubicBezTo>
                    <a:cubicBezTo>
                      <a:pt x="29" y="87"/>
                      <a:pt x="29" y="90"/>
                      <a:pt x="31" y="88"/>
                    </a:cubicBezTo>
                    <a:cubicBezTo>
                      <a:pt x="32" y="85"/>
                      <a:pt x="28" y="79"/>
                      <a:pt x="31" y="76"/>
                    </a:cubicBezTo>
                    <a:cubicBezTo>
                      <a:pt x="32" y="74"/>
                      <a:pt x="32" y="68"/>
                      <a:pt x="34" y="67"/>
                    </a:cubicBezTo>
                    <a:cubicBezTo>
                      <a:pt x="37" y="65"/>
                      <a:pt x="35" y="67"/>
                      <a:pt x="38" y="59"/>
                    </a:cubicBezTo>
                    <a:cubicBezTo>
                      <a:pt x="40" y="51"/>
                      <a:pt x="46" y="59"/>
                      <a:pt x="43" y="51"/>
                    </a:cubicBezTo>
                    <a:cubicBezTo>
                      <a:pt x="40" y="46"/>
                      <a:pt x="43" y="34"/>
                      <a:pt x="42" y="33"/>
                    </a:cubicBezTo>
                    <a:cubicBezTo>
                      <a:pt x="40" y="28"/>
                      <a:pt x="48" y="25"/>
                      <a:pt x="49" y="25"/>
                    </a:cubicBezTo>
                    <a:cubicBezTo>
                      <a:pt x="52" y="23"/>
                      <a:pt x="52" y="19"/>
                      <a:pt x="52" y="15"/>
                    </a:cubicBezTo>
                    <a:cubicBezTo>
                      <a:pt x="54" y="14"/>
                      <a:pt x="54" y="12"/>
                      <a:pt x="52" y="11"/>
                    </a:cubicBezTo>
                    <a:cubicBezTo>
                      <a:pt x="55" y="9"/>
                      <a:pt x="55" y="6"/>
                      <a:pt x="57" y="5"/>
                    </a:cubicBezTo>
                    <a:cubicBezTo>
                      <a:pt x="60" y="3"/>
                      <a:pt x="58" y="1"/>
                      <a:pt x="60" y="0"/>
                    </a:cubicBezTo>
                    <a:cubicBezTo>
                      <a:pt x="61" y="0"/>
                      <a:pt x="61" y="5"/>
                      <a:pt x="66" y="5"/>
                    </a:cubicBezTo>
                    <a:cubicBezTo>
                      <a:pt x="70" y="3"/>
                      <a:pt x="73" y="3"/>
                      <a:pt x="75" y="11"/>
                    </a:cubicBezTo>
                    <a:cubicBezTo>
                      <a:pt x="77" y="5"/>
                      <a:pt x="78" y="3"/>
                      <a:pt x="80" y="3"/>
                    </a:cubicBezTo>
                    <a:cubicBezTo>
                      <a:pt x="83" y="3"/>
                      <a:pt x="84" y="3"/>
                      <a:pt x="86" y="3"/>
                    </a:cubicBezTo>
                    <a:cubicBezTo>
                      <a:pt x="87" y="3"/>
                      <a:pt x="87" y="5"/>
                      <a:pt x="89" y="6"/>
                    </a:cubicBezTo>
                    <a:cubicBezTo>
                      <a:pt x="90" y="8"/>
                      <a:pt x="90" y="6"/>
                      <a:pt x="92" y="11"/>
                    </a:cubicBezTo>
                    <a:cubicBezTo>
                      <a:pt x="95" y="17"/>
                      <a:pt x="99" y="17"/>
                      <a:pt x="101" y="20"/>
                    </a:cubicBezTo>
                    <a:cubicBezTo>
                      <a:pt x="102" y="23"/>
                      <a:pt x="107" y="22"/>
                      <a:pt x="112" y="26"/>
                    </a:cubicBezTo>
                    <a:cubicBezTo>
                      <a:pt x="118" y="31"/>
                      <a:pt x="121" y="33"/>
                      <a:pt x="124" y="33"/>
                    </a:cubicBezTo>
                    <a:cubicBezTo>
                      <a:pt x="125" y="33"/>
                      <a:pt x="130" y="37"/>
                      <a:pt x="128" y="39"/>
                    </a:cubicBezTo>
                    <a:cubicBezTo>
                      <a:pt x="125" y="43"/>
                      <a:pt x="128" y="43"/>
                      <a:pt x="125" y="45"/>
                    </a:cubicBezTo>
                    <a:cubicBezTo>
                      <a:pt x="122" y="46"/>
                      <a:pt x="125" y="48"/>
                      <a:pt x="124" y="51"/>
                    </a:cubicBezTo>
                    <a:cubicBezTo>
                      <a:pt x="122" y="54"/>
                      <a:pt x="119" y="54"/>
                      <a:pt x="121" y="56"/>
                    </a:cubicBezTo>
                    <a:cubicBezTo>
                      <a:pt x="121" y="59"/>
                      <a:pt x="121" y="57"/>
                      <a:pt x="125" y="57"/>
                    </a:cubicBezTo>
                    <a:cubicBezTo>
                      <a:pt x="131" y="57"/>
                      <a:pt x="134" y="62"/>
                      <a:pt x="139" y="59"/>
                    </a:cubicBezTo>
                    <a:cubicBezTo>
                      <a:pt x="142" y="54"/>
                      <a:pt x="144" y="62"/>
                      <a:pt x="145" y="57"/>
                    </a:cubicBezTo>
                    <a:cubicBezTo>
                      <a:pt x="145" y="53"/>
                      <a:pt x="150" y="53"/>
                      <a:pt x="151" y="48"/>
                    </a:cubicBezTo>
                    <a:cubicBezTo>
                      <a:pt x="151" y="43"/>
                      <a:pt x="153" y="45"/>
                      <a:pt x="151" y="39"/>
                    </a:cubicBezTo>
                    <a:cubicBezTo>
                      <a:pt x="154" y="40"/>
                      <a:pt x="156" y="34"/>
                      <a:pt x="159" y="42"/>
                    </a:cubicBezTo>
                    <a:cubicBezTo>
                      <a:pt x="160" y="48"/>
                      <a:pt x="160" y="54"/>
                      <a:pt x="156" y="57"/>
                    </a:cubicBezTo>
                    <a:cubicBezTo>
                      <a:pt x="151" y="60"/>
                      <a:pt x="145" y="64"/>
                      <a:pt x="140" y="71"/>
                    </a:cubicBezTo>
                    <a:cubicBezTo>
                      <a:pt x="134" y="79"/>
                      <a:pt x="134" y="82"/>
                      <a:pt x="133" y="82"/>
                    </a:cubicBezTo>
                    <a:cubicBezTo>
                      <a:pt x="130" y="84"/>
                      <a:pt x="130" y="85"/>
                      <a:pt x="128" y="87"/>
                    </a:cubicBezTo>
                    <a:close/>
                    <a:moveTo>
                      <a:pt x="42" y="366"/>
                    </a:moveTo>
                    <a:cubicBezTo>
                      <a:pt x="45" y="366"/>
                      <a:pt x="42" y="365"/>
                      <a:pt x="45" y="366"/>
                    </a:cubicBezTo>
                    <a:cubicBezTo>
                      <a:pt x="48" y="366"/>
                      <a:pt x="54" y="366"/>
                      <a:pt x="57" y="368"/>
                    </a:cubicBezTo>
                    <a:cubicBezTo>
                      <a:pt x="60" y="370"/>
                      <a:pt x="58" y="368"/>
                      <a:pt x="60" y="368"/>
                    </a:cubicBezTo>
                    <a:cubicBezTo>
                      <a:pt x="63" y="368"/>
                      <a:pt x="63" y="365"/>
                      <a:pt x="64" y="366"/>
                    </a:cubicBezTo>
                    <a:cubicBezTo>
                      <a:pt x="64" y="368"/>
                      <a:pt x="64" y="366"/>
                      <a:pt x="66" y="366"/>
                    </a:cubicBezTo>
                    <a:cubicBezTo>
                      <a:pt x="67" y="366"/>
                      <a:pt x="67" y="366"/>
                      <a:pt x="67" y="365"/>
                    </a:cubicBezTo>
                    <a:cubicBezTo>
                      <a:pt x="69" y="363"/>
                      <a:pt x="67" y="363"/>
                      <a:pt x="66" y="363"/>
                    </a:cubicBezTo>
                    <a:cubicBezTo>
                      <a:pt x="63" y="365"/>
                      <a:pt x="63" y="363"/>
                      <a:pt x="60" y="362"/>
                    </a:cubicBezTo>
                    <a:cubicBezTo>
                      <a:pt x="58" y="362"/>
                      <a:pt x="57" y="359"/>
                      <a:pt x="54" y="357"/>
                    </a:cubicBezTo>
                    <a:cubicBezTo>
                      <a:pt x="51" y="356"/>
                      <a:pt x="46" y="351"/>
                      <a:pt x="46" y="349"/>
                    </a:cubicBezTo>
                    <a:cubicBezTo>
                      <a:pt x="45" y="348"/>
                      <a:pt x="46" y="346"/>
                      <a:pt x="43" y="346"/>
                    </a:cubicBezTo>
                    <a:cubicBezTo>
                      <a:pt x="42" y="346"/>
                      <a:pt x="42" y="346"/>
                      <a:pt x="42" y="345"/>
                    </a:cubicBezTo>
                    <a:cubicBezTo>
                      <a:pt x="43" y="343"/>
                      <a:pt x="43" y="343"/>
                      <a:pt x="43" y="345"/>
                    </a:cubicBezTo>
                    <a:cubicBezTo>
                      <a:pt x="45" y="345"/>
                      <a:pt x="45" y="345"/>
                      <a:pt x="45" y="345"/>
                    </a:cubicBezTo>
                    <a:cubicBezTo>
                      <a:pt x="45" y="343"/>
                      <a:pt x="43" y="342"/>
                      <a:pt x="42" y="338"/>
                    </a:cubicBezTo>
                    <a:cubicBezTo>
                      <a:pt x="42" y="366"/>
                      <a:pt x="42" y="366"/>
                      <a:pt x="42" y="366"/>
                    </a:cubicBezTo>
                    <a:close/>
                    <a:moveTo>
                      <a:pt x="73" y="366"/>
                    </a:moveTo>
                    <a:cubicBezTo>
                      <a:pt x="75" y="365"/>
                      <a:pt x="75" y="366"/>
                      <a:pt x="77" y="366"/>
                    </a:cubicBezTo>
                    <a:cubicBezTo>
                      <a:pt x="78" y="365"/>
                      <a:pt x="77" y="366"/>
                      <a:pt x="78" y="365"/>
                    </a:cubicBezTo>
                    <a:cubicBezTo>
                      <a:pt x="80" y="365"/>
                      <a:pt x="80" y="363"/>
                      <a:pt x="78" y="365"/>
                    </a:cubicBezTo>
                    <a:cubicBezTo>
                      <a:pt x="77" y="365"/>
                      <a:pt x="77" y="363"/>
                      <a:pt x="73" y="365"/>
                    </a:cubicBezTo>
                    <a:cubicBezTo>
                      <a:pt x="73" y="365"/>
                      <a:pt x="70" y="365"/>
                      <a:pt x="72" y="366"/>
                    </a:cubicBezTo>
                    <a:cubicBezTo>
                      <a:pt x="73" y="366"/>
                      <a:pt x="73" y="366"/>
                      <a:pt x="73" y="366"/>
                    </a:cubicBezTo>
                    <a:close/>
                    <a:moveTo>
                      <a:pt x="48" y="371"/>
                    </a:moveTo>
                    <a:cubicBezTo>
                      <a:pt x="49" y="371"/>
                      <a:pt x="48" y="370"/>
                      <a:pt x="49" y="370"/>
                    </a:cubicBezTo>
                    <a:cubicBezTo>
                      <a:pt x="51" y="370"/>
                      <a:pt x="49" y="371"/>
                      <a:pt x="51" y="371"/>
                    </a:cubicBezTo>
                    <a:cubicBezTo>
                      <a:pt x="52" y="371"/>
                      <a:pt x="52" y="371"/>
                      <a:pt x="54" y="370"/>
                    </a:cubicBezTo>
                    <a:cubicBezTo>
                      <a:pt x="54" y="368"/>
                      <a:pt x="52" y="368"/>
                      <a:pt x="51" y="368"/>
                    </a:cubicBezTo>
                    <a:cubicBezTo>
                      <a:pt x="49" y="368"/>
                      <a:pt x="48" y="366"/>
                      <a:pt x="45" y="366"/>
                    </a:cubicBezTo>
                    <a:cubicBezTo>
                      <a:pt x="43" y="366"/>
                      <a:pt x="43" y="368"/>
                      <a:pt x="45" y="368"/>
                    </a:cubicBezTo>
                    <a:cubicBezTo>
                      <a:pt x="45" y="368"/>
                      <a:pt x="45" y="368"/>
                      <a:pt x="45" y="371"/>
                    </a:cubicBezTo>
                    <a:cubicBezTo>
                      <a:pt x="45" y="371"/>
                      <a:pt x="46" y="371"/>
                      <a:pt x="48" y="371"/>
                    </a:cubicBezTo>
                    <a:close/>
                    <a:moveTo>
                      <a:pt x="54" y="371"/>
                    </a:moveTo>
                    <a:cubicBezTo>
                      <a:pt x="54" y="371"/>
                      <a:pt x="55" y="370"/>
                      <a:pt x="55" y="371"/>
                    </a:cubicBezTo>
                    <a:cubicBezTo>
                      <a:pt x="55" y="373"/>
                      <a:pt x="54" y="373"/>
                      <a:pt x="54" y="371"/>
                    </a:cubicBezTo>
                    <a:close/>
                    <a:moveTo>
                      <a:pt x="57" y="371"/>
                    </a:moveTo>
                    <a:cubicBezTo>
                      <a:pt x="55" y="371"/>
                      <a:pt x="57" y="370"/>
                      <a:pt x="58" y="370"/>
                    </a:cubicBezTo>
                    <a:cubicBezTo>
                      <a:pt x="58" y="371"/>
                      <a:pt x="58" y="371"/>
                      <a:pt x="57" y="371"/>
                    </a:cubicBezTo>
                    <a:close/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40" name="Freeform 235"/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5597387" y="4910652"/>
                <a:ext cx="33920" cy="3158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9"/>
                  </a:cxn>
                  <a:cxn ang="0">
                    <a:pos x="2" y="3"/>
                  </a:cxn>
                  <a:cxn ang="0">
                    <a:pos x="3" y="1"/>
                  </a:cxn>
                  <a:cxn ang="0">
                    <a:pos x="3" y="6"/>
                  </a:cxn>
                  <a:cxn ang="0">
                    <a:pos x="8" y="4"/>
                  </a:cxn>
                  <a:cxn ang="0">
                    <a:pos x="8" y="7"/>
                  </a:cxn>
                  <a:cxn ang="0">
                    <a:pos x="14" y="6"/>
                  </a:cxn>
                  <a:cxn ang="0">
                    <a:pos x="12" y="9"/>
                  </a:cxn>
                  <a:cxn ang="0">
                    <a:pos x="9" y="10"/>
                  </a:cxn>
                  <a:cxn ang="0">
                    <a:pos x="12" y="14"/>
                  </a:cxn>
                  <a:cxn ang="0">
                    <a:pos x="3" y="12"/>
                  </a:cxn>
                  <a:cxn ang="0">
                    <a:pos x="2" y="14"/>
                  </a:cxn>
                </a:cxnLst>
                <a:rect l="0" t="0" r="r" b="b"/>
                <a:pathLst>
                  <a:path w="15" h="14">
                    <a:moveTo>
                      <a:pt x="2" y="14"/>
                    </a:moveTo>
                    <a:cubicBezTo>
                      <a:pt x="0" y="12"/>
                      <a:pt x="3" y="10"/>
                      <a:pt x="2" y="9"/>
                    </a:cubicBezTo>
                    <a:cubicBezTo>
                      <a:pt x="0" y="7"/>
                      <a:pt x="0" y="4"/>
                      <a:pt x="2" y="3"/>
                    </a:cubicBezTo>
                    <a:cubicBezTo>
                      <a:pt x="2" y="1"/>
                      <a:pt x="2" y="0"/>
                      <a:pt x="3" y="1"/>
                    </a:cubicBezTo>
                    <a:cubicBezTo>
                      <a:pt x="5" y="3"/>
                      <a:pt x="2" y="4"/>
                      <a:pt x="3" y="6"/>
                    </a:cubicBezTo>
                    <a:cubicBezTo>
                      <a:pt x="6" y="7"/>
                      <a:pt x="8" y="1"/>
                      <a:pt x="8" y="4"/>
                    </a:cubicBezTo>
                    <a:cubicBezTo>
                      <a:pt x="8" y="7"/>
                      <a:pt x="5" y="7"/>
                      <a:pt x="8" y="7"/>
                    </a:cubicBezTo>
                    <a:cubicBezTo>
                      <a:pt x="11" y="7"/>
                      <a:pt x="12" y="4"/>
                      <a:pt x="14" y="6"/>
                    </a:cubicBezTo>
                    <a:cubicBezTo>
                      <a:pt x="15" y="6"/>
                      <a:pt x="15" y="10"/>
                      <a:pt x="12" y="9"/>
                    </a:cubicBezTo>
                    <a:cubicBezTo>
                      <a:pt x="9" y="9"/>
                      <a:pt x="8" y="10"/>
                      <a:pt x="9" y="10"/>
                    </a:cubicBezTo>
                    <a:cubicBezTo>
                      <a:pt x="9" y="10"/>
                      <a:pt x="15" y="12"/>
                      <a:pt x="12" y="14"/>
                    </a:cubicBezTo>
                    <a:cubicBezTo>
                      <a:pt x="8" y="14"/>
                      <a:pt x="5" y="10"/>
                      <a:pt x="3" y="12"/>
                    </a:cubicBezTo>
                    <a:cubicBezTo>
                      <a:pt x="3" y="14"/>
                      <a:pt x="2" y="14"/>
                      <a:pt x="2" y="14"/>
                    </a:cubicBezTo>
                  </a:path>
                </a:pathLst>
              </a:custGeom>
              <a:solidFill>
                <a:schemeClr val="accent1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41" name="Freeform 236"/>
              <p:cNvSpPr>
                <a:spLocks noEditPoints="1"/>
              </p:cNvSpPr>
              <p:nvPr>
                <p:custDataLst>
                  <p:tags r:id="rId261"/>
                </p:custDataLst>
              </p:nvPr>
            </p:nvSpPr>
            <p:spPr bwMode="auto">
              <a:xfrm>
                <a:off x="6588087" y="2694189"/>
                <a:ext cx="397684" cy="523998"/>
              </a:xfrm>
              <a:custGeom>
                <a:avLst/>
                <a:gdLst/>
                <a:ahLst/>
                <a:cxnLst>
                  <a:cxn ang="0">
                    <a:pos x="53" y="168"/>
                  </a:cxn>
                  <a:cxn ang="0">
                    <a:pos x="39" y="142"/>
                  </a:cxn>
                  <a:cxn ang="0">
                    <a:pos x="49" y="146"/>
                  </a:cxn>
                  <a:cxn ang="0">
                    <a:pos x="102" y="123"/>
                  </a:cxn>
                  <a:cxn ang="0">
                    <a:pos x="111" y="122"/>
                  </a:cxn>
                  <a:cxn ang="0">
                    <a:pos x="122" y="118"/>
                  </a:cxn>
                  <a:cxn ang="0">
                    <a:pos x="128" y="112"/>
                  </a:cxn>
                  <a:cxn ang="0">
                    <a:pos x="134" y="107"/>
                  </a:cxn>
                  <a:cxn ang="0">
                    <a:pos x="142" y="75"/>
                  </a:cxn>
                  <a:cxn ang="0">
                    <a:pos x="137" y="47"/>
                  </a:cxn>
                  <a:cxn ang="0">
                    <a:pos x="134" y="53"/>
                  </a:cxn>
                  <a:cxn ang="0">
                    <a:pos x="126" y="64"/>
                  </a:cxn>
                  <a:cxn ang="0">
                    <a:pos x="107" y="98"/>
                  </a:cxn>
                  <a:cxn ang="0">
                    <a:pos x="102" y="95"/>
                  </a:cxn>
                  <a:cxn ang="0">
                    <a:pos x="90" y="109"/>
                  </a:cxn>
                  <a:cxn ang="0">
                    <a:pos x="61" y="123"/>
                  </a:cxn>
                  <a:cxn ang="0">
                    <a:pos x="67" y="125"/>
                  </a:cxn>
                  <a:cxn ang="0">
                    <a:pos x="87" y="122"/>
                  </a:cxn>
                  <a:cxn ang="0">
                    <a:pos x="90" y="131"/>
                  </a:cxn>
                  <a:cxn ang="0">
                    <a:pos x="52" y="140"/>
                  </a:cxn>
                  <a:cxn ang="0">
                    <a:pos x="52" y="154"/>
                  </a:cxn>
                  <a:cxn ang="0">
                    <a:pos x="58" y="156"/>
                  </a:cxn>
                  <a:cxn ang="0">
                    <a:pos x="62" y="137"/>
                  </a:cxn>
                  <a:cxn ang="0">
                    <a:pos x="53" y="131"/>
                  </a:cxn>
                  <a:cxn ang="0">
                    <a:pos x="46" y="137"/>
                  </a:cxn>
                  <a:cxn ang="0">
                    <a:pos x="52" y="143"/>
                  </a:cxn>
                  <a:cxn ang="0">
                    <a:pos x="82" y="136"/>
                  </a:cxn>
                  <a:cxn ang="0">
                    <a:pos x="79" y="126"/>
                  </a:cxn>
                  <a:cxn ang="0">
                    <a:pos x="70" y="131"/>
                  </a:cxn>
                  <a:cxn ang="0">
                    <a:pos x="71" y="142"/>
                  </a:cxn>
                  <a:cxn ang="0">
                    <a:pos x="117" y="86"/>
                  </a:cxn>
                  <a:cxn ang="0">
                    <a:pos x="137" y="44"/>
                  </a:cxn>
                  <a:cxn ang="0">
                    <a:pos x="152" y="40"/>
                  </a:cxn>
                  <a:cxn ang="0">
                    <a:pos x="175" y="25"/>
                  </a:cxn>
                  <a:cxn ang="0">
                    <a:pos x="164" y="19"/>
                  </a:cxn>
                  <a:cxn ang="0">
                    <a:pos x="142" y="6"/>
                  </a:cxn>
                  <a:cxn ang="0">
                    <a:pos x="135" y="28"/>
                  </a:cxn>
                  <a:cxn ang="0">
                    <a:pos x="129" y="48"/>
                  </a:cxn>
                  <a:cxn ang="0">
                    <a:pos x="90" y="123"/>
                  </a:cxn>
                  <a:cxn ang="0">
                    <a:pos x="76" y="103"/>
                  </a:cxn>
                  <a:cxn ang="0">
                    <a:pos x="35" y="206"/>
                  </a:cxn>
                  <a:cxn ang="0">
                    <a:pos x="32" y="210"/>
                  </a:cxn>
                  <a:cxn ang="0">
                    <a:pos x="41" y="195"/>
                  </a:cxn>
                  <a:cxn ang="0">
                    <a:pos x="44" y="190"/>
                  </a:cxn>
                  <a:cxn ang="0">
                    <a:pos x="0" y="229"/>
                  </a:cxn>
                  <a:cxn ang="0">
                    <a:pos x="3" y="229"/>
                  </a:cxn>
                  <a:cxn ang="0">
                    <a:pos x="12" y="226"/>
                  </a:cxn>
                </a:cxnLst>
                <a:rect l="0" t="0" r="r" b="b"/>
                <a:pathLst>
                  <a:path w="175" h="231">
                    <a:moveTo>
                      <a:pt x="53" y="168"/>
                    </a:moveTo>
                    <a:cubicBezTo>
                      <a:pt x="52" y="168"/>
                      <a:pt x="53" y="165"/>
                      <a:pt x="53" y="167"/>
                    </a:cubicBezTo>
                    <a:cubicBezTo>
                      <a:pt x="55" y="167"/>
                      <a:pt x="55" y="168"/>
                      <a:pt x="53" y="168"/>
                    </a:cubicBezTo>
                    <a:close/>
                    <a:moveTo>
                      <a:pt x="39" y="142"/>
                    </a:moveTo>
                    <a:cubicBezTo>
                      <a:pt x="41" y="142"/>
                      <a:pt x="41" y="143"/>
                      <a:pt x="39" y="143"/>
                    </a:cubicBezTo>
                    <a:cubicBezTo>
                      <a:pt x="38" y="143"/>
                      <a:pt x="39" y="142"/>
                      <a:pt x="39" y="142"/>
                    </a:cubicBezTo>
                    <a:close/>
                    <a:moveTo>
                      <a:pt x="49" y="146"/>
                    </a:moveTo>
                    <a:cubicBezTo>
                      <a:pt x="49" y="145"/>
                      <a:pt x="52" y="143"/>
                      <a:pt x="52" y="145"/>
                    </a:cubicBezTo>
                    <a:cubicBezTo>
                      <a:pt x="52" y="146"/>
                      <a:pt x="50" y="148"/>
                      <a:pt x="49" y="146"/>
                    </a:cubicBezTo>
                    <a:close/>
                    <a:moveTo>
                      <a:pt x="93" y="134"/>
                    </a:moveTo>
                    <a:cubicBezTo>
                      <a:pt x="96" y="137"/>
                      <a:pt x="97" y="131"/>
                      <a:pt x="99" y="128"/>
                    </a:cubicBezTo>
                    <a:cubicBezTo>
                      <a:pt x="102" y="125"/>
                      <a:pt x="107" y="126"/>
                      <a:pt x="102" y="123"/>
                    </a:cubicBezTo>
                    <a:cubicBezTo>
                      <a:pt x="99" y="122"/>
                      <a:pt x="103" y="115"/>
                      <a:pt x="103" y="118"/>
                    </a:cubicBezTo>
                    <a:cubicBezTo>
                      <a:pt x="103" y="123"/>
                      <a:pt x="108" y="118"/>
                      <a:pt x="105" y="122"/>
                    </a:cubicBezTo>
                    <a:cubicBezTo>
                      <a:pt x="103" y="125"/>
                      <a:pt x="108" y="122"/>
                      <a:pt x="111" y="122"/>
                    </a:cubicBezTo>
                    <a:cubicBezTo>
                      <a:pt x="114" y="123"/>
                      <a:pt x="113" y="123"/>
                      <a:pt x="116" y="120"/>
                    </a:cubicBezTo>
                    <a:cubicBezTo>
                      <a:pt x="117" y="117"/>
                      <a:pt x="119" y="115"/>
                      <a:pt x="119" y="120"/>
                    </a:cubicBezTo>
                    <a:cubicBezTo>
                      <a:pt x="117" y="125"/>
                      <a:pt x="120" y="123"/>
                      <a:pt x="122" y="118"/>
                    </a:cubicBezTo>
                    <a:cubicBezTo>
                      <a:pt x="122" y="115"/>
                      <a:pt x="122" y="114"/>
                      <a:pt x="125" y="115"/>
                    </a:cubicBezTo>
                    <a:cubicBezTo>
                      <a:pt x="126" y="118"/>
                      <a:pt x="125" y="115"/>
                      <a:pt x="126" y="112"/>
                    </a:cubicBezTo>
                    <a:cubicBezTo>
                      <a:pt x="128" y="111"/>
                      <a:pt x="129" y="111"/>
                      <a:pt x="128" y="112"/>
                    </a:cubicBezTo>
                    <a:cubicBezTo>
                      <a:pt x="128" y="115"/>
                      <a:pt x="126" y="122"/>
                      <a:pt x="128" y="118"/>
                    </a:cubicBezTo>
                    <a:cubicBezTo>
                      <a:pt x="129" y="115"/>
                      <a:pt x="131" y="118"/>
                      <a:pt x="132" y="114"/>
                    </a:cubicBezTo>
                    <a:cubicBezTo>
                      <a:pt x="132" y="107"/>
                      <a:pt x="139" y="115"/>
                      <a:pt x="134" y="107"/>
                    </a:cubicBezTo>
                    <a:cubicBezTo>
                      <a:pt x="129" y="101"/>
                      <a:pt x="139" y="97"/>
                      <a:pt x="135" y="89"/>
                    </a:cubicBezTo>
                    <a:cubicBezTo>
                      <a:pt x="135" y="84"/>
                      <a:pt x="137" y="79"/>
                      <a:pt x="140" y="83"/>
                    </a:cubicBezTo>
                    <a:cubicBezTo>
                      <a:pt x="143" y="84"/>
                      <a:pt x="139" y="79"/>
                      <a:pt x="142" y="75"/>
                    </a:cubicBezTo>
                    <a:cubicBezTo>
                      <a:pt x="145" y="70"/>
                      <a:pt x="146" y="64"/>
                      <a:pt x="142" y="61"/>
                    </a:cubicBezTo>
                    <a:cubicBezTo>
                      <a:pt x="139" y="56"/>
                      <a:pt x="139" y="51"/>
                      <a:pt x="140" y="50"/>
                    </a:cubicBezTo>
                    <a:cubicBezTo>
                      <a:pt x="140" y="47"/>
                      <a:pt x="139" y="48"/>
                      <a:pt x="137" y="47"/>
                    </a:cubicBezTo>
                    <a:cubicBezTo>
                      <a:pt x="135" y="45"/>
                      <a:pt x="134" y="51"/>
                      <a:pt x="137" y="50"/>
                    </a:cubicBezTo>
                    <a:cubicBezTo>
                      <a:pt x="140" y="48"/>
                      <a:pt x="139" y="54"/>
                      <a:pt x="137" y="53"/>
                    </a:cubicBezTo>
                    <a:cubicBezTo>
                      <a:pt x="135" y="51"/>
                      <a:pt x="134" y="56"/>
                      <a:pt x="134" y="53"/>
                    </a:cubicBezTo>
                    <a:cubicBezTo>
                      <a:pt x="134" y="48"/>
                      <a:pt x="131" y="48"/>
                      <a:pt x="131" y="53"/>
                    </a:cubicBezTo>
                    <a:cubicBezTo>
                      <a:pt x="131" y="58"/>
                      <a:pt x="126" y="53"/>
                      <a:pt x="128" y="58"/>
                    </a:cubicBezTo>
                    <a:cubicBezTo>
                      <a:pt x="129" y="64"/>
                      <a:pt x="126" y="62"/>
                      <a:pt x="126" y="64"/>
                    </a:cubicBezTo>
                    <a:cubicBezTo>
                      <a:pt x="126" y="65"/>
                      <a:pt x="131" y="62"/>
                      <a:pt x="126" y="75"/>
                    </a:cubicBezTo>
                    <a:cubicBezTo>
                      <a:pt x="125" y="84"/>
                      <a:pt x="122" y="84"/>
                      <a:pt x="119" y="90"/>
                    </a:cubicBezTo>
                    <a:cubicBezTo>
                      <a:pt x="114" y="97"/>
                      <a:pt x="111" y="95"/>
                      <a:pt x="107" y="98"/>
                    </a:cubicBezTo>
                    <a:cubicBezTo>
                      <a:pt x="103" y="101"/>
                      <a:pt x="107" y="97"/>
                      <a:pt x="105" y="95"/>
                    </a:cubicBezTo>
                    <a:cubicBezTo>
                      <a:pt x="103" y="95"/>
                      <a:pt x="110" y="94"/>
                      <a:pt x="108" y="90"/>
                    </a:cubicBezTo>
                    <a:cubicBezTo>
                      <a:pt x="107" y="89"/>
                      <a:pt x="102" y="92"/>
                      <a:pt x="102" y="95"/>
                    </a:cubicBezTo>
                    <a:cubicBezTo>
                      <a:pt x="103" y="100"/>
                      <a:pt x="96" y="106"/>
                      <a:pt x="96" y="107"/>
                    </a:cubicBezTo>
                    <a:cubicBezTo>
                      <a:pt x="97" y="109"/>
                      <a:pt x="97" y="112"/>
                      <a:pt x="93" y="112"/>
                    </a:cubicBezTo>
                    <a:cubicBezTo>
                      <a:pt x="88" y="114"/>
                      <a:pt x="93" y="111"/>
                      <a:pt x="90" y="109"/>
                    </a:cubicBezTo>
                    <a:cubicBezTo>
                      <a:pt x="88" y="109"/>
                      <a:pt x="76" y="115"/>
                      <a:pt x="75" y="112"/>
                    </a:cubicBezTo>
                    <a:cubicBezTo>
                      <a:pt x="73" y="109"/>
                      <a:pt x="71" y="112"/>
                      <a:pt x="67" y="117"/>
                    </a:cubicBezTo>
                    <a:cubicBezTo>
                      <a:pt x="62" y="123"/>
                      <a:pt x="62" y="118"/>
                      <a:pt x="61" y="123"/>
                    </a:cubicBezTo>
                    <a:cubicBezTo>
                      <a:pt x="59" y="126"/>
                      <a:pt x="56" y="123"/>
                      <a:pt x="56" y="126"/>
                    </a:cubicBezTo>
                    <a:cubicBezTo>
                      <a:pt x="56" y="131"/>
                      <a:pt x="61" y="128"/>
                      <a:pt x="64" y="129"/>
                    </a:cubicBezTo>
                    <a:cubicBezTo>
                      <a:pt x="68" y="131"/>
                      <a:pt x="65" y="126"/>
                      <a:pt x="67" y="125"/>
                    </a:cubicBezTo>
                    <a:cubicBezTo>
                      <a:pt x="70" y="125"/>
                      <a:pt x="68" y="126"/>
                      <a:pt x="71" y="126"/>
                    </a:cubicBezTo>
                    <a:cubicBezTo>
                      <a:pt x="75" y="125"/>
                      <a:pt x="78" y="125"/>
                      <a:pt x="81" y="123"/>
                    </a:cubicBezTo>
                    <a:cubicBezTo>
                      <a:pt x="85" y="122"/>
                      <a:pt x="81" y="120"/>
                      <a:pt x="87" y="122"/>
                    </a:cubicBezTo>
                    <a:cubicBezTo>
                      <a:pt x="91" y="123"/>
                      <a:pt x="91" y="120"/>
                      <a:pt x="93" y="122"/>
                    </a:cubicBezTo>
                    <a:cubicBezTo>
                      <a:pt x="93" y="125"/>
                      <a:pt x="90" y="125"/>
                      <a:pt x="90" y="126"/>
                    </a:cubicBezTo>
                    <a:cubicBezTo>
                      <a:pt x="90" y="128"/>
                      <a:pt x="88" y="129"/>
                      <a:pt x="90" y="131"/>
                    </a:cubicBezTo>
                    <a:cubicBezTo>
                      <a:pt x="93" y="132"/>
                      <a:pt x="90" y="132"/>
                      <a:pt x="94" y="134"/>
                    </a:cubicBezTo>
                    <a:cubicBezTo>
                      <a:pt x="93" y="134"/>
                      <a:pt x="93" y="134"/>
                      <a:pt x="93" y="134"/>
                    </a:cubicBezTo>
                    <a:close/>
                    <a:moveTo>
                      <a:pt x="52" y="140"/>
                    </a:moveTo>
                    <a:cubicBezTo>
                      <a:pt x="50" y="140"/>
                      <a:pt x="50" y="136"/>
                      <a:pt x="52" y="139"/>
                    </a:cubicBezTo>
                    <a:cubicBezTo>
                      <a:pt x="53" y="142"/>
                      <a:pt x="55" y="145"/>
                      <a:pt x="52" y="148"/>
                    </a:cubicBezTo>
                    <a:cubicBezTo>
                      <a:pt x="50" y="151"/>
                      <a:pt x="50" y="150"/>
                      <a:pt x="52" y="154"/>
                    </a:cubicBezTo>
                    <a:cubicBezTo>
                      <a:pt x="52" y="157"/>
                      <a:pt x="49" y="156"/>
                      <a:pt x="53" y="157"/>
                    </a:cubicBezTo>
                    <a:cubicBezTo>
                      <a:pt x="56" y="159"/>
                      <a:pt x="53" y="162"/>
                      <a:pt x="56" y="159"/>
                    </a:cubicBezTo>
                    <a:cubicBezTo>
                      <a:pt x="59" y="157"/>
                      <a:pt x="56" y="157"/>
                      <a:pt x="58" y="156"/>
                    </a:cubicBezTo>
                    <a:cubicBezTo>
                      <a:pt x="59" y="154"/>
                      <a:pt x="58" y="157"/>
                      <a:pt x="59" y="156"/>
                    </a:cubicBezTo>
                    <a:cubicBezTo>
                      <a:pt x="61" y="156"/>
                      <a:pt x="61" y="142"/>
                      <a:pt x="64" y="142"/>
                    </a:cubicBezTo>
                    <a:cubicBezTo>
                      <a:pt x="67" y="140"/>
                      <a:pt x="65" y="137"/>
                      <a:pt x="62" y="137"/>
                    </a:cubicBezTo>
                    <a:cubicBezTo>
                      <a:pt x="59" y="137"/>
                      <a:pt x="64" y="134"/>
                      <a:pt x="62" y="132"/>
                    </a:cubicBezTo>
                    <a:cubicBezTo>
                      <a:pt x="61" y="131"/>
                      <a:pt x="58" y="136"/>
                      <a:pt x="58" y="131"/>
                    </a:cubicBezTo>
                    <a:cubicBezTo>
                      <a:pt x="56" y="129"/>
                      <a:pt x="53" y="128"/>
                      <a:pt x="53" y="131"/>
                    </a:cubicBezTo>
                    <a:cubicBezTo>
                      <a:pt x="52" y="134"/>
                      <a:pt x="52" y="131"/>
                      <a:pt x="50" y="134"/>
                    </a:cubicBezTo>
                    <a:cubicBezTo>
                      <a:pt x="49" y="137"/>
                      <a:pt x="49" y="131"/>
                      <a:pt x="47" y="134"/>
                    </a:cubicBezTo>
                    <a:cubicBezTo>
                      <a:pt x="47" y="137"/>
                      <a:pt x="44" y="134"/>
                      <a:pt x="46" y="137"/>
                    </a:cubicBezTo>
                    <a:cubicBezTo>
                      <a:pt x="47" y="140"/>
                      <a:pt x="46" y="139"/>
                      <a:pt x="47" y="140"/>
                    </a:cubicBezTo>
                    <a:cubicBezTo>
                      <a:pt x="49" y="143"/>
                      <a:pt x="46" y="145"/>
                      <a:pt x="49" y="143"/>
                    </a:cubicBezTo>
                    <a:cubicBezTo>
                      <a:pt x="52" y="140"/>
                      <a:pt x="49" y="145"/>
                      <a:pt x="52" y="143"/>
                    </a:cubicBezTo>
                    <a:cubicBezTo>
                      <a:pt x="53" y="142"/>
                      <a:pt x="53" y="142"/>
                      <a:pt x="52" y="140"/>
                    </a:cubicBezTo>
                    <a:close/>
                    <a:moveTo>
                      <a:pt x="78" y="134"/>
                    </a:moveTo>
                    <a:cubicBezTo>
                      <a:pt x="81" y="132"/>
                      <a:pt x="82" y="139"/>
                      <a:pt x="82" y="136"/>
                    </a:cubicBezTo>
                    <a:cubicBezTo>
                      <a:pt x="84" y="131"/>
                      <a:pt x="87" y="132"/>
                      <a:pt x="87" y="129"/>
                    </a:cubicBezTo>
                    <a:cubicBezTo>
                      <a:pt x="85" y="128"/>
                      <a:pt x="87" y="128"/>
                      <a:pt x="85" y="126"/>
                    </a:cubicBezTo>
                    <a:cubicBezTo>
                      <a:pt x="84" y="125"/>
                      <a:pt x="82" y="125"/>
                      <a:pt x="79" y="126"/>
                    </a:cubicBezTo>
                    <a:cubicBezTo>
                      <a:pt x="76" y="128"/>
                      <a:pt x="78" y="129"/>
                      <a:pt x="76" y="129"/>
                    </a:cubicBezTo>
                    <a:cubicBezTo>
                      <a:pt x="75" y="128"/>
                      <a:pt x="73" y="131"/>
                      <a:pt x="73" y="129"/>
                    </a:cubicBezTo>
                    <a:cubicBezTo>
                      <a:pt x="73" y="126"/>
                      <a:pt x="73" y="126"/>
                      <a:pt x="70" y="131"/>
                    </a:cubicBezTo>
                    <a:cubicBezTo>
                      <a:pt x="68" y="134"/>
                      <a:pt x="64" y="136"/>
                      <a:pt x="67" y="136"/>
                    </a:cubicBezTo>
                    <a:cubicBezTo>
                      <a:pt x="70" y="136"/>
                      <a:pt x="67" y="137"/>
                      <a:pt x="70" y="140"/>
                    </a:cubicBezTo>
                    <a:cubicBezTo>
                      <a:pt x="71" y="142"/>
                      <a:pt x="67" y="142"/>
                      <a:pt x="71" y="142"/>
                    </a:cubicBezTo>
                    <a:cubicBezTo>
                      <a:pt x="75" y="143"/>
                      <a:pt x="73" y="136"/>
                      <a:pt x="78" y="134"/>
                    </a:cubicBezTo>
                    <a:close/>
                    <a:moveTo>
                      <a:pt x="116" y="84"/>
                    </a:moveTo>
                    <a:cubicBezTo>
                      <a:pt x="117" y="81"/>
                      <a:pt x="117" y="84"/>
                      <a:pt x="117" y="86"/>
                    </a:cubicBezTo>
                    <a:cubicBezTo>
                      <a:pt x="116" y="87"/>
                      <a:pt x="114" y="86"/>
                      <a:pt x="116" y="84"/>
                    </a:cubicBezTo>
                    <a:close/>
                    <a:moveTo>
                      <a:pt x="132" y="45"/>
                    </a:moveTo>
                    <a:cubicBezTo>
                      <a:pt x="134" y="40"/>
                      <a:pt x="134" y="45"/>
                      <a:pt x="137" y="44"/>
                    </a:cubicBezTo>
                    <a:cubicBezTo>
                      <a:pt x="142" y="42"/>
                      <a:pt x="129" y="40"/>
                      <a:pt x="131" y="36"/>
                    </a:cubicBezTo>
                    <a:cubicBezTo>
                      <a:pt x="134" y="31"/>
                      <a:pt x="134" y="39"/>
                      <a:pt x="139" y="36"/>
                    </a:cubicBezTo>
                    <a:cubicBezTo>
                      <a:pt x="142" y="33"/>
                      <a:pt x="143" y="34"/>
                      <a:pt x="152" y="40"/>
                    </a:cubicBezTo>
                    <a:cubicBezTo>
                      <a:pt x="157" y="44"/>
                      <a:pt x="155" y="33"/>
                      <a:pt x="160" y="31"/>
                    </a:cubicBezTo>
                    <a:cubicBezTo>
                      <a:pt x="163" y="30"/>
                      <a:pt x="166" y="31"/>
                      <a:pt x="169" y="30"/>
                    </a:cubicBezTo>
                    <a:cubicBezTo>
                      <a:pt x="174" y="26"/>
                      <a:pt x="175" y="26"/>
                      <a:pt x="175" y="25"/>
                    </a:cubicBezTo>
                    <a:cubicBezTo>
                      <a:pt x="174" y="23"/>
                      <a:pt x="172" y="28"/>
                      <a:pt x="169" y="23"/>
                    </a:cubicBezTo>
                    <a:cubicBezTo>
                      <a:pt x="168" y="19"/>
                      <a:pt x="172" y="14"/>
                      <a:pt x="171" y="14"/>
                    </a:cubicBezTo>
                    <a:cubicBezTo>
                      <a:pt x="169" y="16"/>
                      <a:pt x="168" y="20"/>
                      <a:pt x="164" y="19"/>
                    </a:cubicBezTo>
                    <a:cubicBezTo>
                      <a:pt x="161" y="19"/>
                      <a:pt x="164" y="17"/>
                      <a:pt x="160" y="17"/>
                    </a:cubicBezTo>
                    <a:cubicBezTo>
                      <a:pt x="155" y="16"/>
                      <a:pt x="149" y="8"/>
                      <a:pt x="146" y="5"/>
                    </a:cubicBezTo>
                    <a:cubicBezTo>
                      <a:pt x="143" y="0"/>
                      <a:pt x="139" y="2"/>
                      <a:pt x="142" y="6"/>
                    </a:cubicBezTo>
                    <a:cubicBezTo>
                      <a:pt x="145" y="12"/>
                      <a:pt x="140" y="12"/>
                      <a:pt x="142" y="16"/>
                    </a:cubicBezTo>
                    <a:cubicBezTo>
                      <a:pt x="143" y="19"/>
                      <a:pt x="139" y="20"/>
                      <a:pt x="139" y="23"/>
                    </a:cubicBezTo>
                    <a:cubicBezTo>
                      <a:pt x="140" y="25"/>
                      <a:pt x="140" y="30"/>
                      <a:pt x="135" y="28"/>
                    </a:cubicBezTo>
                    <a:cubicBezTo>
                      <a:pt x="132" y="25"/>
                      <a:pt x="129" y="25"/>
                      <a:pt x="132" y="28"/>
                    </a:cubicBezTo>
                    <a:cubicBezTo>
                      <a:pt x="134" y="31"/>
                      <a:pt x="123" y="36"/>
                      <a:pt x="128" y="39"/>
                    </a:cubicBezTo>
                    <a:cubicBezTo>
                      <a:pt x="132" y="42"/>
                      <a:pt x="126" y="45"/>
                      <a:pt x="129" y="48"/>
                    </a:cubicBezTo>
                    <a:cubicBezTo>
                      <a:pt x="129" y="48"/>
                      <a:pt x="129" y="50"/>
                      <a:pt x="132" y="45"/>
                    </a:cubicBezTo>
                    <a:close/>
                    <a:moveTo>
                      <a:pt x="87" y="126"/>
                    </a:moveTo>
                    <a:cubicBezTo>
                      <a:pt x="87" y="125"/>
                      <a:pt x="90" y="122"/>
                      <a:pt x="90" y="123"/>
                    </a:cubicBezTo>
                    <a:cubicBezTo>
                      <a:pt x="90" y="125"/>
                      <a:pt x="88" y="128"/>
                      <a:pt x="87" y="126"/>
                    </a:cubicBezTo>
                    <a:close/>
                    <a:moveTo>
                      <a:pt x="76" y="106"/>
                    </a:moveTo>
                    <a:cubicBezTo>
                      <a:pt x="76" y="103"/>
                      <a:pt x="76" y="103"/>
                      <a:pt x="76" y="103"/>
                    </a:cubicBezTo>
                    <a:cubicBezTo>
                      <a:pt x="75" y="104"/>
                      <a:pt x="75" y="106"/>
                      <a:pt x="76" y="106"/>
                    </a:cubicBezTo>
                    <a:close/>
                    <a:moveTo>
                      <a:pt x="32" y="210"/>
                    </a:moveTo>
                    <a:cubicBezTo>
                      <a:pt x="32" y="209"/>
                      <a:pt x="32" y="209"/>
                      <a:pt x="35" y="206"/>
                    </a:cubicBezTo>
                    <a:cubicBezTo>
                      <a:pt x="38" y="204"/>
                      <a:pt x="36" y="203"/>
                      <a:pt x="35" y="204"/>
                    </a:cubicBezTo>
                    <a:cubicBezTo>
                      <a:pt x="33" y="207"/>
                      <a:pt x="32" y="207"/>
                      <a:pt x="30" y="210"/>
                    </a:cubicBezTo>
                    <a:cubicBezTo>
                      <a:pt x="30" y="212"/>
                      <a:pt x="32" y="212"/>
                      <a:pt x="32" y="210"/>
                    </a:cubicBezTo>
                    <a:close/>
                    <a:moveTo>
                      <a:pt x="41" y="195"/>
                    </a:moveTo>
                    <a:cubicBezTo>
                      <a:pt x="39" y="193"/>
                      <a:pt x="41" y="192"/>
                      <a:pt x="41" y="193"/>
                    </a:cubicBezTo>
                    <a:cubicBezTo>
                      <a:pt x="43" y="195"/>
                      <a:pt x="41" y="196"/>
                      <a:pt x="41" y="195"/>
                    </a:cubicBezTo>
                    <a:close/>
                    <a:moveTo>
                      <a:pt x="44" y="190"/>
                    </a:moveTo>
                    <a:cubicBezTo>
                      <a:pt x="44" y="187"/>
                      <a:pt x="47" y="185"/>
                      <a:pt x="47" y="187"/>
                    </a:cubicBezTo>
                    <a:cubicBezTo>
                      <a:pt x="47" y="187"/>
                      <a:pt x="44" y="192"/>
                      <a:pt x="44" y="190"/>
                    </a:cubicBezTo>
                    <a:close/>
                    <a:moveTo>
                      <a:pt x="0" y="229"/>
                    </a:moveTo>
                    <a:cubicBezTo>
                      <a:pt x="0" y="228"/>
                      <a:pt x="1" y="229"/>
                      <a:pt x="1" y="231"/>
                    </a:cubicBezTo>
                    <a:cubicBezTo>
                      <a:pt x="1" y="231"/>
                      <a:pt x="0" y="231"/>
                      <a:pt x="0" y="229"/>
                    </a:cubicBezTo>
                    <a:close/>
                    <a:moveTo>
                      <a:pt x="3" y="229"/>
                    </a:moveTo>
                    <a:cubicBezTo>
                      <a:pt x="1" y="229"/>
                      <a:pt x="4" y="226"/>
                      <a:pt x="4" y="228"/>
                    </a:cubicBezTo>
                    <a:cubicBezTo>
                      <a:pt x="4" y="229"/>
                      <a:pt x="4" y="231"/>
                      <a:pt x="3" y="229"/>
                    </a:cubicBezTo>
                    <a:close/>
                    <a:moveTo>
                      <a:pt x="12" y="226"/>
                    </a:moveTo>
                    <a:cubicBezTo>
                      <a:pt x="11" y="224"/>
                      <a:pt x="12" y="224"/>
                      <a:pt x="14" y="224"/>
                    </a:cubicBezTo>
                    <a:cubicBezTo>
                      <a:pt x="14" y="226"/>
                      <a:pt x="12" y="226"/>
                      <a:pt x="12" y="226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42" name="Freeform 237"/>
              <p:cNvSpPr>
                <a:spLocks noEditPoints="1"/>
              </p:cNvSpPr>
              <p:nvPr>
                <p:custDataLst>
                  <p:tags r:id="rId262"/>
                </p:custDataLst>
              </p:nvPr>
            </p:nvSpPr>
            <p:spPr bwMode="auto">
              <a:xfrm>
                <a:off x="4711955" y="1554962"/>
                <a:ext cx="3083221" cy="1255021"/>
              </a:xfrm>
              <a:custGeom>
                <a:avLst/>
                <a:gdLst/>
                <a:ahLst/>
                <a:cxnLst>
                  <a:cxn ang="0">
                    <a:pos x="404" y="136"/>
                  </a:cxn>
                  <a:cxn ang="0">
                    <a:pos x="273" y="177"/>
                  </a:cxn>
                  <a:cxn ang="0">
                    <a:pos x="361" y="90"/>
                  </a:cxn>
                  <a:cxn ang="0">
                    <a:pos x="278" y="138"/>
                  </a:cxn>
                  <a:cxn ang="0">
                    <a:pos x="227" y="31"/>
                  </a:cxn>
                  <a:cxn ang="0">
                    <a:pos x="217" y="29"/>
                  </a:cxn>
                  <a:cxn ang="0">
                    <a:pos x="343" y="18"/>
                  </a:cxn>
                  <a:cxn ang="0">
                    <a:pos x="328" y="25"/>
                  </a:cxn>
                  <a:cxn ang="0">
                    <a:pos x="297" y="32"/>
                  </a:cxn>
                  <a:cxn ang="0">
                    <a:pos x="314" y="31"/>
                  </a:cxn>
                  <a:cxn ang="0">
                    <a:pos x="285" y="12"/>
                  </a:cxn>
                  <a:cxn ang="0">
                    <a:pos x="291" y="14"/>
                  </a:cxn>
                  <a:cxn ang="0">
                    <a:pos x="288" y="20"/>
                  </a:cxn>
                  <a:cxn ang="0">
                    <a:pos x="276" y="23"/>
                  </a:cxn>
                  <a:cxn ang="0">
                    <a:pos x="1351" y="247"/>
                  </a:cxn>
                  <a:cxn ang="0">
                    <a:pos x="1184" y="200"/>
                  </a:cxn>
                  <a:cxn ang="0">
                    <a:pos x="902" y="164"/>
                  </a:cxn>
                  <a:cxn ang="0">
                    <a:pos x="734" y="116"/>
                  </a:cxn>
                  <a:cxn ang="0">
                    <a:pos x="570" y="104"/>
                  </a:cxn>
                  <a:cxn ang="0">
                    <a:pos x="474" y="154"/>
                  </a:cxn>
                  <a:cxn ang="0">
                    <a:pos x="457" y="217"/>
                  </a:cxn>
                  <a:cxn ang="0">
                    <a:pos x="381" y="169"/>
                  </a:cxn>
                  <a:cxn ang="0">
                    <a:pos x="214" y="233"/>
                  </a:cxn>
                  <a:cxn ang="0">
                    <a:pos x="144" y="275"/>
                  </a:cxn>
                  <a:cxn ang="0">
                    <a:pos x="90" y="191"/>
                  </a:cxn>
                  <a:cxn ang="0">
                    <a:pos x="84" y="250"/>
                  </a:cxn>
                  <a:cxn ang="0">
                    <a:pos x="80" y="306"/>
                  </a:cxn>
                  <a:cxn ang="0">
                    <a:pos x="67" y="332"/>
                  </a:cxn>
                  <a:cxn ang="0">
                    <a:pos x="87" y="380"/>
                  </a:cxn>
                  <a:cxn ang="0">
                    <a:pos x="109" y="422"/>
                  </a:cxn>
                  <a:cxn ang="0">
                    <a:pos x="163" y="455"/>
                  </a:cxn>
                  <a:cxn ang="0">
                    <a:pos x="148" y="492"/>
                  </a:cxn>
                  <a:cxn ang="0">
                    <a:pos x="172" y="528"/>
                  </a:cxn>
                  <a:cxn ang="0">
                    <a:pos x="220" y="548"/>
                  </a:cxn>
                  <a:cxn ang="0">
                    <a:pos x="217" y="469"/>
                  </a:cxn>
                  <a:cxn ang="0">
                    <a:pos x="329" y="432"/>
                  </a:cxn>
                  <a:cxn ang="0">
                    <a:pos x="472" y="425"/>
                  </a:cxn>
                  <a:cxn ang="0">
                    <a:pos x="623" y="433"/>
                  </a:cxn>
                  <a:cxn ang="0">
                    <a:pos x="798" y="419"/>
                  </a:cxn>
                  <a:cxn ang="0">
                    <a:pos x="899" y="508"/>
                  </a:cxn>
                  <a:cxn ang="0">
                    <a:pos x="900" y="534"/>
                  </a:cxn>
                  <a:cxn ang="0">
                    <a:pos x="957" y="401"/>
                  </a:cxn>
                  <a:cxn ang="0">
                    <a:pos x="1013" y="334"/>
                  </a:cxn>
                  <a:cxn ang="0">
                    <a:pos x="1121" y="329"/>
                  </a:cxn>
                  <a:cxn ang="0">
                    <a:pos x="1146" y="326"/>
                  </a:cxn>
                  <a:cxn ang="0">
                    <a:pos x="1273" y="256"/>
                  </a:cxn>
                  <a:cxn ang="0">
                    <a:pos x="978" y="489"/>
                  </a:cxn>
                  <a:cxn ang="0">
                    <a:pos x="984" y="441"/>
                  </a:cxn>
                  <a:cxn ang="0">
                    <a:pos x="975" y="407"/>
                  </a:cxn>
                  <a:cxn ang="0">
                    <a:pos x="1025" y="503"/>
                  </a:cxn>
                  <a:cxn ang="0">
                    <a:pos x="1066" y="464"/>
                  </a:cxn>
                  <a:cxn ang="0">
                    <a:pos x="1080" y="446"/>
                  </a:cxn>
                  <a:cxn ang="0">
                    <a:pos x="25" y="390"/>
                  </a:cxn>
                  <a:cxn ang="0">
                    <a:pos x="937" y="393"/>
                  </a:cxn>
                  <a:cxn ang="0">
                    <a:pos x="1274" y="175"/>
                  </a:cxn>
                  <a:cxn ang="0">
                    <a:pos x="1018" y="107"/>
                  </a:cxn>
                  <a:cxn ang="0">
                    <a:pos x="946" y="118"/>
                  </a:cxn>
                  <a:cxn ang="0">
                    <a:pos x="870" y="149"/>
                  </a:cxn>
                  <a:cxn ang="0">
                    <a:pos x="739" y="121"/>
                  </a:cxn>
                  <a:cxn ang="0">
                    <a:pos x="638" y="35"/>
                  </a:cxn>
                  <a:cxn ang="0">
                    <a:pos x="600" y="29"/>
                  </a:cxn>
                  <a:cxn ang="0">
                    <a:pos x="571" y="14"/>
                  </a:cxn>
                </a:cxnLst>
                <a:rect l="0" t="0" r="r" b="b"/>
                <a:pathLst>
                  <a:path w="1359" h="553">
                    <a:moveTo>
                      <a:pt x="314" y="189"/>
                    </a:moveTo>
                    <a:cubicBezTo>
                      <a:pt x="314" y="189"/>
                      <a:pt x="319" y="189"/>
                      <a:pt x="317" y="192"/>
                    </a:cubicBezTo>
                    <a:cubicBezTo>
                      <a:pt x="317" y="194"/>
                      <a:pt x="325" y="192"/>
                      <a:pt x="325" y="191"/>
                    </a:cubicBezTo>
                    <a:cubicBezTo>
                      <a:pt x="326" y="189"/>
                      <a:pt x="320" y="188"/>
                      <a:pt x="316" y="183"/>
                    </a:cubicBezTo>
                    <a:cubicBezTo>
                      <a:pt x="313" y="180"/>
                      <a:pt x="313" y="182"/>
                      <a:pt x="311" y="183"/>
                    </a:cubicBezTo>
                    <a:cubicBezTo>
                      <a:pt x="308" y="183"/>
                      <a:pt x="313" y="186"/>
                      <a:pt x="309" y="185"/>
                    </a:cubicBezTo>
                    <a:cubicBezTo>
                      <a:pt x="308" y="185"/>
                      <a:pt x="308" y="186"/>
                      <a:pt x="311" y="189"/>
                    </a:cubicBezTo>
                    <a:cubicBezTo>
                      <a:pt x="313" y="191"/>
                      <a:pt x="314" y="191"/>
                      <a:pt x="314" y="189"/>
                    </a:cubicBezTo>
                    <a:close/>
                    <a:moveTo>
                      <a:pt x="404" y="136"/>
                    </a:moveTo>
                    <a:cubicBezTo>
                      <a:pt x="398" y="138"/>
                      <a:pt x="396" y="144"/>
                      <a:pt x="409" y="143"/>
                    </a:cubicBezTo>
                    <a:cubicBezTo>
                      <a:pt x="419" y="141"/>
                      <a:pt x="410" y="133"/>
                      <a:pt x="404" y="136"/>
                    </a:cubicBezTo>
                    <a:close/>
                    <a:moveTo>
                      <a:pt x="290" y="168"/>
                    </a:moveTo>
                    <a:cubicBezTo>
                      <a:pt x="287" y="163"/>
                      <a:pt x="282" y="164"/>
                      <a:pt x="285" y="154"/>
                    </a:cubicBezTo>
                    <a:cubicBezTo>
                      <a:pt x="287" y="144"/>
                      <a:pt x="297" y="144"/>
                      <a:pt x="290" y="139"/>
                    </a:cubicBezTo>
                    <a:cubicBezTo>
                      <a:pt x="282" y="136"/>
                      <a:pt x="288" y="138"/>
                      <a:pt x="274" y="139"/>
                    </a:cubicBezTo>
                    <a:cubicBezTo>
                      <a:pt x="261" y="141"/>
                      <a:pt x="271" y="143"/>
                      <a:pt x="264" y="146"/>
                    </a:cubicBezTo>
                    <a:cubicBezTo>
                      <a:pt x="258" y="149"/>
                      <a:pt x="265" y="147"/>
                      <a:pt x="262" y="154"/>
                    </a:cubicBezTo>
                    <a:cubicBezTo>
                      <a:pt x="259" y="160"/>
                      <a:pt x="256" y="152"/>
                      <a:pt x="255" y="158"/>
                    </a:cubicBezTo>
                    <a:cubicBezTo>
                      <a:pt x="252" y="164"/>
                      <a:pt x="252" y="166"/>
                      <a:pt x="259" y="166"/>
                    </a:cubicBezTo>
                    <a:cubicBezTo>
                      <a:pt x="268" y="166"/>
                      <a:pt x="255" y="168"/>
                      <a:pt x="264" y="172"/>
                    </a:cubicBezTo>
                    <a:cubicBezTo>
                      <a:pt x="271" y="177"/>
                      <a:pt x="265" y="163"/>
                      <a:pt x="270" y="169"/>
                    </a:cubicBezTo>
                    <a:cubicBezTo>
                      <a:pt x="274" y="175"/>
                      <a:pt x="262" y="175"/>
                      <a:pt x="273" y="177"/>
                    </a:cubicBezTo>
                    <a:cubicBezTo>
                      <a:pt x="282" y="178"/>
                      <a:pt x="276" y="180"/>
                      <a:pt x="285" y="180"/>
                    </a:cubicBezTo>
                    <a:cubicBezTo>
                      <a:pt x="293" y="180"/>
                      <a:pt x="294" y="183"/>
                      <a:pt x="302" y="178"/>
                    </a:cubicBezTo>
                    <a:cubicBezTo>
                      <a:pt x="305" y="177"/>
                      <a:pt x="291" y="174"/>
                      <a:pt x="290" y="168"/>
                    </a:cubicBezTo>
                    <a:close/>
                    <a:moveTo>
                      <a:pt x="299" y="136"/>
                    </a:moveTo>
                    <a:cubicBezTo>
                      <a:pt x="299" y="133"/>
                      <a:pt x="303" y="136"/>
                      <a:pt x="305" y="130"/>
                    </a:cubicBezTo>
                    <a:cubicBezTo>
                      <a:pt x="306" y="126"/>
                      <a:pt x="311" y="127"/>
                      <a:pt x="311" y="124"/>
                    </a:cubicBezTo>
                    <a:cubicBezTo>
                      <a:pt x="311" y="121"/>
                      <a:pt x="311" y="121"/>
                      <a:pt x="322" y="118"/>
                    </a:cubicBezTo>
                    <a:cubicBezTo>
                      <a:pt x="331" y="115"/>
                      <a:pt x="320" y="115"/>
                      <a:pt x="335" y="107"/>
                    </a:cubicBezTo>
                    <a:cubicBezTo>
                      <a:pt x="351" y="101"/>
                      <a:pt x="376" y="98"/>
                      <a:pt x="389" y="91"/>
                    </a:cubicBezTo>
                    <a:cubicBezTo>
                      <a:pt x="401" y="85"/>
                      <a:pt x="387" y="79"/>
                      <a:pt x="375" y="84"/>
                    </a:cubicBezTo>
                    <a:cubicBezTo>
                      <a:pt x="363" y="87"/>
                      <a:pt x="370" y="87"/>
                      <a:pt x="361" y="90"/>
                    </a:cubicBezTo>
                    <a:cubicBezTo>
                      <a:pt x="352" y="93"/>
                      <a:pt x="358" y="88"/>
                      <a:pt x="348" y="93"/>
                    </a:cubicBezTo>
                    <a:cubicBezTo>
                      <a:pt x="337" y="98"/>
                      <a:pt x="343" y="91"/>
                      <a:pt x="332" y="93"/>
                    </a:cubicBezTo>
                    <a:cubicBezTo>
                      <a:pt x="323" y="93"/>
                      <a:pt x="332" y="96"/>
                      <a:pt x="326" y="96"/>
                    </a:cubicBezTo>
                    <a:cubicBezTo>
                      <a:pt x="320" y="96"/>
                      <a:pt x="306" y="101"/>
                      <a:pt x="303" y="107"/>
                    </a:cubicBezTo>
                    <a:cubicBezTo>
                      <a:pt x="299" y="112"/>
                      <a:pt x="300" y="105"/>
                      <a:pt x="296" y="109"/>
                    </a:cubicBezTo>
                    <a:cubicBezTo>
                      <a:pt x="291" y="113"/>
                      <a:pt x="293" y="107"/>
                      <a:pt x="290" y="110"/>
                    </a:cubicBezTo>
                    <a:cubicBezTo>
                      <a:pt x="285" y="113"/>
                      <a:pt x="293" y="113"/>
                      <a:pt x="290" y="115"/>
                    </a:cubicBezTo>
                    <a:cubicBezTo>
                      <a:pt x="285" y="116"/>
                      <a:pt x="294" y="118"/>
                      <a:pt x="288" y="118"/>
                    </a:cubicBezTo>
                    <a:cubicBezTo>
                      <a:pt x="282" y="119"/>
                      <a:pt x="285" y="126"/>
                      <a:pt x="278" y="129"/>
                    </a:cubicBezTo>
                    <a:cubicBezTo>
                      <a:pt x="270" y="132"/>
                      <a:pt x="268" y="135"/>
                      <a:pt x="274" y="135"/>
                    </a:cubicBezTo>
                    <a:cubicBezTo>
                      <a:pt x="281" y="133"/>
                      <a:pt x="270" y="139"/>
                      <a:pt x="278" y="138"/>
                    </a:cubicBezTo>
                    <a:cubicBezTo>
                      <a:pt x="285" y="135"/>
                      <a:pt x="285" y="135"/>
                      <a:pt x="291" y="139"/>
                    </a:cubicBezTo>
                    <a:cubicBezTo>
                      <a:pt x="293" y="141"/>
                      <a:pt x="299" y="141"/>
                      <a:pt x="299" y="136"/>
                    </a:cubicBezTo>
                    <a:close/>
                    <a:moveTo>
                      <a:pt x="207" y="23"/>
                    </a:moveTo>
                    <a:cubicBezTo>
                      <a:pt x="211" y="23"/>
                      <a:pt x="211" y="26"/>
                      <a:pt x="215" y="25"/>
                    </a:cubicBezTo>
                    <a:cubicBezTo>
                      <a:pt x="221" y="21"/>
                      <a:pt x="221" y="20"/>
                      <a:pt x="227" y="21"/>
                    </a:cubicBezTo>
                    <a:cubicBezTo>
                      <a:pt x="232" y="23"/>
                      <a:pt x="235" y="21"/>
                      <a:pt x="226" y="18"/>
                    </a:cubicBezTo>
                    <a:cubicBezTo>
                      <a:pt x="215" y="17"/>
                      <a:pt x="223" y="20"/>
                      <a:pt x="215" y="20"/>
                    </a:cubicBezTo>
                    <a:cubicBezTo>
                      <a:pt x="206" y="21"/>
                      <a:pt x="198" y="23"/>
                      <a:pt x="204" y="25"/>
                    </a:cubicBezTo>
                    <a:cubicBezTo>
                      <a:pt x="207" y="25"/>
                      <a:pt x="206" y="25"/>
                      <a:pt x="207" y="23"/>
                    </a:cubicBezTo>
                    <a:close/>
                    <a:moveTo>
                      <a:pt x="223" y="29"/>
                    </a:moveTo>
                    <a:cubicBezTo>
                      <a:pt x="227" y="28"/>
                      <a:pt x="221" y="32"/>
                      <a:pt x="227" y="31"/>
                    </a:cubicBezTo>
                    <a:cubicBezTo>
                      <a:pt x="233" y="29"/>
                      <a:pt x="232" y="32"/>
                      <a:pt x="235" y="29"/>
                    </a:cubicBezTo>
                    <a:cubicBezTo>
                      <a:pt x="236" y="28"/>
                      <a:pt x="230" y="29"/>
                      <a:pt x="232" y="28"/>
                    </a:cubicBezTo>
                    <a:cubicBezTo>
                      <a:pt x="235" y="26"/>
                      <a:pt x="238" y="28"/>
                      <a:pt x="239" y="25"/>
                    </a:cubicBezTo>
                    <a:cubicBezTo>
                      <a:pt x="242" y="23"/>
                      <a:pt x="244" y="25"/>
                      <a:pt x="252" y="23"/>
                    </a:cubicBezTo>
                    <a:cubicBezTo>
                      <a:pt x="259" y="21"/>
                      <a:pt x="255" y="18"/>
                      <a:pt x="249" y="20"/>
                    </a:cubicBezTo>
                    <a:cubicBezTo>
                      <a:pt x="242" y="21"/>
                      <a:pt x="252" y="18"/>
                      <a:pt x="246" y="18"/>
                    </a:cubicBezTo>
                    <a:cubicBezTo>
                      <a:pt x="239" y="17"/>
                      <a:pt x="233" y="20"/>
                      <a:pt x="235" y="20"/>
                    </a:cubicBezTo>
                    <a:cubicBezTo>
                      <a:pt x="238" y="21"/>
                      <a:pt x="239" y="25"/>
                      <a:pt x="230" y="25"/>
                    </a:cubicBezTo>
                    <a:cubicBezTo>
                      <a:pt x="223" y="25"/>
                      <a:pt x="220" y="25"/>
                      <a:pt x="223" y="26"/>
                    </a:cubicBezTo>
                    <a:cubicBezTo>
                      <a:pt x="227" y="28"/>
                      <a:pt x="223" y="28"/>
                      <a:pt x="220" y="28"/>
                    </a:cubicBezTo>
                    <a:cubicBezTo>
                      <a:pt x="217" y="26"/>
                      <a:pt x="212" y="26"/>
                      <a:pt x="217" y="29"/>
                    </a:cubicBezTo>
                    <a:cubicBezTo>
                      <a:pt x="220" y="31"/>
                      <a:pt x="220" y="29"/>
                      <a:pt x="223" y="29"/>
                    </a:cubicBezTo>
                    <a:close/>
                    <a:moveTo>
                      <a:pt x="271" y="28"/>
                    </a:moveTo>
                    <a:cubicBezTo>
                      <a:pt x="268" y="25"/>
                      <a:pt x="267" y="25"/>
                      <a:pt x="261" y="28"/>
                    </a:cubicBezTo>
                    <a:cubicBezTo>
                      <a:pt x="256" y="29"/>
                      <a:pt x="276" y="32"/>
                      <a:pt x="271" y="28"/>
                    </a:cubicBezTo>
                    <a:close/>
                    <a:moveTo>
                      <a:pt x="246" y="14"/>
                    </a:moveTo>
                    <a:cubicBezTo>
                      <a:pt x="249" y="11"/>
                      <a:pt x="253" y="12"/>
                      <a:pt x="249" y="14"/>
                    </a:cubicBezTo>
                    <a:cubicBezTo>
                      <a:pt x="246" y="15"/>
                      <a:pt x="241" y="17"/>
                      <a:pt x="246" y="14"/>
                    </a:cubicBezTo>
                    <a:close/>
                    <a:moveTo>
                      <a:pt x="352" y="20"/>
                    </a:moveTo>
                    <a:cubicBezTo>
                      <a:pt x="360" y="18"/>
                      <a:pt x="364" y="20"/>
                      <a:pt x="364" y="15"/>
                    </a:cubicBezTo>
                    <a:cubicBezTo>
                      <a:pt x="364" y="12"/>
                      <a:pt x="357" y="11"/>
                      <a:pt x="354" y="14"/>
                    </a:cubicBezTo>
                    <a:cubicBezTo>
                      <a:pt x="352" y="17"/>
                      <a:pt x="349" y="14"/>
                      <a:pt x="343" y="18"/>
                    </a:cubicBezTo>
                    <a:cubicBezTo>
                      <a:pt x="338" y="20"/>
                      <a:pt x="344" y="21"/>
                      <a:pt x="352" y="20"/>
                    </a:cubicBezTo>
                    <a:close/>
                    <a:moveTo>
                      <a:pt x="338" y="4"/>
                    </a:moveTo>
                    <a:cubicBezTo>
                      <a:pt x="343" y="3"/>
                      <a:pt x="354" y="3"/>
                      <a:pt x="352" y="4"/>
                    </a:cubicBezTo>
                    <a:cubicBezTo>
                      <a:pt x="349" y="7"/>
                      <a:pt x="337" y="4"/>
                      <a:pt x="338" y="4"/>
                    </a:cubicBezTo>
                    <a:close/>
                    <a:moveTo>
                      <a:pt x="305" y="3"/>
                    </a:moveTo>
                    <a:cubicBezTo>
                      <a:pt x="306" y="0"/>
                      <a:pt x="317" y="0"/>
                      <a:pt x="317" y="3"/>
                    </a:cubicBezTo>
                    <a:cubicBezTo>
                      <a:pt x="316" y="4"/>
                      <a:pt x="303" y="6"/>
                      <a:pt x="305" y="3"/>
                    </a:cubicBezTo>
                    <a:close/>
                    <a:moveTo>
                      <a:pt x="329" y="17"/>
                    </a:moveTo>
                    <a:cubicBezTo>
                      <a:pt x="334" y="17"/>
                      <a:pt x="341" y="11"/>
                      <a:pt x="328" y="14"/>
                    </a:cubicBezTo>
                    <a:cubicBezTo>
                      <a:pt x="317" y="17"/>
                      <a:pt x="325" y="18"/>
                      <a:pt x="329" y="17"/>
                    </a:cubicBezTo>
                    <a:close/>
                    <a:moveTo>
                      <a:pt x="328" y="25"/>
                    </a:moveTo>
                    <a:cubicBezTo>
                      <a:pt x="334" y="26"/>
                      <a:pt x="332" y="23"/>
                      <a:pt x="337" y="23"/>
                    </a:cubicBezTo>
                    <a:cubicBezTo>
                      <a:pt x="341" y="23"/>
                      <a:pt x="340" y="14"/>
                      <a:pt x="331" y="18"/>
                    </a:cubicBezTo>
                    <a:cubicBezTo>
                      <a:pt x="322" y="21"/>
                      <a:pt x="319" y="14"/>
                      <a:pt x="316" y="21"/>
                    </a:cubicBezTo>
                    <a:cubicBezTo>
                      <a:pt x="313" y="29"/>
                      <a:pt x="322" y="23"/>
                      <a:pt x="328" y="25"/>
                    </a:cubicBezTo>
                    <a:close/>
                    <a:moveTo>
                      <a:pt x="241" y="29"/>
                    </a:moveTo>
                    <a:cubicBezTo>
                      <a:pt x="246" y="28"/>
                      <a:pt x="246" y="29"/>
                      <a:pt x="242" y="31"/>
                    </a:cubicBezTo>
                    <a:cubicBezTo>
                      <a:pt x="239" y="34"/>
                      <a:pt x="236" y="29"/>
                      <a:pt x="241" y="29"/>
                    </a:cubicBezTo>
                    <a:close/>
                    <a:moveTo>
                      <a:pt x="246" y="32"/>
                    </a:moveTo>
                    <a:cubicBezTo>
                      <a:pt x="250" y="29"/>
                      <a:pt x="258" y="34"/>
                      <a:pt x="252" y="34"/>
                    </a:cubicBezTo>
                    <a:cubicBezTo>
                      <a:pt x="246" y="34"/>
                      <a:pt x="239" y="34"/>
                      <a:pt x="246" y="32"/>
                    </a:cubicBezTo>
                    <a:close/>
                    <a:moveTo>
                      <a:pt x="297" y="32"/>
                    </a:moveTo>
                    <a:cubicBezTo>
                      <a:pt x="302" y="32"/>
                      <a:pt x="299" y="26"/>
                      <a:pt x="296" y="28"/>
                    </a:cubicBezTo>
                    <a:cubicBezTo>
                      <a:pt x="293" y="28"/>
                      <a:pt x="288" y="26"/>
                      <a:pt x="288" y="29"/>
                    </a:cubicBezTo>
                    <a:cubicBezTo>
                      <a:pt x="287" y="34"/>
                      <a:pt x="291" y="31"/>
                      <a:pt x="297" y="32"/>
                    </a:cubicBezTo>
                    <a:close/>
                    <a:moveTo>
                      <a:pt x="305" y="31"/>
                    </a:moveTo>
                    <a:cubicBezTo>
                      <a:pt x="309" y="32"/>
                      <a:pt x="303" y="28"/>
                      <a:pt x="311" y="28"/>
                    </a:cubicBezTo>
                    <a:cubicBezTo>
                      <a:pt x="317" y="28"/>
                      <a:pt x="317" y="26"/>
                      <a:pt x="309" y="25"/>
                    </a:cubicBezTo>
                    <a:cubicBezTo>
                      <a:pt x="303" y="25"/>
                      <a:pt x="296" y="25"/>
                      <a:pt x="299" y="28"/>
                    </a:cubicBezTo>
                    <a:cubicBezTo>
                      <a:pt x="300" y="29"/>
                      <a:pt x="300" y="29"/>
                      <a:pt x="305" y="31"/>
                    </a:cubicBezTo>
                    <a:close/>
                    <a:moveTo>
                      <a:pt x="313" y="31"/>
                    </a:moveTo>
                    <a:cubicBezTo>
                      <a:pt x="308" y="34"/>
                      <a:pt x="314" y="34"/>
                      <a:pt x="319" y="34"/>
                    </a:cubicBezTo>
                    <a:cubicBezTo>
                      <a:pt x="325" y="32"/>
                      <a:pt x="319" y="31"/>
                      <a:pt x="314" y="31"/>
                    </a:cubicBezTo>
                    <a:cubicBezTo>
                      <a:pt x="313" y="31"/>
                      <a:pt x="313" y="31"/>
                      <a:pt x="313" y="31"/>
                    </a:cubicBezTo>
                    <a:close/>
                    <a:moveTo>
                      <a:pt x="299" y="9"/>
                    </a:moveTo>
                    <a:cubicBezTo>
                      <a:pt x="302" y="9"/>
                      <a:pt x="303" y="9"/>
                      <a:pt x="308" y="9"/>
                    </a:cubicBezTo>
                    <a:cubicBezTo>
                      <a:pt x="313" y="9"/>
                      <a:pt x="309" y="9"/>
                      <a:pt x="305" y="7"/>
                    </a:cubicBezTo>
                    <a:cubicBezTo>
                      <a:pt x="300" y="6"/>
                      <a:pt x="302" y="6"/>
                      <a:pt x="297" y="7"/>
                    </a:cubicBezTo>
                    <a:cubicBezTo>
                      <a:pt x="294" y="9"/>
                      <a:pt x="294" y="9"/>
                      <a:pt x="299" y="9"/>
                    </a:cubicBezTo>
                    <a:close/>
                    <a:moveTo>
                      <a:pt x="293" y="12"/>
                    </a:moveTo>
                    <a:cubicBezTo>
                      <a:pt x="294" y="14"/>
                      <a:pt x="296" y="12"/>
                      <a:pt x="303" y="11"/>
                    </a:cubicBezTo>
                    <a:cubicBezTo>
                      <a:pt x="306" y="11"/>
                      <a:pt x="299" y="9"/>
                      <a:pt x="294" y="9"/>
                    </a:cubicBezTo>
                    <a:cubicBezTo>
                      <a:pt x="288" y="9"/>
                      <a:pt x="296" y="12"/>
                      <a:pt x="291" y="11"/>
                    </a:cubicBezTo>
                    <a:cubicBezTo>
                      <a:pt x="288" y="11"/>
                      <a:pt x="284" y="11"/>
                      <a:pt x="285" y="12"/>
                    </a:cubicBezTo>
                    <a:cubicBezTo>
                      <a:pt x="288" y="14"/>
                      <a:pt x="288" y="11"/>
                      <a:pt x="293" y="12"/>
                    </a:cubicBezTo>
                    <a:close/>
                    <a:moveTo>
                      <a:pt x="305" y="14"/>
                    </a:moveTo>
                    <a:cubicBezTo>
                      <a:pt x="306" y="14"/>
                      <a:pt x="313" y="15"/>
                      <a:pt x="311" y="17"/>
                    </a:cubicBezTo>
                    <a:cubicBezTo>
                      <a:pt x="308" y="17"/>
                      <a:pt x="303" y="15"/>
                      <a:pt x="305" y="14"/>
                    </a:cubicBezTo>
                    <a:close/>
                    <a:moveTo>
                      <a:pt x="313" y="20"/>
                    </a:moveTo>
                    <a:cubicBezTo>
                      <a:pt x="314" y="20"/>
                      <a:pt x="316" y="17"/>
                      <a:pt x="308" y="18"/>
                    </a:cubicBezTo>
                    <a:cubicBezTo>
                      <a:pt x="300" y="20"/>
                      <a:pt x="309" y="20"/>
                      <a:pt x="313" y="20"/>
                    </a:cubicBezTo>
                    <a:close/>
                    <a:moveTo>
                      <a:pt x="296" y="17"/>
                    </a:moveTo>
                    <a:cubicBezTo>
                      <a:pt x="299" y="17"/>
                      <a:pt x="299" y="18"/>
                      <a:pt x="305" y="18"/>
                    </a:cubicBezTo>
                    <a:cubicBezTo>
                      <a:pt x="311" y="17"/>
                      <a:pt x="306" y="17"/>
                      <a:pt x="303" y="15"/>
                    </a:cubicBezTo>
                    <a:cubicBezTo>
                      <a:pt x="299" y="15"/>
                      <a:pt x="293" y="14"/>
                      <a:pt x="291" y="14"/>
                    </a:cubicBezTo>
                    <a:cubicBezTo>
                      <a:pt x="290" y="15"/>
                      <a:pt x="294" y="15"/>
                      <a:pt x="296" y="17"/>
                    </a:cubicBezTo>
                    <a:close/>
                    <a:moveTo>
                      <a:pt x="284" y="17"/>
                    </a:moveTo>
                    <a:cubicBezTo>
                      <a:pt x="287" y="17"/>
                      <a:pt x="282" y="17"/>
                      <a:pt x="290" y="18"/>
                    </a:cubicBezTo>
                    <a:cubicBezTo>
                      <a:pt x="299" y="20"/>
                      <a:pt x="297" y="21"/>
                      <a:pt x="302" y="20"/>
                    </a:cubicBezTo>
                    <a:cubicBezTo>
                      <a:pt x="305" y="18"/>
                      <a:pt x="302" y="20"/>
                      <a:pt x="299" y="18"/>
                    </a:cubicBezTo>
                    <a:cubicBezTo>
                      <a:pt x="294" y="17"/>
                      <a:pt x="291" y="15"/>
                      <a:pt x="287" y="15"/>
                    </a:cubicBezTo>
                    <a:cubicBezTo>
                      <a:pt x="284" y="17"/>
                      <a:pt x="281" y="12"/>
                      <a:pt x="278" y="15"/>
                    </a:cubicBezTo>
                    <a:cubicBezTo>
                      <a:pt x="276" y="17"/>
                      <a:pt x="281" y="15"/>
                      <a:pt x="284" y="17"/>
                    </a:cubicBezTo>
                    <a:close/>
                    <a:moveTo>
                      <a:pt x="278" y="20"/>
                    </a:moveTo>
                    <a:cubicBezTo>
                      <a:pt x="281" y="20"/>
                      <a:pt x="279" y="21"/>
                      <a:pt x="282" y="20"/>
                    </a:cubicBezTo>
                    <a:cubicBezTo>
                      <a:pt x="285" y="20"/>
                      <a:pt x="290" y="20"/>
                      <a:pt x="288" y="20"/>
                    </a:cubicBezTo>
                    <a:cubicBezTo>
                      <a:pt x="287" y="20"/>
                      <a:pt x="282" y="17"/>
                      <a:pt x="281" y="18"/>
                    </a:cubicBezTo>
                    <a:cubicBezTo>
                      <a:pt x="279" y="20"/>
                      <a:pt x="276" y="17"/>
                      <a:pt x="273" y="18"/>
                    </a:cubicBezTo>
                    <a:cubicBezTo>
                      <a:pt x="273" y="20"/>
                      <a:pt x="274" y="20"/>
                      <a:pt x="278" y="20"/>
                    </a:cubicBezTo>
                    <a:close/>
                    <a:moveTo>
                      <a:pt x="296" y="21"/>
                    </a:moveTo>
                    <a:cubicBezTo>
                      <a:pt x="299" y="21"/>
                      <a:pt x="294" y="20"/>
                      <a:pt x="291" y="20"/>
                    </a:cubicBezTo>
                    <a:cubicBezTo>
                      <a:pt x="287" y="20"/>
                      <a:pt x="285" y="21"/>
                      <a:pt x="287" y="21"/>
                    </a:cubicBezTo>
                    <a:cubicBezTo>
                      <a:pt x="288" y="23"/>
                      <a:pt x="293" y="21"/>
                      <a:pt x="296" y="21"/>
                    </a:cubicBezTo>
                    <a:close/>
                    <a:moveTo>
                      <a:pt x="302" y="23"/>
                    </a:moveTo>
                    <a:cubicBezTo>
                      <a:pt x="297" y="23"/>
                      <a:pt x="302" y="21"/>
                      <a:pt x="305" y="21"/>
                    </a:cubicBezTo>
                    <a:cubicBezTo>
                      <a:pt x="306" y="21"/>
                      <a:pt x="306" y="25"/>
                      <a:pt x="302" y="23"/>
                    </a:cubicBezTo>
                    <a:close/>
                    <a:moveTo>
                      <a:pt x="276" y="23"/>
                    </a:moveTo>
                    <a:cubicBezTo>
                      <a:pt x="274" y="21"/>
                      <a:pt x="271" y="23"/>
                      <a:pt x="273" y="23"/>
                    </a:cubicBezTo>
                    <a:cubicBezTo>
                      <a:pt x="274" y="25"/>
                      <a:pt x="270" y="26"/>
                      <a:pt x="276" y="25"/>
                    </a:cubicBezTo>
                    <a:cubicBezTo>
                      <a:pt x="279" y="25"/>
                      <a:pt x="278" y="25"/>
                      <a:pt x="276" y="23"/>
                    </a:cubicBezTo>
                    <a:close/>
                    <a:moveTo>
                      <a:pt x="1273" y="256"/>
                    </a:moveTo>
                    <a:cubicBezTo>
                      <a:pt x="1273" y="256"/>
                      <a:pt x="1273" y="256"/>
                      <a:pt x="1273" y="256"/>
                    </a:cubicBezTo>
                    <a:cubicBezTo>
                      <a:pt x="1278" y="252"/>
                      <a:pt x="1278" y="252"/>
                      <a:pt x="1275" y="247"/>
                    </a:cubicBezTo>
                    <a:cubicBezTo>
                      <a:pt x="1270" y="242"/>
                      <a:pt x="1280" y="241"/>
                      <a:pt x="1283" y="250"/>
                    </a:cubicBezTo>
                    <a:cubicBezTo>
                      <a:pt x="1287" y="259"/>
                      <a:pt x="1301" y="244"/>
                      <a:pt x="1305" y="256"/>
                    </a:cubicBezTo>
                    <a:cubicBezTo>
                      <a:pt x="1311" y="269"/>
                      <a:pt x="1316" y="261"/>
                      <a:pt x="1321" y="267"/>
                    </a:cubicBezTo>
                    <a:cubicBezTo>
                      <a:pt x="1324" y="273"/>
                      <a:pt x="1334" y="267"/>
                      <a:pt x="1334" y="258"/>
                    </a:cubicBezTo>
                    <a:cubicBezTo>
                      <a:pt x="1334" y="247"/>
                      <a:pt x="1343" y="255"/>
                      <a:pt x="1351" y="247"/>
                    </a:cubicBezTo>
                    <a:cubicBezTo>
                      <a:pt x="1359" y="237"/>
                      <a:pt x="1348" y="245"/>
                      <a:pt x="1342" y="236"/>
                    </a:cubicBezTo>
                    <a:cubicBezTo>
                      <a:pt x="1337" y="230"/>
                      <a:pt x="1330" y="230"/>
                      <a:pt x="1321" y="230"/>
                    </a:cubicBezTo>
                    <a:cubicBezTo>
                      <a:pt x="1310" y="230"/>
                      <a:pt x="1330" y="247"/>
                      <a:pt x="1318" y="239"/>
                    </a:cubicBezTo>
                    <a:cubicBezTo>
                      <a:pt x="1305" y="233"/>
                      <a:pt x="1324" y="228"/>
                      <a:pt x="1304" y="219"/>
                    </a:cubicBezTo>
                    <a:cubicBezTo>
                      <a:pt x="1293" y="213"/>
                      <a:pt x="1283" y="208"/>
                      <a:pt x="1273" y="203"/>
                    </a:cubicBezTo>
                    <a:cubicBezTo>
                      <a:pt x="1273" y="203"/>
                      <a:pt x="1273" y="203"/>
                      <a:pt x="1273" y="203"/>
                    </a:cubicBezTo>
                    <a:cubicBezTo>
                      <a:pt x="1266" y="199"/>
                      <a:pt x="1258" y="196"/>
                      <a:pt x="1249" y="194"/>
                    </a:cubicBezTo>
                    <a:cubicBezTo>
                      <a:pt x="1232" y="189"/>
                      <a:pt x="1244" y="191"/>
                      <a:pt x="1222" y="189"/>
                    </a:cubicBezTo>
                    <a:cubicBezTo>
                      <a:pt x="1197" y="188"/>
                      <a:pt x="1203" y="178"/>
                      <a:pt x="1197" y="189"/>
                    </a:cubicBezTo>
                    <a:cubicBezTo>
                      <a:pt x="1190" y="200"/>
                      <a:pt x="1209" y="194"/>
                      <a:pt x="1199" y="203"/>
                    </a:cubicBezTo>
                    <a:cubicBezTo>
                      <a:pt x="1188" y="213"/>
                      <a:pt x="1193" y="200"/>
                      <a:pt x="1184" y="200"/>
                    </a:cubicBezTo>
                    <a:cubicBezTo>
                      <a:pt x="1174" y="200"/>
                      <a:pt x="1187" y="189"/>
                      <a:pt x="1171" y="194"/>
                    </a:cubicBezTo>
                    <a:cubicBezTo>
                      <a:pt x="1156" y="200"/>
                      <a:pt x="1153" y="188"/>
                      <a:pt x="1133" y="192"/>
                    </a:cubicBezTo>
                    <a:cubicBezTo>
                      <a:pt x="1114" y="197"/>
                      <a:pt x="1112" y="191"/>
                      <a:pt x="1115" y="186"/>
                    </a:cubicBezTo>
                    <a:cubicBezTo>
                      <a:pt x="1118" y="180"/>
                      <a:pt x="1103" y="168"/>
                      <a:pt x="1071" y="174"/>
                    </a:cubicBezTo>
                    <a:cubicBezTo>
                      <a:pt x="1040" y="180"/>
                      <a:pt x="1042" y="161"/>
                      <a:pt x="1031" y="157"/>
                    </a:cubicBezTo>
                    <a:cubicBezTo>
                      <a:pt x="1021" y="152"/>
                      <a:pt x="1021" y="157"/>
                      <a:pt x="1002" y="152"/>
                    </a:cubicBezTo>
                    <a:cubicBezTo>
                      <a:pt x="984" y="147"/>
                      <a:pt x="981" y="150"/>
                      <a:pt x="967" y="147"/>
                    </a:cubicBezTo>
                    <a:cubicBezTo>
                      <a:pt x="954" y="143"/>
                      <a:pt x="969" y="152"/>
                      <a:pt x="954" y="152"/>
                    </a:cubicBezTo>
                    <a:cubicBezTo>
                      <a:pt x="938" y="152"/>
                      <a:pt x="966" y="171"/>
                      <a:pt x="951" y="166"/>
                    </a:cubicBezTo>
                    <a:cubicBezTo>
                      <a:pt x="934" y="161"/>
                      <a:pt x="940" y="169"/>
                      <a:pt x="928" y="164"/>
                    </a:cubicBezTo>
                    <a:cubicBezTo>
                      <a:pt x="914" y="161"/>
                      <a:pt x="914" y="174"/>
                      <a:pt x="902" y="164"/>
                    </a:cubicBezTo>
                    <a:cubicBezTo>
                      <a:pt x="890" y="155"/>
                      <a:pt x="893" y="186"/>
                      <a:pt x="879" y="174"/>
                    </a:cubicBezTo>
                    <a:cubicBezTo>
                      <a:pt x="865" y="161"/>
                      <a:pt x="864" y="157"/>
                      <a:pt x="856" y="154"/>
                    </a:cubicBezTo>
                    <a:cubicBezTo>
                      <a:pt x="847" y="150"/>
                      <a:pt x="861" y="166"/>
                      <a:pt x="852" y="158"/>
                    </a:cubicBezTo>
                    <a:cubicBezTo>
                      <a:pt x="844" y="152"/>
                      <a:pt x="827" y="146"/>
                      <a:pt x="803" y="144"/>
                    </a:cubicBezTo>
                    <a:cubicBezTo>
                      <a:pt x="766" y="141"/>
                      <a:pt x="797" y="136"/>
                      <a:pt x="785" y="135"/>
                    </a:cubicBezTo>
                    <a:cubicBezTo>
                      <a:pt x="772" y="133"/>
                      <a:pt x="762" y="133"/>
                      <a:pt x="751" y="135"/>
                    </a:cubicBezTo>
                    <a:cubicBezTo>
                      <a:pt x="740" y="136"/>
                      <a:pt x="747" y="126"/>
                      <a:pt x="739" y="130"/>
                    </a:cubicBezTo>
                    <a:cubicBezTo>
                      <a:pt x="731" y="135"/>
                      <a:pt x="733" y="127"/>
                      <a:pt x="722" y="129"/>
                    </a:cubicBezTo>
                    <a:cubicBezTo>
                      <a:pt x="712" y="132"/>
                      <a:pt x="724" y="136"/>
                      <a:pt x="704" y="139"/>
                    </a:cubicBezTo>
                    <a:cubicBezTo>
                      <a:pt x="686" y="143"/>
                      <a:pt x="686" y="139"/>
                      <a:pt x="704" y="132"/>
                    </a:cubicBezTo>
                    <a:cubicBezTo>
                      <a:pt x="722" y="124"/>
                      <a:pt x="718" y="121"/>
                      <a:pt x="734" y="116"/>
                    </a:cubicBezTo>
                    <a:cubicBezTo>
                      <a:pt x="750" y="112"/>
                      <a:pt x="750" y="102"/>
                      <a:pt x="747" y="96"/>
                    </a:cubicBezTo>
                    <a:cubicBezTo>
                      <a:pt x="743" y="91"/>
                      <a:pt x="739" y="94"/>
                      <a:pt x="731" y="88"/>
                    </a:cubicBezTo>
                    <a:cubicBezTo>
                      <a:pt x="725" y="82"/>
                      <a:pt x="719" y="88"/>
                      <a:pt x="710" y="85"/>
                    </a:cubicBezTo>
                    <a:cubicBezTo>
                      <a:pt x="701" y="84"/>
                      <a:pt x="705" y="88"/>
                      <a:pt x="695" y="90"/>
                    </a:cubicBezTo>
                    <a:cubicBezTo>
                      <a:pt x="678" y="91"/>
                      <a:pt x="708" y="82"/>
                      <a:pt x="689" y="82"/>
                    </a:cubicBezTo>
                    <a:cubicBezTo>
                      <a:pt x="670" y="81"/>
                      <a:pt x="676" y="79"/>
                      <a:pt x="686" y="76"/>
                    </a:cubicBezTo>
                    <a:cubicBezTo>
                      <a:pt x="693" y="74"/>
                      <a:pt x="676" y="66"/>
                      <a:pt x="661" y="73"/>
                    </a:cubicBezTo>
                    <a:cubicBezTo>
                      <a:pt x="637" y="84"/>
                      <a:pt x="651" y="88"/>
                      <a:pt x="640" y="88"/>
                    </a:cubicBezTo>
                    <a:cubicBezTo>
                      <a:pt x="617" y="90"/>
                      <a:pt x="643" y="90"/>
                      <a:pt x="622" y="94"/>
                    </a:cubicBezTo>
                    <a:cubicBezTo>
                      <a:pt x="600" y="99"/>
                      <a:pt x="625" y="90"/>
                      <a:pt x="596" y="94"/>
                    </a:cubicBezTo>
                    <a:cubicBezTo>
                      <a:pt x="568" y="98"/>
                      <a:pt x="599" y="101"/>
                      <a:pt x="570" y="104"/>
                    </a:cubicBezTo>
                    <a:cubicBezTo>
                      <a:pt x="539" y="105"/>
                      <a:pt x="553" y="110"/>
                      <a:pt x="538" y="110"/>
                    </a:cubicBezTo>
                    <a:cubicBezTo>
                      <a:pt x="524" y="112"/>
                      <a:pt x="523" y="124"/>
                      <a:pt x="532" y="126"/>
                    </a:cubicBezTo>
                    <a:cubicBezTo>
                      <a:pt x="539" y="126"/>
                      <a:pt x="535" y="129"/>
                      <a:pt x="524" y="132"/>
                    </a:cubicBezTo>
                    <a:cubicBezTo>
                      <a:pt x="508" y="135"/>
                      <a:pt x="488" y="130"/>
                      <a:pt x="483" y="138"/>
                    </a:cubicBezTo>
                    <a:cubicBezTo>
                      <a:pt x="477" y="144"/>
                      <a:pt x="491" y="138"/>
                      <a:pt x="486" y="147"/>
                    </a:cubicBezTo>
                    <a:cubicBezTo>
                      <a:pt x="480" y="155"/>
                      <a:pt x="497" y="150"/>
                      <a:pt x="497" y="157"/>
                    </a:cubicBezTo>
                    <a:cubicBezTo>
                      <a:pt x="498" y="164"/>
                      <a:pt x="512" y="157"/>
                      <a:pt x="508" y="166"/>
                    </a:cubicBezTo>
                    <a:cubicBezTo>
                      <a:pt x="501" y="177"/>
                      <a:pt x="517" y="175"/>
                      <a:pt x="508" y="183"/>
                    </a:cubicBezTo>
                    <a:cubicBezTo>
                      <a:pt x="497" y="192"/>
                      <a:pt x="512" y="171"/>
                      <a:pt x="501" y="174"/>
                    </a:cubicBezTo>
                    <a:cubicBezTo>
                      <a:pt x="491" y="178"/>
                      <a:pt x="512" y="163"/>
                      <a:pt x="498" y="163"/>
                    </a:cubicBezTo>
                    <a:cubicBezTo>
                      <a:pt x="486" y="163"/>
                      <a:pt x="491" y="155"/>
                      <a:pt x="474" y="154"/>
                    </a:cubicBezTo>
                    <a:cubicBezTo>
                      <a:pt x="456" y="150"/>
                      <a:pt x="462" y="161"/>
                      <a:pt x="457" y="160"/>
                    </a:cubicBezTo>
                    <a:cubicBezTo>
                      <a:pt x="450" y="157"/>
                      <a:pt x="442" y="163"/>
                      <a:pt x="454" y="166"/>
                    </a:cubicBezTo>
                    <a:cubicBezTo>
                      <a:pt x="466" y="171"/>
                      <a:pt x="459" y="172"/>
                      <a:pt x="448" y="171"/>
                    </a:cubicBezTo>
                    <a:cubicBezTo>
                      <a:pt x="436" y="169"/>
                      <a:pt x="448" y="157"/>
                      <a:pt x="445" y="150"/>
                    </a:cubicBezTo>
                    <a:cubicBezTo>
                      <a:pt x="441" y="144"/>
                      <a:pt x="437" y="143"/>
                      <a:pt x="439" y="152"/>
                    </a:cubicBezTo>
                    <a:cubicBezTo>
                      <a:pt x="444" y="164"/>
                      <a:pt x="419" y="158"/>
                      <a:pt x="428" y="169"/>
                    </a:cubicBezTo>
                    <a:cubicBezTo>
                      <a:pt x="434" y="178"/>
                      <a:pt x="437" y="178"/>
                      <a:pt x="431" y="186"/>
                    </a:cubicBezTo>
                    <a:cubicBezTo>
                      <a:pt x="424" y="194"/>
                      <a:pt x="431" y="194"/>
                      <a:pt x="431" y="200"/>
                    </a:cubicBezTo>
                    <a:cubicBezTo>
                      <a:pt x="430" y="206"/>
                      <a:pt x="445" y="196"/>
                      <a:pt x="456" y="202"/>
                    </a:cubicBezTo>
                    <a:cubicBezTo>
                      <a:pt x="468" y="209"/>
                      <a:pt x="463" y="211"/>
                      <a:pt x="462" y="214"/>
                    </a:cubicBezTo>
                    <a:cubicBezTo>
                      <a:pt x="460" y="217"/>
                      <a:pt x="456" y="225"/>
                      <a:pt x="457" y="217"/>
                    </a:cubicBezTo>
                    <a:cubicBezTo>
                      <a:pt x="460" y="209"/>
                      <a:pt x="457" y="200"/>
                      <a:pt x="442" y="205"/>
                    </a:cubicBezTo>
                    <a:cubicBezTo>
                      <a:pt x="428" y="209"/>
                      <a:pt x="444" y="219"/>
                      <a:pt x="436" y="222"/>
                    </a:cubicBezTo>
                    <a:cubicBezTo>
                      <a:pt x="428" y="227"/>
                      <a:pt x="434" y="231"/>
                      <a:pt x="425" y="234"/>
                    </a:cubicBezTo>
                    <a:cubicBezTo>
                      <a:pt x="416" y="239"/>
                      <a:pt x="425" y="244"/>
                      <a:pt x="407" y="241"/>
                    </a:cubicBezTo>
                    <a:cubicBezTo>
                      <a:pt x="387" y="237"/>
                      <a:pt x="413" y="241"/>
                      <a:pt x="418" y="230"/>
                    </a:cubicBezTo>
                    <a:cubicBezTo>
                      <a:pt x="424" y="219"/>
                      <a:pt x="427" y="225"/>
                      <a:pt x="427" y="216"/>
                    </a:cubicBezTo>
                    <a:cubicBezTo>
                      <a:pt x="428" y="206"/>
                      <a:pt x="419" y="206"/>
                      <a:pt x="421" y="196"/>
                    </a:cubicBezTo>
                    <a:cubicBezTo>
                      <a:pt x="422" y="183"/>
                      <a:pt x="425" y="177"/>
                      <a:pt x="418" y="169"/>
                    </a:cubicBezTo>
                    <a:cubicBezTo>
                      <a:pt x="409" y="163"/>
                      <a:pt x="424" y="164"/>
                      <a:pt x="424" y="154"/>
                    </a:cubicBezTo>
                    <a:cubicBezTo>
                      <a:pt x="424" y="141"/>
                      <a:pt x="406" y="147"/>
                      <a:pt x="398" y="146"/>
                    </a:cubicBezTo>
                    <a:cubicBezTo>
                      <a:pt x="389" y="143"/>
                      <a:pt x="392" y="164"/>
                      <a:pt x="381" y="169"/>
                    </a:cubicBezTo>
                    <a:cubicBezTo>
                      <a:pt x="364" y="175"/>
                      <a:pt x="384" y="175"/>
                      <a:pt x="376" y="186"/>
                    </a:cubicBezTo>
                    <a:cubicBezTo>
                      <a:pt x="369" y="199"/>
                      <a:pt x="398" y="199"/>
                      <a:pt x="392" y="209"/>
                    </a:cubicBezTo>
                    <a:cubicBezTo>
                      <a:pt x="384" y="219"/>
                      <a:pt x="389" y="209"/>
                      <a:pt x="361" y="199"/>
                    </a:cubicBezTo>
                    <a:cubicBezTo>
                      <a:pt x="332" y="186"/>
                      <a:pt x="319" y="192"/>
                      <a:pt x="326" y="200"/>
                    </a:cubicBezTo>
                    <a:cubicBezTo>
                      <a:pt x="331" y="205"/>
                      <a:pt x="316" y="216"/>
                      <a:pt x="316" y="208"/>
                    </a:cubicBezTo>
                    <a:cubicBezTo>
                      <a:pt x="316" y="199"/>
                      <a:pt x="311" y="202"/>
                      <a:pt x="302" y="208"/>
                    </a:cubicBezTo>
                    <a:cubicBezTo>
                      <a:pt x="293" y="214"/>
                      <a:pt x="294" y="202"/>
                      <a:pt x="282" y="211"/>
                    </a:cubicBezTo>
                    <a:cubicBezTo>
                      <a:pt x="270" y="219"/>
                      <a:pt x="270" y="208"/>
                      <a:pt x="276" y="203"/>
                    </a:cubicBezTo>
                    <a:cubicBezTo>
                      <a:pt x="281" y="200"/>
                      <a:pt x="270" y="202"/>
                      <a:pt x="250" y="213"/>
                    </a:cubicBezTo>
                    <a:cubicBezTo>
                      <a:pt x="230" y="222"/>
                      <a:pt x="227" y="214"/>
                      <a:pt x="224" y="227"/>
                    </a:cubicBezTo>
                    <a:cubicBezTo>
                      <a:pt x="221" y="239"/>
                      <a:pt x="220" y="230"/>
                      <a:pt x="214" y="233"/>
                    </a:cubicBezTo>
                    <a:cubicBezTo>
                      <a:pt x="206" y="237"/>
                      <a:pt x="211" y="231"/>
                      <a:pt x="204" y="228"/>
                    </a:cubicBezTo>
                    <a:cubicBezTo>
                      <a:pt x="197" y="225"/>
                      <a:pt x="206" y="220"/>
                      <a:pt x="212" y="220"/>
                    </a:cubicBezTo>
                    <a:cubicBezTo>
                      <a:pt x="218" y="220"/>
                      <a:pt x="212" y="208"/>
                      <a:pt x="203" y="209"/>
                    </a:cubicBezTo>
                    <a:cubicBezTo>
                      <a:pt x="194" y="209"/>
                      <a:pt x="185" y="203"/>
                      <a:pt x="192" y="211"/>
                    </a:cubicBezTo>
                    <a:cubicBezTo>
                      <a:pt x="200" y="217"/>
                      <a:pt x="186" y="224"/>
                      <a:pt x="195" y="230"/>
                    </a:cubicBezTo>
                    <a:cubicBezTo>
                      <a:pt x="203" y="234"/>
                      <a:pt x="194" y="236"/>
                      <a:pt x="195" y="245"/>
                    </a:cubicBezTo>
                    <a:cubicBezTo>
                      <a:pt x="197" y="253"/>
                      <a:pt x="189" y="231"/>
                      <a:pt x="176" y="241"/>
                    </a:cubicBezTo>
                    <a:cubicBezTo>
                      <a:pt x="162" y="250"/>
                      <a:pt x="156" y="248"/>
                      <a:pt x="163" y="258"/>
                    </a:cubicBezTo>
                    <a:cubicBezTo>
                      <a:pt x="172" y="267"/>
                      <a:pt x="162" y="269"/>
                      <a:pt x="148" y="261"/>
                    </a:cubicBezTo>
                    <a:cubicBezTo>
                      <a:pt x="133" y="255"/>
                      <a:pt x="130" y="259"/>
                      <a:pt x="136" y="264"/>
                    </a:cubicBezTo>
                    <a:cubicBezTo>
                      <a:pt x="142" y="270"/>
                      <a:pt x="153" y="269"/>
                      <a:pt x="144" y="275"/>
                    </a:cubicBezTo>
                    <a:cubicBezTo>
                      <a:pt x="136" y="279"/>
                      <a:pt x="137" y="269"/>
                      <a:pt x="128" y="267"/>
                    </a:cubicBezTo>
                    <a:cubicBezTo>
                      <a:pt x="118" y="265"/>
                      <a:pt x="125" y="261"/>
                      <a:pt x="121" y="256"/>
                    </a:cubicBezTo>
                    <a:cubicBezTo>
                      <a:pt x="115" y="252"/>
                      <a:pt x="127" y="250"/>
                      <a:pt x="119" y="244"/>
                    </a:cubicBezTo>
                    <a:cubicBezTo>
                      <a:pt x="112" y="237"/>
                      <a:pt x="104" y="236"/>
                      <a:pt x="102" y="230"/>
                    </a:cubicBezTo>
                    <a:cubicBezTo>
                      <a:pt x="101" y="224"/>
                      <a:pt x="102" y="234"/>
                      <a:pt x="118" y="237"/>
                    </a:cubicBezTo>
                    <a:cubicBezTo>
                      <a:pt x="133" y="239"/>
                      <a:pt x="148" y="250"/>
                      <a:pt x="162" y="242"/>
                    </a:cubicBezTo>
                    <a:cubicBezTo>
                      <a:pt x="176" y="234"/>
                      <a:pt x="180" y="228"/>
                      <a:pt x="165" y="219"/>
                    </a:cubicBezTo>
                    <a:cubicBezTo>
                      <a:pt x="151" y="209"/>
                      <a:pt x="153" y="214"/>
                      <a:pt x="137" y="203"/>
                    </a:cubicBezTo>
                    <a:cubicBezTo>
                      <a:pt x="122" y="194"/>
                      <a:pt x="127" y="202"/>
                      <a:pt x="113" y="199"/>
                    </a:cubicBezTo>
                    <a:cubicBezTo>
                      <a:pt x="101" y="194"/>
                      <a:pt x="113" y="194"/>
                      <a:pt x="104" y="191"/>
                    </a:cubicBezTo>
                    <a:cubicBezTo>
                      <a:pt x="95" y="186"/>
                      <a:pt x="102" y="196"/>
                      <a:pt x="90" y="191"/>
                    </a:cubicBezTo>
                    <a:cubicBezTo>
                      <a:pt x="90" y="192"/>
                      <a:pt x="90" y="192"/>
                      <a:pt x="90" y="192"/>
                    </a:cubicBezTo>
                    <a:cubicBezTo>
                      <a:pt x="92" y="196"/>
                      <a:pt x="89" y="196"/>
                      <a:pt x="87" y="194"/>
                    </a:cubicBezTo>
                    <a:cubicBezTo>
                      <a:pt x="84" y="194"/>
                      <a:pt x="86" y="194"/>
                      <a:pt x="84" y="196"/>
                    </a:cubicBezTo>
                    <a:cubicBezTo>
                      <a:pt x="83" y="197"/>
                      <a:pt x="78" y="197"/>
                      <a:pt x="78" y="199"/>
                    </a:cubicBezTo>
                    <a:cubicBezTo>
                      <a:pt x="77" y="202"/>
                      <a:pt x="77" y="203"/>
                      <a:pt x="75" y="202"/>
                    </a:cubicBezTo>
                    <a:cubicBezTo>
                      <a:pt x="67" y="206"/>
                      <a:pt x="74" y="203"/>
                      <a:pt x="74" y="205"/>
                    </a:cubicBezTo>
                    <a:cubicBezTo>
                      <a:pt x="75" y="208"/>
                      <a:pt x="70" y="206"/>
                      <a:pt x="72" y="211"/>
                    </a:cubicBezTo>
                    <a:cubicBezTo>
                      <a:pt x="74" y="219"/>
                      <a:pt x="77" y="213"/>
                      <a:pt x="80" y="217"/>
                    </a:cubicBezTo>
                    <a:cubicBezTo>
                      <a:pt x="83" y="222"/>
                      <a:pt x="86" y="220"/>
                      <a:pt x="83" y="224"/>
                    </a:cubicBezTo>
                    <a:cubicBezTo>
                      <a:pt x="80" y="227"/>
                      <a:pt x="74" y="231"/>
                      <a:pt x="77" y="234"/>
                    </a:cubicBezTo>
                    <a:cubicBezTo>
                      <a:pt x="80" y="236"/>
                      <a:pt x="86" y="250"/>
                      <a:pt x="84" y="250"/>
                    </a:cubicBezTo>
                    <a:cubicBezTo>
                      <a:pt x="81" y="250"/>
                      <a:pt x="81" y="250"/>
                      <a:pt x="81" y="252"/>
                    </a:cubicBezTo>
                    <a:cubicBezTo>
                      <a:pt x="83" y="252"/>
                      <a:pt x="81" y="252"/>
                      <a:pt x="81" y="253"/>
                    </a:cubicBezTo>
                    <a:cubicBezTo>
                      <a:pt x="81" y="256"/>
                      <a:pt x="80" y="255"/>
                      <a:pt x="81" y="256"/>
                    </a:cubicBezTo>
                    <a:cubicBezTo>
                      <a:pt x="84" y="258"/>
                      <a:pt x="80" y="258"/>
                      <a:pt x="80" y="259"/>
                    </a:cubicBezTo>
                    <a:cubicBezTo>
                      <a:pt x="81" y="262"/>
                      <a:pt x="87" y="262"/>
                      <a:pt x="84" y="264"/>
                    </a:cubicBezTo>
                    <a:cubicBezTo>
                      <a:pt x="83" y="265"/>
                      <a:pt x="84" y="265"/>
                      <a:pt x="84" y="267"/>
                    </a:cubicBezTo>
                    <a:cubicBezTo>
                      <a:pt x="83" y="269"/>
                      <a:pt x="89" y="269"/>
                      <a:pt x="89" y="272"/>
                    </a:cubicBezTo>
                    <a:cubicBezTo>
                      <a:pt x="87" y="275"/>
                      <a:pt x="81" y="275"/>
                      <a:pt x="84" y="278"/>
                    </a:cubicBezTo>
                    <a:cubicBezTo>
                      <a:pt x="87" y="279"/>
                      <a:pt x="92" y="281"/>
                      <a:pt x="93" y="284"/>
                    </a:cubicBezTo>
                    <a:cubicBezTo>
                      <a:pt x="95" y="287"/>
                      <a:pt x="96" y="286"/>
                      <a:pt x="95" y="289"/>
                    </a:cubicBezTo>
                    <a:cubicBezTo>
                      <a:pt x="93" y="292"/>
                      <a:pt x="89" y="298"/>
                      <a:pt x="80" y="306"/>
                    </a:cubicBezTo>
                    <a:cubicBezTo>
                      <a:pt x="72" y="314"/>
                      <a:pt x="69" y="315"/>
                      <a:pt x="66" y="318"/>
                    </a:cubicBezTo>
                    <a:cubicBezTo>
                      <a:pt x="69" y="320"/>
                      <a:pt x="72" y="315"/>
                      <a:pt x="74" y="317"/>
                    </a:cubicBezTo>
                    <a:cubicBezTo>
                      <a:pt x="74" y="317"/>
                      <a:pt x="72" y="317"/>
                      <a:pt x="72" y="318"/>
                    </a:cubicBezTo>
                    <a:cubicBezTo>
                      <a:pt x="74" y="321"/>
                      <a:pt x="69" y="317"/>
                      <a:pt x="72" y="320"/>
                    </a:cubicBezTo>
                    <a:cubicBezTo>
                      <a:pt x="74" y="323"/>
                      <a:pt x="74" y="320"/>
                      <a:pt x="75" y="323"/>
                    </a:cubicBezTo>
                    <a:cubicBezTo>
                      <a:pt x="77" y="325"/>
                      <a:pt x="81" y="321"/>
                      <a:pt x="83" y="325"/>
                    </a:cubicBezTo>
                    <a:cubicBezTo>
                      <a:pt x="83" y="326"/>
                      <a:pt x="86" y="325"/>
                      <a:pt x="86" y="326"/>
                    </a:cubicBezTo>
                    <a:cubicBezTo>
                      <a:pt x="84" y="328"/>
                      <a:pt x="84" y="328"/>
                      <a:pt x="80" y="326"/>
                    </a:cubicBezTo>
                    <a:cubicBezTo>
                      <a:pt x="74" y="325"/>
                      <a:pt x="77" y="331"/>
                      <a:pt x="74" y="328"/>
                    </a:cubicBezTo>
                    <a:cubicBezTo>
                      <a:pt x="69" y="326"/>
                      <a:pt x="72" y="332"/>
                      <a:pt x="69" y="329"/>
                    </a:cubicBezTo>
                    <a:cubicBezTo>
                      <a:pt x="66" y="328"/>
                      <a:pt x="69" y="331"/>
                      <a:pt x="67" y="332"/>
                    </a:cubicBezTo>
                    <a:cubicBezTo>
                      <a:pt x="70" y="335"/>
                      <a:pt x="66" y="334"/>
                      <a:pt x="66" y="337"/>
                    </a:cubicBezTo>
                    <a:cubicBezTo>
                      <a:pt x="66" y="342"/>
                      <a:pt x="61" y="338"/>
                      <a:pt x="63" y="345"/>
                    </a:cubicBezTo>
                    <a:cubicBezTo>
                      <a:pt x="66" y="349"/>
                      <a:pt x="61" y="346"/>
                      <a:pt x="64" y="351"/>
                    </a:cubicBezTo>
                    <a:cubicBezTo>
                      <a:pt x="67" y="356"/>
                      <a:pt x="64" y="352"/>
                      <a:pt x="63" y="357"/>
                    </a:cubicBezTo>
                    <a:cubicBezTo>
                      <a:pt x="64" y="360"/>
                      <a:pt x="67" y="360"/>
                      <a:pt x="66" y="362"/>
                    </a:cubicBezTo>
                    <a:cubicBezTo>
                      <a:pt x="66" y="363"/>
                      <a:pt x="64" y="366"/>
                      <a:pt x="66" y="366"/>
                    </a:cubicBezTo>
                    <a:cubicBezTo>
                      <a:pt x="67" y="366"/>
                      <a:pt x="66" y="366"/>
                      <a:pt x="67" y="370"/>
                    </a:cubicBezTo>
                    <a:cubicBezTo>
                      <a:pt x="70" y="373"/>
                      <a:pt x="69" y="376"/>
                      <a:pt x="69" y="376"/>
                    </a:cubicBezTo>
                    <a:cubicBezTo>
                      <a:pt x="74" y="374"/>
                      <a:pt x="70" y="377"/>
                      <a:pt x="75" y="377"/>
                    </a:cubicBezTo>
                    <a:cubicBezTo>
                      <a:pt x="81" y="376"/>
                      <a:pt x="77" y="382"/>
                      <a:pt x="81" y="380"/>
                    </a:cubicBezTo>
                    <a:cubicBezTo>
                      <a:pt x="84" y="377"/>
                      <a:pt x="87" y="379"/>
                      <a:pt x="87" y="380"/>
                    </a:cubicBezTo>
                    <a:cubicBezTo>
                      <a:pt x="89" y="382"/>
                      <a:pt x="92" y="380"/>
                      <a:pt x="90" y="384"/>
                    </a:cubicBezTo>
                    <a:cubicBezTo>
                      <a:pt x="89" y="388"/>
                      <a:pt x="93" y="388"/>
                      <a:pt x="90" y="390"/>
                    </a:cubicBezTo>
                    <a:cubicBezTo>
                      <a:pt x="87" y="393"/>
                      <a:pt x="92" y="391"/>
                      <a:pt x="92" y="396"/>
                    </a:cubicBezTo>
                    <a:cubicBezTo>
                      <a:pt x="93" y="402"/>
                      <a:pt x="99" y="401"/>
                      <a:pt x="98" y="402"/>
                    </a:cubicBezTo>
                    <a:cubicBezTo>
                      <a:pt x="95" y="407"/>
                      <a:pt x="102" y="402"/>
                      <a:pt x="102" y="407"/>
                    </a:cubicBezTo>
                    <a:cubicBezTo>
                      <a:pt x="102" y="408"/>
                      <a:pt x="107" y="408"/>
                      <a:pt x="104" y="410"/>
                    </a:cubicBezTo>
                    <a:cubicBezTo>
                      <a:pt x="101" y="412"/>
                      <a:pt x="101" y="415"/>
                      <a:pt x="96" y="412"/>
                    </a:cubicBezTo>
                    <a:cubicBezTo>
                      <a:pt x="95" y="410"/>
                      <a:pt x="93" y="413"/>
                      <a:pt x="95" y="415"/>
                    </a:cubicBezTo>
                    <a:cubicBezTo>
                      <a:pt x="98" y="419"/>
                      <a:pt x="93" y="419"/>
                      <a:pt x="96" y="424"/>
                    </a:cubicBezTo>
                    <a:cubicBezTo>
                      <a:pt x="98" y="425"/>
                      <a:pt x="101" y="427"/>
                      <a:pt x="102" y="424"/>
                    </a:cubicBezTo>
                    <a:cubicBezTo>
                      <a:pt x="102" y="421"/>
                      <a:pt x="105" y="424"/>
                      <a:pt x="109" y="422"/>
                    </a:cubicBezTo>
                    <a:cubicBezTo>
                      <a:pt x="112" y="419"/>
                      <a:pt x="110" y="424"/>
                      <a:pt x="113" y="422"/>
                    </a:cubicBezTo>
                    <a:cubicBezTo>
                      <a:pt x="116" y="419"/>
                      <a:pt x="113" y="425"/>
                      <a:pt x="118" y="427"/>
                    </a:cubicBezTo>
                    <a:cubicBezTo>
                      <a:pt x="121" y="429"/>
                      <a:pt x="115" y="430"/>
                      <a:pt x="116" y="432"/>
                    </a:cubicBezTo>
                    <a:cubicBezTo>
                      <a:pt x="119" y="435"/>
                      <a:pt x="116" y="435"/>
                      <a:pt x="119" y="435"/>
                    </a:cubicBezTo>
                    <a:cubicBezTo>
                      <a:pt x="122" y="436"/>
                      <a:pt x="122" y="433"/>
                      <a:pt x="125" y="438"/>
                    </a:cubicBezTo>
                    <a:cubicBezTo>
                      <a:pt x="128" y="441"/>
                      <a:pt x="125" y="447"/>
                      <a:pt x="128" y="446"/>
                    </a:cubicBezTo>
                    <a:cubicBezTo>
                      <a:pt x="133" y="444"/>
                      <a:pt x="133" y="449"/>
                      <a:pt x="139" y="446"/>
                    </a:cubicBezTo>
                    <a:cubicBezTo>
                      <a:pt x="144" y="443"/>
                      <a:pt x="142" y="447"/>
                      <a:pt x="145" y="449"/>
                    </a:cubicBezTo>
                    <a:cubicBezTo>
                      <a:pt x="148" y="452"/>
                      <a:pt x="150" y="447"/>
                      <a:pt x="153" y="452"/>
                    </a:cubicBezTo>
                    <a:cubicBezTo>
                      <a:pt x="154" y="453"/>
                      <a:pt x="157" y="450"/>
                      <a:pt x="159" y="453"/>
                    </a:cubicBezTo>
                    <a:cubicBezTo>
                      <a:pt x="160" y="457"/>
                      <a:pt x="163" y="453"/>
                      <a:pt x="163" y="455"/>
                    </a:cubicBezTo>
                    <a:cubicBezTo>
                      <a:pt x="163" y="458"/>
                      <a:pt x="165" y="458"/>
                      <a:pt x="163" y="460"/>
                    </a:cubicBezTo>
                    <a:cubicBezTo>
                      <a:pt x="160" y="461"/>
                      <a:pt x="160" y="463"/>
                      <a:pt x="162" y="463"/>
                    </a:cubicBezTo>
                    <a:cubicBezTo>
                      <a:pt x="163" y="463"/>
                      <a:pt x="165" y="464"/>
                      <a:pt x="162" y="464"/>
                    </a:cubicBezTo>
                    <a:cubicBezTo>
                      <a:pt x="160" y="464"/>
                      <a:pt x="159" y="466"/>
                      <a:pt x="160" y="468"/>
                    </a:cubicBezTo>
                    <a:cubicBezTo>
                      <a:pt x="162" y="469"/>
                      <a:pt x="163" y="472"/>
                      <a:pt x="162" y="474"/>
                    </a:cubicBezTo>
                    <a:cubicBezTo>
                      <a:pt x="160" y="477"/>
                      <a:pt x="154" y="474"/>
                      <a:pt x="153" y="477"/>
                    </a:cubicBezTo>
                    <a:cubicBezTo>
                      <a:pt x="153" y="480"/>
                      <a:pt x="147" y="475"/>
                      <a:pt x="148" y="485"/>
                    </a:cubicBezTo>
                    <a:cubicBezTo>
                      <a:pt x="153" y="481"/>
                      <a:pt x="150" y="486"/>
                      <a:pt x="154" y="483"/>
                    </a:cubicBezTo>
                    <a:cubicBezTo>
                      <a:pt x="157" y="481"/>
                      <a:pt x="157" y="485"/>
                      <a:pt x="154" y="486"/>
                    </a:cubicBezTo>
                    <a:cubicBezTo>
                      <a:pt x="148" y="488"/>
                      <a:pt x="151" y="489"/>
                      <a:pt x="145" y="489"/>
                    </a:cubicBezTo>
                    <a:cubicBezTo>
                      <a:pt x="144" y="489"/>
                      <a:pt x="145" y="494"/>
                      <a:pt x="148" y="492"/>
                    </a:cubicBezTo>
                    <a:cubicBezTo>
                      <a:pt x="150" y="492"/>
                      <a:pt x="153" y="497"/>
                      <a:pt x="150" y="497"/>
                    </a:cubicBezTo>
                    <a:cubicBezTo>
                      <a:pt x="148" y="496"/>
                      <a:pt x="147" y="496"/>
                      <a:pt x="145" y="499"/>
                    </a:cubicBezTo>
                    <a:cubicBezTo>
                      <a:pt x="145" y="502"/>
                      <a:pt x="144" y="502"/>
                      <a:pt x="144" y="503"/>
                    </a:cubicBezTo>
                    <a:cubicBezTo>
                      <a:pt x="145" y="508"/>
                      <a:pt x="144" y="505"/>
                      <a:pt x="140" y="505"/>
                    </a:cubicBezTo>
                    <a:cubicBezTo>
                      <a:pt x="139" y="505"/>
                      <a:pt x="136" y="502"/>
                      <a:pt x="137" y="505"/>
                    </a:cubicBezTo>
                    <a:cubicBezTo>
                      <a:pt x="137" y="506"/>
                      <a:pt x="133" y="506"/>
                      <a:pt x="139" y="508"/>
                    </a:cubicBezTo>
                    <a:cubicBezTo>
                      <a:pt x="144" y="511"/>
                      <a:pt x="140" y="513"/>
                      <a:pt x="145" y="513"/>
                    </a:cubicBezTo>
                    <a:cubicBezTo>
                      <a:pt x="150" y="514"/>
                      <a:pt x="145" y="514"/>
                      <a:pt x="151" y="517"/>
                    </a:cubicBezTo>
                    <a:cubicBezTo>
                      <a:pt x="157" y="519"/>
                      <a:pt x="151" y="516"/>
                      <a:pt x="162" y="527"/>
                    </a:cubicBezTo>
                    <a:cubicBezTo>
                      <a:pt x="163" y="525"/>
                      <a:pt x="166" y="525"/>
                      <a:pt x="168" y="525"/>
                    </a:cubicBezTo>
                    <a:cubicBezTo>
                      <a:pt x="169" y="525"/>
                      <a:pt x="169" y="528"/>
                      <a:pt x="172" y="528"/>
                    </a:cubicBezTo>
                    <a:cubicBezTo>
                      <a:pt x="176" y="528"/>
                      <a:pt x="174" y="531"/>
                      <a:pt x="179" y="528"/>
                    </a:cubicBezTo>
                    <a:cubicBezTo>
                      <a:pt x="182" y="527"/>
                      <a:pt x="183" y="530"/>
                      <a:pt x="185" y="530"/>
                    </a:cubicBezTo>
                    <a:cubicBezTo>
                      <a:pt x="186" y="530"/>
                      <a:pt x="186" y="531"/>
                      <a:pt x="191" y="533"/>
                    </a:cubicBezTo>
                    <a:cubicBezTo>
                      <a:pt x="195" y="534"/>
                      <a:pt x="191" y="534"/>
                      <a:pt x="192" y="536"/>
                    </a:cubicBezTo>
                    <a:cubicBezTo>
                      <a:pt x="195" y="537"/>
                      <a:pt x="197" y="533"/>
                      <a:pt x="198" y="534"/>
                    </a:cubicBezTo>
                    <a:cubicBezTo>
                      <a:pt x="201" y="536"/>
                      <a:pt x="201" y="533"/>
                      <a:pt x="203" y="534"/>
                    </a:cubicBezTo>
                    <a:cubicBezTo>
                      <a:pt x="204" y="534"/>
                      <a:pt x="204" y="536"/>
                      <a:pt x="207" y="536"/>
                    </a:cubicBezTo>
                    <a:cubicBezTo>
                      <a:pt x="211" y="536"/>
                      <a:pt x="206" y="539"/>
                      <a:pt x="207" y="541"/>
                    </a:cubicBezTo>
                    <a:cubicBezTo>
                      <a:pt x="209" y="542"/>
                      <a:pt x="209" y="542"/>
                      <a:pt x="214" y="544"/>
                    </a:cubicBezTo>
                    <a:cubicBezTo>
                      <a:pt x="215" y="547"/>
                      <a:pt x="217" y="542"/>
                      <a:pt x="217" y="545"/>
                    </a:cubicBezTo>
                    <a:cubicBezTo>
                      <a:pt x="218" y="548"/>
                      <a:pt x="220" y="545"/>
                      <a:pt x="220" y="548"/>
                    </a:cubicBezTo>
                    <a:cubicBezTo>
                      <a:pt x="221" y="553"/>
                      <a:pt x="226" y="551"/>
                      <a:pt x="226" y="550"/>
                    </a:cubicBezTo>
                    <a:cubicBezTo>
                      <a:pt x="227" y="548"/>
                      <a:pt x="229" y="547"/>
                      <a:pt x="230" y="545"/>
                    </a:cubicBezTo>
                    <a:cubicBezTo>
                      <a:pt x="226" y="534"/>
                      <a:pt x="221" y="536"/>
                      <a:pt x="223" y="527"/>
                    </a:cubicBezTo>
                    <a:cubicBezTo>
                      <a:pt x="224" y="516"/>
                      <a:pt x="221" y="527"/>
                      <a:pt x="221" y="520"/>
                    </a:cubicBezTo>
                    <a:cubicBezTo>
                      <a:pt x="221" y="514"/>
                      <a:pt x="212" y="516"/>
                      <a:pt x="217" y="513"/>
                    </a:cubicBezTo>
                    <a:cubicBezTo>
                      <a:pt x="220" y="509"/>
                      <a:pt x="221" y="505"/>
                      <a:pt x="226" y="500"/>
                    </a:cubicBezTo>
                    <a:cubicBezTo>
                      <a:pt x="230" y="496"/>
                      <a:pt x="232" y="500"/>
                      <a:pt x="232" y="497"/>
                    </a:cubicBezTo>
                    <a:cubicBezTo>
                      <a:pt x="232" y="496"/>
                      <a:pt x="232" y="497"/>
                      <a:pt x="233" y="492"/>
                    </a:cubicBezTo>
                    <a:cubicBezTo>
                      <a:pt x="226" y="488"/>
                      <a:pt x="238" y="491"/>
                      <a:pt x="230" y="483"/>
                    </a:cubicBezTo>
                    <a:cubicBezTo>
                      <a:pt x="224" y="475"/>
                      <a:pt x="224" y="475"/>
                      <a:pt x="221" y="477"/>
                    </a:cubicBezTo>
                    <a:cubicBezTo>
                      <a:pt x="218" y="477"/>
                      <a:pt x="221" y="472"/>
                      <a:pt x="217" y="469"/>
                    </a:cubicBezTo>
                    <a:cubicBezTo>
                      <a:pt x="211" y="468"/>
                      <a:pt x="220" y="461"/>
                      <a:pt x="217" y="457"/>
                    </a:cubicBezTo>
                    <a:cubicBezTo>
                      <a:pt x="214" y="453"/>
                      <a:pt x="221" y="443"/>
                      <a:pt x="224" y="446"/>
                    </a:cubicBezTo>
                    <a:cubicBezTo>
                      <a:pt x="230" y="455"/>
                      <a:pt x="232" y="452"/>
                      <a:pt x="232" y="446"/>
                    </a:cubicBezTo>
                    <a:cubicBezTo>
                      <a:pt x="232" y="440"/>
                      <a:pt x="242" y="436"/>
                      <a:pt x="247" y="432"/>
                    </a:cubicBezTo>
                    <a:cubicBezTo>
                      <a:pt x="250" y="425"/>
                      <a:pt x="252" y="435"/>
                      <a:pt x="256" y="430"/>
                    </a:cubicBezTo>
                    <a:cubicBezTo>
                      <a:pt x="262" y="427"/>
                      <a:pt x="261" y="432"/>
                      <a:pt x="268" y="433"/>
                    </a:cubicBezTo>
                    <a:cubicBezTo>
                      <a:pt x="276" y="433"/>
                      <a:pt x="284" y="447"/>
                      <a:pt x="290" y="443"/>
                    </a:cubicBezTo>
                    <a:cubicBezTo>
                      <a:pt x="293" y="438"/>
                      <a:pt x="294" y="435"/>
                      <a:pt x="299" y="438"/>
                    </a:cubicBezTo>
                    <a:cubicBezTo>
                      <a:pt x="303" y="441"/>
                      <a:pt x="303" y="433"/>
                      <a:pt x="313" y="441"/>
                    </a:cubicBezTo>
                    <a:cubicBezTo>
                      <a:pt x="322" y="447"/>
                      <a:pt x="317" y="436"/>
                      <a:pt x="323" y="441"/>
                    </a:cubicBezTo>
                    <a:cubicBezTo>
                      <a:pt x="331" y="446"/>
                      <a:pt x="338" y="435"/>
                      <a:pt x="329" y="432"/>
                    </a:cubicBezTo>
                    <a:cubicBezTo>
                      <a:pt x="313" y="424"/>
                      <a:pt x="334" y="425"/>
                      <a:pt x="328" y="419"/>
                    </a:cubicBezTo>
                    <a:cubicBezTo>
                      <a:pt x="322" y="415"/>
                      <a:pt x="343" y="415"/>
                      <a:pt x="335" y="412"/>
                    </a:cubicBezTo>
                    <a:cubicBezTo>
                      <a:pt x="328" y="408"/>
                      <a:pt x="325" y="401"/>
                      <a:pt x="334" y="401"/>
                    </a:cubicBezTo>
                    <a:cubicBezTo>
                      <a:pt x="343" y="401"/>
                      <a:pt x="373" y="394"/>
                      <a:pt x="381" y="390"/>
                    </a:cubicBezTo>
                    <a:cubicBezTo>
                      <a:pt x="390" y="387"/>
                      <a:pt x="392" y="380"/>
                      <a:pt x="398" y="385"/>
                    </a:cubicBezTo>
                    <a:cubicBezTo>
                      <a:pt x="402" y="388"/>
                      <a:pt x="406" y="380"/>
                      <a:pt x="409" y="391"/>
                    </a:cubicBezTo>
                    <a:cubicBezTo>
                      <a:pt x="411" y="404"/>
                      <a:pt x="416" y="396"/>
                      <a:pt x="422" y="399"/>
                    </a:cubicBezTo>
                    <a:cubicBezTo>
                      <a:pt x="428" y="402"/>
                      <a:pt x="433" y="399"/>
                      <a:pt x="428" y="404"/>
                    </a:cubicBezTo>
                    <a:cubicBezTo>
                      <a:pt x="424" y="408"/>
                      <a:pt x="433" y="408"/>
                      <a:pt x="445" y="401"/>
                    </a:cubicBezTo>
                    <a:cubicBezTo>
                      <a:pt x="457" y="391"/>
                      <a:pt x="456" y="398"/>
                      <a:pt x="453" y="401"/>
                    </a:cubicBezTo>
                    <a:cubicBezTo>
                      <a:pt x="450" y="404"/>
                      <a:pt x="462" y="405"/>
                      <a:pt x="472" y="425"/>
                    </a:cubicBezTo>
                    <a:cubicBezTo>
                      <a:pt x="486" y="455"/>
                      <a:pt x="480" y="429"/>
                      <a:pt x="489" y="436"/>
                    </a:cubicBezTo>
                    <a:cubicBezTo>
                      <a:pt x="500" y="446"/>
                      <a:pt x="504" y="433"/>
                      <a:pt x="514" y="443"/>
                    </a:cubicBezTo>
                    <a:cubicBezTo>
                      <a:pt x="521" y="453"/>
                      <a:pt x="524" y="460"/>
                      <a:pt x="530" y="453"/>
                    </a:cubicBezTo>
                    <a:cubicBezTo>
                      <a:pt x="538" y="449"/>
                      <a:pt x="530" y="455"/>
                      <a:pt x="538" y="461"/>
                    </a:cubicBezTo>
                    <a:cubicBezTo>
                      <a:pt x="538" y="461"/>
                      <a:pt x="538" y="461"/>
                      <a:pt x="543" y="460"/>
                    </a:cubicBezTo>
                    <a:cubicBezTo>
                      <a:pt x="547" y="453"/>
                      <a:pt x="546" y="458"/>
                      <a:pt x="553" y="455"/>
                    </a:cubicBezTo>
                    <a:cubicBezTo>
                      <a:pt x="559" y="453"/>
                      <a:pt x="553" y="452"/>
                      <a:pt x="562" y="447"/>
                    </a:cubicBezTo>
                    <a:cubicBezTo>
                      <a:pt x="571" y="443"/>
                      <a:pt x="578" y="440"/>
                      <a:pt x="582" y="443"/>
                    </a:cubicBezTo>
                    <a:cubicBezTo>
                      <a:pt x="587" y="446"/>
                      <a:pt x="593" y="440"/>
                      <a:pt x="594" y="446"/>
                    </a:cubicBezTo>
                    <a:cubicBezTo>
                      <a:pt x="596" y="450"/>
                      <a:pt x="622" y="455"/>
                      <a:pt x="625" y="447"/>
                    </a:cubicBezTo>
                    <a:cubicBezTo>
                      <a:pt x="626" y="441"/>
                      <a:pt x="617" y="441"/>
                      <a:pt x="623" y="433"/>
                    </a:cubicBezTo>
                    <a:cubicBezTo>
                      <a:pt x="629" y="424"/>
                      <a:pt x="626" y="424"/>
                      <a:pt x="640" y="429"/>
                    </a:cubicBezTo>
                    <a:cubicBezTo>
                      <a:pt x="652" y="435"/>
                      <a:pt x="657" y="429"/>
                      <a:pt x="657" y="436"/>
                    </a:cubicBezTo>
                    <a:cubicBezTo>
                      <a:pt x="657" y="444"/>
                      <a:pt x="664" y="450"/>
                      <a:pt x="672" y="447"/>
                    </a:cubicBezTo>
                    <a:cubicBezTo>
                      <a:pt x="681" y="444"/>
                      <a:pt x="683" y="444"/>
                      <a:pt x="693" y="449"/>
                    </a:cubicBezTo>
                    <a:cubicBezTo>
                      <a:pt x="704" y="452"/>
                      <a:pt x="698" y="455"/>
                      <a:pt x="712" y="458"/>
                    </a:cubicBezTo>
                    <a:cubicBezTo>
                      <a:pt x="731" y="463"/>
                      <a:pt x="724" y="455"/>
                      <a:pt x="736" y="457"/>
                    </a:cubicBezTo>
                    <a:cubicBezTo>
                      <a:pt x="748" y="457"/>
                      <a:pt x="745" y="441"/>
                      <a:pt x="756" y="447"/>
                    </a:cubicBezTo>
                    <a:cubicBezTo>
                      <a:pt x="765" y="453"/>
                      <a:pt x="765" y="447"/>
                      <a:pt x="771" y="452"/>
                    </a:cubicBezTo>
                    <a:cubicBezTo>
                      <a:pt x="779" y="457"/>
                      <a:pt x="782" y="457"/>
                      <a:pt x="788" y="450"/>
                    </a:cubicBezTo>
                    <a:cubicBezTo>
                      <a:pt x="794" y="444"/>
                      <a:pt x="792" y="440"/>
                      <a:pt x="800" y="430"/>
                    </a:cubicBezTo>
                    <a:cubicBezTo>
                      <a:pt x="806" y="422"/>
                      <a:pt x="803" y="419"/>
                      <a:pt x="798" y="419"/>
                    </a:cubicBezTo>
                    <a:cubicBezTo>
                      <a:pt x="794" y="419"/>
                      <a:pt x="800" y="410"/>
                      <a:pt x="815" y="408"/>
                    </a:cubicBezTo>
                    <a:cubicBezTo>
                      <a:pt x="829" y="407"/>
                      <a:pt x="833" y="412"/>
                      <a:pt x="838" y="412"/>
                    </a:cubicBezTo>
                    <a:cubicBezTo>
                      <a:pt x="842" y="412"/>
                      <a:pt x="852" y="424"/>
                      <a:pt x="855" y="440"/>
                    </a:cubicBezTo>
                    <a:cubicBezTo>
                      <a:pt x="856" y="457"/>
                      <a:pt x="859" y="455"/>
                      <a:pt x="868" y="457"/>
                    </a:cubicBezTo>
                    <a:cubicBezTo>
                      <a:pt x="877" y="458"/>
                      <a:pt x="874" y="463"/>
                      <a:pt x="879" y="463"/>
                    </a:cubicBezTo>
                    <a:cubicBezTo>
                      <a:pt x="884" y="464"/>
                      <a:pt x="879" y="468"/>
                      <a:pt x="882" y="469"/>
                    </a:cubicBezTo>
                    <a:cubicBezTo>
                      <a:pt x="885" y="471"/>
                      <a:pt x="879" y="472"/>
                      <a:pt x="884" y="475"/>
                    </a:cubicBezTo>
                    <a:cubicBezTo>
                      <a:pt x="888" y="480"/>
                      <a:pt x="894" y="478"/>
                      <a:pt x="899" y="474"/>
                    </a:cubicBezTo>
                    <a:cubicBezTo>
                      <a:pt x="903" y="471"/>
                      <a:pt x="903" y="475"/>
                      <a:pt x="908" y="471"/>
                    </a:cubicBezTo>
                    <a:cubicBezTo>
                      <a:pt x="912" y="466"/>
                      <a:pt x="917" y="474"/>
                      <a:pt x="912" y="480"/>
                    </a:cubicBezTo>
                    <a:cubicBezTo>
                      <a:pt x="908" y="488"/>
                      <a:pt x="905" y="511"/>
                      <a:pt x="899" y="508"/>
                    </a:cubicBezTo>
                    <a:cubicBezTo>
                      <a:pt x="893" y="505"/>
                      <a:pt x="891" y="503"/>
                      <a:pt x="890" y="506"/>
                    </a:cubicBezTo>
                    <a:cubicBezTo>
                      <a:pt x="888" y="511"/>
                      <a:pt x="882" y="506"/>
                      <a:pt x="885" y="513"/>
                    </a:cubicBezTo>
                    <a:cubicBezTo>
                      <a:pt x="887" y="519"/>
                      <a:pt x="888" y="525"/>
                      <a:pt x="885" y="530"/>
                    </a:cubicBezTo>
                    <a:cubicBezTo>
                      <a:pt x="884" y="536"/>
                      <a:pt x="882" y="530"/>
                      <a:pt x="881" y="536"/>
                    </a:cubicBezTo>
                    <a:cubicBezTo>
                      <a:pt x="881" y="536"/>
                      <a:pt x="881" y="536"/>
                      <a:pt x="882" y="539"/>
                    </a:cubicBezTo>
                    <a:cubicBezTo>
                      <a:pt x="885" y="536"/>
                      <a:pt x="882" y="534"/>
                      <a:pt x="884" y="536"/>
                    </a:cubicBezTo>
                    <a:cubicBezTo>
                      <a:pt x="887" y="536"/>
                      <a:pt x="887" y="536"/>
                      <a:pt x="888" y="533"/>
                    </a:cubicBezTo>
                    <a:cubicBezTo>
                      <a:pt x="890" y="530"/>
                      <a:pt x="888" y="528"/>
                      <a:pt x="891" y="528"/>
                    </a:cubicBezTo>
                    <a:cubicBezTo>
                      <a:pt x="893" y="528"/>
                      <a:pt x="890" y="533"/>
                      <a:pt x="893" y="530"/>
                    </a:cubicBezTo>
                    <a:cubicBezTo>
                      <a:pt x="896" y="528"/>
                      <a:pt x="893" y="533"/>
                      <a:pt x="896" y="533"/>
                    </a:cubicBezTo>
                    <a:cubicBezTo>
                      <a:pt x="897" y="533"/>
                      <a:pt x="899" y="534"/>
                      <a:pt x="900" y="534"/>
                    </a:cubicBezTo>
                    <a:cubicBezTo>
                      <a:pt x="902" y="536"/>
                      <a:pt x="902" y="534"/>
                      <a:pt x="906" y="533"/>
                    </a:cubicBezTo>
                    <a:cubicBezTo>
                      <a:pt x="909" y="533"/>
                      <a:pt x="908" y="531"/>
                      <a:pt x="914" y="528"/>
                    </a:cubicBezTo>
                    <a:cubicBezTo>
                      <a:pt x="919" y="525"/>
                      <a:pt x="922" y="516"/>
                      <a:pt x="934" y="505"/>
                    </a:cubicBezTo>
                    <a:cubicBezTo>
                      <a:pt x="944" y="492"/>
                      <a:pt x="941" y="486"/>
                      <a:pt x="946" y="483"/>
                    </a:cubicBezTo>
                    <a:cubicBezTo>
                      <a:pt x="952" y="478"/>
                      <a:pt x="947" y="478"/>
                      <a:pt x="954" y="472"/>
                    </a:cubicBezTo>
                    <a:cubicBezTo>
                      <a:pt x="961" y="466"/>
                      <a:pt x="961" y="449"/>
                      <a:pt x="960" y="444"/>
                    </a:cubicBezTo>
                    <a:cubicBezTo>
                      <a:pt x="958" y="440"/>
                      <a:pt x="961" y="440"/>
                      <a:pt x="963" y="435"/>
                    </a:cubicBezTo>
                    <a:cubicBezTo>
                      <a:pt x="964" y="429"/>
                      <a:pt x="970" y="427"/>
                      <a:pt x="966" y="422"/>
                    </a:cubicBezTo>
                    <a:cubicBezTo>
                      <a:pt x="963" y="419"/>
                      <a:pt x="967" y="419"/>
                      <a:pt x="964" y="416"/>
                    </a:cubicBezTo>
                    <a:cubicBezTo>
                      <a:pt x="963" y="412"/>
                      <a:pt x="970" y="413"/>
                      <a:pt x="966" y="408"/>
                    </a:cubicBezTo>
                    <a:cubicBezTo>
                      <a:pt x="960" y="405"/>
                      <a:pt x="958" y="402"/>
                      <a:pt x="957" y="401"/>
                    </a:cubicBezTo>
                    <a:cubicBezTo>
                      <a:pt x="954" y="398"/>
                      <a:pt x="951" y="401"/>
                      <a:pt x="947" y="399"/>
                    </a:cubicBezTo>
                    <a:cubicBezTo>
                      <a:pt x="944" y="398"/>
                      <a:pt x="947" y="405"/>
                      <a:pt x="940" y="407"/>
                    </a:cubicBezTo>
                    <a:cubicBezTo>
                      <a:pt x="929" y="410"/>
                      <a:pt x="943" y="396"/>
                      <a:pt x="935" y="399"/>
                    </a:cubicBezTo>
                    <a:cubicBezTo>
                      <a:pt x="929" y="401"/>
                      <a:pt x="937" y="404"/>
                      <a:pt x="931" y="404"/>
                    </a:cubicBezTo>
                    <a:cubicBezTo>
                      <a:pt x="925" y="404"/>
                      <a:pt x="937" y="394"/>
                      <a:pt x="926" y="394"/>
                    </a:cubicBezTo>
                    <a:cubicBezTo>
                      <a:pt x="917" y="394"/>
                      <a:pt x="912" y="393"/>
                      <a:pt x="925" y="385"/>
                    </a:cubicBezTo>
                    <a:cubicBezTo>
                      <a:pt x="938" y="376"/>
                      <a:pt x="940" y="376"/>
                      <a:pt x="943" y="368"/>
                    </a:cubicBezTo>
                    <a:cubicBezTo>
                      <a:pt x="946" y="360"/>
                      <a:pt x="957" y="360"/>
                      <a:pt x="960" y="351"/>
                    </a:cubicBezTo>
                    <a:cubicBezTo>
                      <a:pt x="964" y="342"/>
                      <a:pt x="979" y="332"/>
                      <a:pt x="987" y="334"/>
                    </a:cubicBezTo>
                    <a:cubicBezTo>
                      <a:pt x="995" y="337"/>
                      <a:pt x="998" y="332"/>
                      <a:pt x="1002" y="335"/>
                    </a:cubicBezTo>
                    <a:cubicBezTo>
                      <a:pt x="1007" y="338"/>
                      <a:pt x="1002" y="332"/>
                      <a:pt x="1013" y="334"/>
                    </a:cubicBezTo>
                    <a:cubicBezTo>
                      <a:pt x="1025" y="335"/>
                      <a:pt x="1025" y="338"/>
                      <a:pt x="1028" y="331"/>
                    </a:cubicBezTo>
                    <a:cubicBezTo>
                      <a:pt x="1028" y="329"/>
                      <a:pt x="1056" y="329"/>
                      <a:pt x="1047" y="337"/>
                    </a:cubicBezTo>
                    <a:cubicBezTo>
                      <a:pt x="1039" y="343"/>
                      <a:pt x="1059" y="338"/>
                      <a:pt x="1060" y="337"/>
                    </a:cubicBezTo>
                    <a:cubicBezTo>
                      <a:pt x="1063" y="332"/>
                      <a:pt x="1066" y="343"/>
                      <a:pt x="1074" y="337"/>
                    </a:cubicBezTo>
                    <a:cubicBezTo>
                      <a:pt x="1082" y="332"/>
                      <a:pt x="1059" y="332"/>
                      <a:pt x="1075" y="320"/>
                    </a:cubicBezTo>
                    <a:cubicBezTo>
                      <a:pt x="1092" y="309"/>
                      <a:pt x="1085" y="304"/>
                      <a:pt x="1104" y="303"/>
                    </a:cubicBezTo>
                    <a:cubicBezTo>
                      <a:pt x="1121" y="300"/>
                      <a:pt x="1107" y="323"/>
                      <a:pt x="1120" y="317"/>
                    </a:cubicBezTo>
                    <a:cubicBezTo>
                      <a:pt x="1132" y="310"/>
                      <a:pt x="1129" y="303"/>
                      <a:pt x="1136" y="306"/>
                    </a:cubicBezTo>
                    <a:cubicBezTo>
                      <a:pt x="1144" y="307"/>
                      <a:pt x="1132" y="290"/>
                      <a:pt x="1146" y="290"/>
                    </a:cubicBezTo>
                    <a:cubicBezTo>
                      <a:pt x="1159" y="292"/>
                      <a:pt x="1147" y="290"/>
                      <a:pt x="1146" y="304"/>
                    </a:cubicBezTo>
                    <a:cubicBezTo>
                      <a:pt x="1142" y="318"/>
                      <a:pt x="1133" y="314"/>
                      <a:pt x="1121" y="329"/>
                    </a:cubicBezTo>
                    <a:cubicBezTo>
                      <a:pt x="1109" y="345"/>
                      <a:pt x="1103" y="351"/>
                      <a:pt x="1095" y="352"/>
                    </a:cubicBezTo>
                    <a:cubicBezTo>
                      <a:pt x="1086" y="356"/>
                      <a:pt x="1094" y="359"/>
                      <a:pt x="1086" y="365"/>
                    </a:cubicBezTo>
                    <a:cubicBezTo>
                      <a:pt x="1077" y="371"/>
                      <a:pt x="1080" y="398"/>
                      <a:pt x="1085" y="421"/>
                    </a:cubicBezTo>
                    <a:cubicBezTo>
                      <a:pt x="1086" y="430"/>
                      <a:pt x="1085" y="449"/>
                      <a:pt x="1098" y="429"/>
                    </a:cubicBezTo>
                    <a:cubicBezTo>
                      <a:pt x="1107" y="416"/>
                      <a:pt x="1098" y="412"/>
                      <a:pt x="1111" y="412"/>
                    </a:cubicBezTo>
                    <a:cubicBezTo>
                      <a:pt x="1120" y="412"/>
                      <a:pt x="1109" y="396"/>
                      <a:pt x="1121" y="396"/>
                    </a:cubicBezTo>
                    <a:cubicBezTo>
                      <a:pt x="1139" y="394"/>
                      <a:pt x="1124" y="387"/>
                      <a:pt x="1129" y="379"/>
                    </a:cubicBezTo>
                    <a:cubicBezTo>
                      <a:pt x="1133" y="370"/>
                      <a:pt x="1139" y="382"/>
                      <a:pt x="1141" y="374"/>
                    </a:cubicBezTo>
                    <a:cubicBezTo>
                      <a:pt x="1142" y="365"/>
                      <a:pt x="1130" y="368"/>
                      <a:pt x="1136" y="360"/>
                    </a:cubicBezTo>
                    <a:cubicBezTo>
                      <a:pt x="1147" y="348"/>
                      <a:pt x="1121" y="354"/>
                      <a:pt x="1133" y="345"/>
                    </a:cubicBezTo>
                    <a:cubicBezTo>
                      <a:pt x="1146" y="334"/>
                      <a:pt x="1138" y="329"/>
                      <a:pt x="1146" y="326"/>
                    </a:cubicBezTo>
                    <a:cubicBezTo>
                      <a:pt x="1155" y="323"/>
                      <a:pt x="1147" y="331"/>
                      <a:pt x="1158" y="323"/>
                    </a:cubicBezTo>
                    <a:cubicBezTo>
                      <a:pt x="1171" y="312"/>
                      <a:pt x="1155" y="337"/>
                      <a:pt x="1167" y="326"/>
                    </a:cubicBezTo>
                    <a:cubicBezTo>
                      <a:pt x="1181" y="314"/>
                      <a:pt x="1188" y="318"/>
                      <a:pt x="1194" y="326"/>
                    </a:cubicBezTo>
                    <a:cubicBezTo>
                      <a:pt x="1200" y="332"/>
                      <a:pt x="1190" y="325"/>
                      <a:pt x="1213" y="312"/>
                    </a:cubicBezTo>
                    <a:cubicBezTo>
                      <a:pt x="1222" y="307"/>
                      <a:pt x="1229" y="298"/>
                      <a:pt x="1241" y="295"/>
                    </a:cubicBezTo>
                    <a:cubicBezTo>
                      <a:pt x="1263" y="287"/>
                      <a:pt x="1263" y="298"/>
                      <a:pt x="1267" y="293"/>
                    </a:cubicBezTo>
                    <a:cubicBezTo>
                      <a:pt x="1273" y="287"/>
                      <a:pt x="1266" y="286"/>
                      <a:pt x="1263" y="275"/>
                    </a:cubicBezTo>
                    <a:cubicBezTo>
                      <a:pt x="1258" y="262"/>
                      <a:pt x="1255" y="275"/>
                      <a:pt x="1252" y="265"/>
                    </a:cubicBezTo>
                    <a:cubicBezTo>
                      <a:pt x="1251" y="259"/>
                      <a:pt x="1264" y="269"/>
                      <a:pt x="1270" y="259"/>
                    </a:cubicBezTo>
                    <a:cubicBezTo>
                      <a:pt x="1272" y="258"/>
                      <a:pt x="1273" y="258"/>
                      <a:pt x="1273" y="256"/>
                    </a:cubicBezTo>
                    <a:cubicBezTo>
                      <a:pt x="1273" y="256"/>
                      <a:pt x="1273" y="256"/>
                      <a:pt x="1273" y="256"/>
                    </a:cubicBezTo>
                    <a:close/>
                    <a:moveTo>
                      <a:pt x="969" y="421"/>
                    </a:moveTo>
                    <a:cubicBezTo>
                      <a:pt x="967" y="424"/>
                      <a:pt x="970" y="422"/>
                      <a:pt x="969" y="425"/>
                    </a:cubicBezTo>
                    <a:cubicBezTo>
                      <a:pt x="967" y="429"/>
                      <a:pt x="970" y="429"/>
                      <a:pt x="970" y="430"/>
                    </a:cubicBezTo>
                    <a:cubicBezTo>
                      <a:pt x="969" y="430"/>
                      <a:pt x="972" y="430"/>
                      <a:pt x="973" y="435"/>
                    </a:cubicBezTo>
                    <a:cubicBezTo>
                      <a:pt x="975" y="438"/>
                      <a:pt x="970" y="441"/>
                      <a:pt x="972" y="444"/>
                    </a:cubicBezTo>
                    <a:cubicBezTo>
                      <a:pt x="973" y="449"/>
                      <a:pt x="972" y="461"/>
                      <a:pt x="970" y="464"/>
                    </a:cubicBezTo>
                    <a:cubicBezTo>
                      <a:pt x="969" y="468"/>
                      <a:pt x="975" y="468"/>
                      <a:pt x="972" y="477"/>
                    </a:cubicBezTo>
                    <a:cubicBezTo>
                      <a:pt x="969" y="481"/>
                      <a:pt x="973" y="485"/>
                      <a:pt x="972" y="488"/>
                    </a:cubicBezTo>
                    <a:cubicBezTo>
                      <a:pt x="969" y="491"/>
                      <a:pt x="970" y="492"/>
                      <a:pt x="970" y="496"/>
                    </a:cubicBezTo>
                    <a:cubicBezTo>
                      <a:pt x="972" y="500"/>
                      <a:pt x="973" y="499"/>
                      <a:pt x="973" y="494"/>
                    </a:cubicBezTo>
                    <a:cubicBezTo>
                      <a:pt x="975" y="489"/>
                      <a:pt x="977" y="488"/>
                      <a:pt x="978" y="489"/>
                    </a:cubicBezTo>
                    <a:cubicBezTo>
                      <a:pt x="978" y="491"/>
                      <a:pt x="979" y="489"/>
                      <a:pt x="981" y="491"/>
                    </a:cubicBezTo>
                    <a:cubicBezTo>
                      <a:pt x="983" y="491"/>
                      <a:pt x="983" y="497"/>
                      <a:pt x="983" y="496"/>
                    </a:cubicBezTo>
                    <a:cubicBezTo>
                      <a:pt x="986" y="491"/>
                      <a:pt x="984" y="492"/>
                      <a:pt x="984" y="489"/>
                    </a:cubicBezTo>
                    <a:cubicBezTo>
                      <a:pt x="984" y="486"/>
                      <a:pt x="984" y="488"/>
                      <a:pt x="981" y="488"/>
                    </a:cubicBezTo>
                    <a:cubicBezTo>
                      <a:pt x="979" y="486"/>
                      <a:pt x="979" y="483"/>
                      <a:pt x="978" y="480"/>
                    </a:cubicBezTo>
                    <a:cubicBezTo>
                      <a:pt x="973" y="477"/>
                      <a:pt x="977" y="468"/>
                      <a:pt x="978" y="464"/>
                    </a:cubicBezTo>
                    <a:cubicBezTo>
                      <a:pt x="981" y="463"/>
                      <a:pt x="978" y="460"/>
                      <a:pt x="981" y="458"/>
                    </a:cubicBezTo>
                    <a:cubicBezTo>
                      <a:pt x="984" y="458"/>
                      <a:pt x="987" y="458"/>
                      <a:pt x="990" y="461"/>
                    </a:cubicBezTo>
                    <a:cubicBezTo>
                      <a:pt x="992" y="464"/>
                      <a:pt x="993" y="468"/>
                      <a:pt x="993" y="464"/>
                    </a:cubicBezTo>
                    <a:cubicBezTo>
                      <a:pt x="993" y="463"/>
                      <a:pt x="990" y="460"/>
                      <a:pt x="989" y="457"/>
                    </a:cubicBezTo>
                    <a:cubicBezTo>
                      <a:pt x="989" y="452"/>
                      <a:pt x="986" y="446"/>
                      <a:pt x="984" y="441"/>
                    </a:cubicBezTo>
                    <a:cubicBezTo>
                      <a:pt x="984" y="436"/>
                      <a:pt x="983" y="435"/>
                      <a:pt x="983" y="432"/>
                    </a:cubicBezTo>
                    <a:cubicBezTo>
                      <a:pt x="983" y="429"/>
                      <a:pt x="981" y="433"/>
                      <a:pt x="981" y="430"/>
                    </a:cubicBezTo>
                    <a:cubicBezTo>
                      <a:pt x="983" y="425"/>
                      <a:pt x="981" y="430"/>
                      <a:pt x="981" y="427"/>
                    </a:cubicBezTo>
                    <a:cubicBezTo>
                      <a:pt x="979" y="422"/>
                      <a:pt x="984" y="422"/>
                      <a:pt x="983" y="413"/>
                    </a:cubicBezTo>
                    <a:cubicBezTo>
                      <a:pt x="981" y="407"/>
                      <a:pt x="979" y="410"/>
                      <a:pt x="981" y="408"/>
                    </a:cubicBezTo>
                    <a:cubicBezTo>
                      <a:pt x="981" y="407"/>
                      <a:pt x="979" y="408"/>
                      <a:pt x="979" y="407"/>
                    </a:cubicBezTo>
                    <a:cubicBezTo>
                      <a:pt x="979" y="404"/>
                      <a:pt x="978" y="404"/>
                      <a:pt x="979" y="402"/>
                    </a:cubicBezTo>
                    <a:cubicBezTo>
                      <a:pt x="981" y="401"/>
                      <a:pt x="979" y="399"/>
                      <a:pt x="978" y="398"/>
                    </a:cubicBezTo>
                    <a:cubicBezTo>
                      <a:pt x="977" y="394"/>
                      <a:pt x="978" y="398"/>
                      <a:pt x="975" y="398"/>
                    </a:cubicBezTo>
                    <a:cubicBezTo>
                      <a:pt x="972" y="399"/>
                      <a:pt x="978" y="401"/>
                      <a:pt x="977" y="404"/>
                    </a:cubicBezTo>
                    <a:cubicBezTo>
                      <a:pt x="977" y="407"/>
                      <a:pt x="975" y="405"/>
                      <a:pt x="975" y="407"/>
                    </a:cubicBezTo>
                    <a:cubicBezTo>
                      <a:pt x="975" y="408"/>
                      <a:pt x="978" y="407"/>
                      <a:pt x="975" y="408"/>
                    </a:cubicBezTo>
                    <a:cubicBezTo>
                      <a:pt x="973" y="412"/>
                      <a:pt x="975" y="407"/>
                      <a:pt x="972" y="408"/>
                    </a:cubicBezTo>
                    <a:cubicBezTo>
                      <a:pt x="970" y="408"/>
                      <a:pt x="969" y="408"/>
                      <a:pt x="970" y="412"/>
                    </a:cubicBezTo>
                    <a:cubicBezTo>
                      <a:pt x="970" y="413"/>
                      <a:pt x="970" y="416"/>
                      <a:pt x="969" y="421"/>
                    </a:cubicBezTo>
                    <a:close/>
                    <a:moveTo>
                      <a:pt x="1007" y="517"/>
                    </a:moveTo>
                    <a:cubicBezTo>
                      <a:pt x="1010" y="516"/>
                      <a:pt x="1004" y="514"/>
                      <a:pt x="1004" y="516"/>
                    </a:cubicBezTo>
                    <a:cubicBezTo>
                      <a:pt x="1002" y="519"/>
                      <a:pt x="998" y="520"/>
                      <a:pt x="999" y="523"/>
                    </a:cubicBezTo>
                    <a:cubicBezTo>
                      <a:pt x="1001" y="525"/>
                      <a:pt x="1001" y="519"/>
                      <a:pt x="1007" y="517"/>
                    </a:cubicBezTo>
                    <a:close/>
                    <a:moveTo>
                      <a:pt x="1015" y="511"/>
                    </a:moveTo>
                    <a:cubicBezTo>
                      <a:pt x="1018" y="508"/>
                      <a:pt x="1018" y="509"/>
                      <a:pt x="1021" y="506"/>
                    </a:cubicBezTo>
                    <a:cubicBezTo>
                      <a:pt x="1024" y="505"/>
                      <a:pt x="1028" y="506"/>
                      <a:pt x="1025" y="503"/>
                    </a:cubicBezTo>
                    <a:cubicBezTo>
                      <a:pt x="1024" y="502"/>
                      <a:pt x="1022" y="506"/>
                      <a:pt x="1019" y="505"/>
                    </a:cubicBezTo>
                    <a:cubicBezTo>
                      <a:pt x="1018" y="503"/>
                      <a:pt x="1021" y="506"/>
                      <a:pt x="1018" y="506"/>
                    </a:cubicBezTo>
                    <a:cubicBezTo>
                      <a:pt x="1015" y="508"/>
                      <a:pt x="1012" y="509"/>
                      <a:pt x="1010" y="514"/>
                    </a:cubicBezTo>
                    <a:cubicBezTo>
                      <a:pt x="1010" y="516"/>
                      <a:pt x="1013" y="516"/>
                      <a:pt x="1015" y="511"/>
                    </a:cubicBezTo>
                    <a:close/>
                    <a:moveTo>
                      <a:pt x="1031" y="500"/>
                    </a:moveTo>
                    <a:cubicBezTo>
                      <a:pt x="1033" y="497"/>
                      <a:pt x="1037" y="494"/>
                      <a:pt x="1039" y="494"/>
                    </a:cubicBezTo>
                    <a:cubicBezTo>
                      <a:pt x="1040" y="496"/>
                      <a:pt x="1030" y="505"/>
                      <a:pt x="1031" y="500"/>
                    </a:cubicBezTo>
                    <a:close/>
                    <a:moveTo>
                      <a:pt x="1071" y="461"/>
                    </a:moveTo>
                    <a:cubicBezTo>
                      <a:pt x="1071" y="460"/>
                      <a:pt x="1072" y="453"/>
                      <a:pt x="1074" y="455"/>
                    </a:cubicBezTo>
                    <a:cubicBezTo>
                      <a:pt x="1075" y="457"/>
                      <a:pt x="1071" y="461"/>
                      <a:pt x="1071" y="461"/>
                    </a:cubicBezTo>
                    <a:close/>
                    <a:moveTo>
                      <a:pt x="1066" y="464"/>
                    </a:moveTo>
                    <a:cubicBezTo>
                      <a:pt x="1068" y="464"/>
                      <a:pt x="1069" y="463"/>
                      <a:pt x="1069" y="463"/>
                    </a:cubicBezTo>
                    <a:cubicBezTo>
                      <a:pt x="1069" y="464"/>
                      <a:pt x="1066" y="466"/>
                      <a:pt x="1066" y="464"/>
                    </a:cubicBezTo>
                    <a:close/>
                    <a:moveTo>
                      <a:pt x="1060" y="477"/>
                    </a:moveTo>
                    <a:cubicBezTo>
                      <a:pt x="1059" y="477"/>
                      <a:pt x="1059" y="475"/>
                      <a:pt x="1060" y="475"/>
                    </a:cubicBezTo>
                    <a:cubicBezTo>
                      <a:pt x="1060" y="477"/>
                      <a:pt x="1060" y="478"/>
                      <a:pt x="1060" y="477"/>
                    </a:cubicBezTo>
                    <a:close/>
                    <a:moveTo>
                      <a:pt x="1054" y="481"/>
                    </a:moveTo>
                    <a:cubicBezTo>
                      <a:pt x="1054" y="481"/>
                      <a:pt x="1056" y="480"/>
                      <a:pt x="1056" y="481"/>
                    </a:cubicBezTo>
                    <a:cubicBezTo>
                      <a:pt x="1056" y="481"/>
                      <a:pt x="1056" y="483"/>
                      <a:pt x="1054" y="481"/>
                    </a:cubicBezTo>
                    <a:close/>
                    <a:moveTo>
                      <a:pt x="1082" y="447"/>
                    </a:moveTo>
                    <a:cubicBezTo>
                      <a:pt x="1085" y="447"/>
                      <a:pt x="1085" y="441"/>
                      <a:pt x="1083" y="441"/>
                    </a:cubicBezTo>
                    <a:cubicBezTo>
                      <a:pt x="1082" y="441"/>
                      <a:pt x="1082" y="444"/>
                      <a:pt x="1080" y="446"/>
                    </a:cubicBezTo>
                    <a:cubicBezTo>
                      <a:pt x="1077" y="446"/>
                      <a:pt x="1075" y="447"/>
                      <a:pt x="1077" y="449"/>
                    </a:cubicBezTo>
                    <a:cubicBezTo>
                      <a:pt x="1079" y="452"/>
                      <a:pt x="1079" y="449"/>
                      <a:pt x="1082" y="447"/>
                    </a:cubicBezTo>
                    <a:close/>
                    <a:moveTo>
                      <a:pt x="1085" y="443"/>
                    </a:moveTo>
                    <a:cubicBezTo>
                      <a:pt x="1083" y="441"/>
                      <a:pt x="1086" y="440"/>
                      <a:pt x="1088" y="440"/>
                    </a:cubicBezTo>
                    <a:cubicBezTo>
                      <a:pt x="1088" y="441"/>
                      <a:pt x="1086" y="443"/>
                      <a:pt x="1085" y="443"/>
                    </a:cubicBezTo>
                    <a:close/>
                    <a:moveTo>
                      <a:pt x="1162" y="385"/>
                    </a:moveTo>
                    <a:cubicBezTo>
                      <a:pt x="1165" y="384"/>
                      <a:pt x="1170" y="396"/>
                      <a:pt x="1167" y="393"/>
                    </a:cubicBezTo>
                    <a:cubicBezTo>
                      <a:pt x="1164" y="390"/>
                      <a:pt x="1161" y="387"/>
                      <a:pt x="1162" y="385"/>
                    </a:cubicBezTo>
                    <a:close/>
                    <a:moveTo>
                      <a:pt x="0" y="396"/>
                    </a:moveTo>
                    <a:cubicBezTo>
                      <a:pt x="11" y="398"/>
                      <a:pt x="20" y="399"/>
                      <a:pt x="26" y="398"/>
                    </a:cubicBezTo>
                    <a:cubicBezTo>
                      <a:pt x="25" y="393"/>
                      <a:pt x="28" y="391"/>
                      <a:pt x="25" y="390"/>
                    </a:cubicBezTo>
                    <a:cubicBezTo>
                      <a:pt x="22" y="387"/>
                      <a:pt x="25" y="391"/>
                      <a:pt x="14" y="387"/>
                    </a:cubicBezTo>
                    <a:cubicBezTo>
                      <a:pt x="14" y="388"/>
                      <a:pt x="13" y="387"/>
                      <a:pt x="14" y="388"/>
                    </a:cubicBezTo>
                    <a:cubicBezTo>
                      <a:pt x="14" y="391"/>
                      <a:pt x="11" y="391"/>
                      <a:pt x="10" y="391"/>
                    </a:cubicBezTo>
                    <a:cubicBezTo>
                      <a:pt x="8" y="390"/>
                      <a:pt x="11" y="388"/>
                      <a:pt x="11" y="387"/>
                    </a:cubicBezTo>
                    <a:cubicBezTo>
                      <a:pt x="13" y="385"/>
                      <a:pt x="11" y="385"/>
                      <a:pt x="10" y="388"/>
                    </a:cubicBezTo>
                    <a:cubicBezTo>
                      <a:pt x="7" y="391"/>
                      <a:pt x="8" y="390"/>
                      <a:pt x="5" y="390"/>
                    </a:cubicBezTo>
                    <a:cubicBezTo>
                      <a:pt x="2" y="390"/>
                      <a:pt x="5" y="393"/>
                      <a:pt x="0" y="396"/>
                    </a:cubicBezTo>
                    <a:close/>
                    <a:moveTo>
                      <a:pt x="1142" y="342"/>
                    </a:moveTo>
                    <a:cubicBezTo>
                      <a:pt x="1147" y="337"/>
                      <a:pt x="1152" y="334"/>
                      <a:pt x="1152" y="337"/>
                    </a:cubicBezTo>
                    <a:cubicBezTo>
                      <a:pt x="1152" y="340"/>
                      <a:pt x="1141" y="345"/>
                      <a:pt x="1142" y="342"/>
                    </a:cubicBezTo>
                    <a:close/>
                    <a:moveTo>
                      <a:pt x="937" y="393"/>
                    </a:moveTo>
                    <a:cubicBezTo>
                      <a:pt x="934" y="390"/>
                      <a:pt x="935" y="387"/>
                      <a:pt x="938" y="388"/>
                    </a:cubicBezTo>
                    <a:cubicBezTo>
                      <a:pt x="943" y="388"/>
                      <a:pt x="940" y="394"/>
                      <a:pt x="937" y="393"/>
                    </a:cubicBezTo>
                    <a:close/>
                    <a:moveTo>
                      <a:pt x="1274" y="175"/>
                    </a:moveTo>
                    <a:cubicBezTo>
                      <a:pt x="1274" y="175"/>
                      <a:pt x="1274" y="175"/>
                      <a:pt x="1274" y="175"/>
                    </a:cubicBezTo>
                    <a:cubicBezTo>
                      <a:pt x="1278" y="175"/>
                      <a:pt x="1284" y="174"/>
                      <a:pt x="1289" y="172"/>
                    </a:cubicBezTo>
                    <a:cubicBezTo>
                      <a:pt x="1301" y="171"/>
                      <a:pt x="1287" y="163"/>
                      <a:pt x="1278" y="164"/>
                    </a:cubicBezTo>
                    <a:cubicBezTo>
                      <a:pt x="1277" y="164"/>
                      <a:pt x="1275" y="164"/>
                      <a:pt x="1274" y="164"/>
                    </a:cubicBezTo>
                    <a:cubicBezTo>
                      <a:pt x="1273" y="164"/>
                      <a:pt x="1273" y="164"/>
                      <a:pt x="1273" y="164"/>
                    </a:cubicBezTo>
                    <a:cubicBezTo>
                      <a:pt x="1267" y="166"/>
                      <a:pt x="1263" y="171"/>
                      <a:pt x="1261" y="174"/>
                    </a:cubicBezTo>
                    <a:cubicBezTo>
                      <a:pt x="1261" y="177"/>
                      <a:pt x="1267" y="177"/>
                      <a:pt x="1273" y="175"/>
                    </a:cubicBezTo>
                    <a:lnTo>
                      <a:pt x="1274" y="175"/>
                    </a:lnTo>
                    <a:close/>
                    <a:moveTo>
                      <a:pt x="1188" y="192"/>
                    </a:moveTo>
                    <a:cubicBezTo>
                      <a:pt x="1185" y="196"/>
                      <a:pt x="1174" y="191"/>
                      <a:pt x="1176" y="189"/>
                    </a:cubicBezTo>
                    <a:cubicBezTo>
                      <a:pt x="1179" y="188"/>
                      <a:pt x="1191" y="189"/>
                      <a:pt x="1188" y="192"/>
                    </a:cubicBezTo>
                    <a:close/>
                    <a:moveTo>
                      <a:pt x="978" y="132"/>
                    </a:moveTo>
                    <a:cubicBezTo>
                      <a:pt x="969" y="127"/>
                      <a:pt x="964" y="132"/>
                      <a:pt x="957" y="136"/>
                    </a:cubicBezTo>
                    <a:cubicBezTo>
                      <a:pt x="951" y="141"/>
                      <a:pt x="958" y="136"/>
                      <a:pt x="970" y="139"/>
                    </a:cubicBezTo>
                    <a:cubicBezTo>
                      <a:pt x="990" y="143"/>
                      <a:pt x="987" y="136"/>
                      <a:pt x="978" y="132"/>
                    </a:cubicBezTo>
                    <a:close/>
                    <a:moveTo>
                      <a:pt x="1034" y="116"/>
                    </a:moveTo>
                    <a:cubicBezTo>
                      <a:pt x="1042" y="116"/>
                      <a:pt x="1044" y="110"/>
                      <a:pt x="1039" y="112"/>
                    </a:cubicBezTo>
                    <a:cubicBezTo>
                      <a:pt x="1036" y="112"/>
                      <a:pt x="1036" y="105"/>
                      <a:pt x="1028" y="109"/>
                    </a:cubicBezTo>
                    <a:cubicBezTo>
                      <a:pt x="1021" y="112"/>
                      <a:pt x="1030" y="105"/>
                      <a:pt x="1018" y="107"/>
                    </a:cubicBezTo>
                    <a:cubicBezTo>
                      <a:pt x="1005" y="109"/>
                      <a:pt x="1009" y="102"/>
                      <a:pt x="1007" y="105"/>
                    </a:cubicBezTo>
                    <a:cubicBezTo>
                      <a:pt x="1004" y="107"/>
                      <a:pt x="999" y="112"/>
                      <a:pt x="1016" y="115"/>
                    </a:cubicBezTo>
                    <a:cubicBezTo>
                      <a:pt x="1025" y="118"/>
                      <a:pt x="1027" y="116"/>
                      <a:pt x="1034" y="116"/>
                    </a:cubicBezTo>
                    <a:close/>
                    <a:moveTo>
                      <a:pt x="996" y="105"/>
                    </a:moveTo>
                    <a:cubicBezTo>
                      <a:pt x="1002" y="105"/>
                      <a:pt x="989" y="99"/>
                      <a:pt x="981" y="101"/>
                    </a:cubicBezTo>
                    <a:cubicBezTo>
                      <a:pt x="975" y="102"/>
                      <a:pt x="970" y="93"/>
                      <a:pt x="964" y="96"/>
                    </a:cubicBezTo>
                    <a:cubicBezTo>
                      <a:pt x="958" y="99"/>
                      <a:pt x="966" y="102"/>
                      <a:pt x="963" y="104"/>
                    </a:cubicBezTo>
                    <a:cubicBezTo>
                      <a:pt x="960" y="104"/>
                      <a:pt x="952" y="98"/>
                      <a:pt x="947" y="94"/>
                    </a:cubicBezTo>
                    <a:cubicBezTo>
                      <a:pt x="943" y="93"/>
                      <a:pt x="941" y="94"/>
                      <a:pt x="935" y="99"/>
                    </a:cubicBezTo>
                    <a:cubicBezTo>
                      <a:pt x="929" y="102"/>
                      <a:pt x="937" y="105"/>
                      <a:pt x="934" y="107"/>
                    </a:cubicBezTo>
                    <a:cubicBezTo>
                      <a:pt x="929" y="109"/>
                      <a:pt x="935" y="113"/>
                      <a:pt x="946" y="118"/>
                    </a:cubicBezTo>
                    <a:cubicBezTo>
                      <a:pt x="955" y="121"/>
                      <a:pt x="949" y="113"/>
                      <a:pt x="957" y="115"/>
                    </a:cubicBezTo>
                    <a:cubicBezTo>
                      <a:pt x="964" y="118"/>
                      <a:pt x="967" y="110"/>
                      <a:pt x="972" y="115"/>
                    </a:cubicBezTo>
                    <a:cubicBezTo>
                      <a:pt x="977" y="118"/>
                      <a:pt x="983" y="113"/>
                      <a:pt x="992" y="112"/>
                    </a:cubicBezTo>
                    <a:cubicBezTo>
                      <a:pt x="999" y="109"/>
                      <a:pt x="989" y="105"/>
                      <a:pt x="996" y="105"/>
                    </a:cubicBezTo>
                    <a:close/>
                    <a:moveTo>
                      <a:pt x="923" y="107"/>
                    </a:moveTo>
                    <a:cubicBezTo>
                      <a:pt x="917" y="110"/>
                      <a:pt x="920" y="98"/>
                      <a:pt x="923" y="101"/>
                    </a:cubicBezTo>
                    <a:cubicBezTo>
                      <a:pt x="926" y="104"/>
                      <a:pt x="926" y="105"/>
                      <a:pt x="923" y="107"/>
                    </a:cubicBezTo>
                    <a:close/>
                    <a:moveTo>
                      <a:pt x="850" y="150"/>
                    </a:moveTo>
                    <a:cubicBezTo>
                      <a:pt x="853" y="150"/>
                      <a:pt x="852" y="150"/>
                      <a:pt x="858" y="152"/>
                    </a:cubicBezTo>
                    <a:cubicBezTo>
                      <a:pt x="865" y="155"/>
                      <a:pt x="870" y="160"/>
                      <a:pt x="873" y="155"/>
                    </a:cubicBezTo>
                    <a:cubicBezTo>
                      <a:pt x="874" y="150"/>
                      <a:pt x="862" y="150"/>
                      <a:pt x="870" y="149"/>
                    </a:cubicBezTo>
                    <a:cubicBezTo>
                      <a:pt x="876" y="147"/>
                      <a:pt x="861" y="146"/>
                      <a:pt x="868" y="144"/>
                    </a:cubicBezTo>
                    <a:cubicBezTo>
                      <a:pt x="876" y="143"/>
                      <a:pt x="864" y="138"/>
                      <a:pt x="858" y="136"/>
                    </a:cubicBezTo>
                    <a:cubicBezTo>
                      <a:pt x="852" y="133"/>
                      <a:pt x="850" y="143"/>
                      <a:pt x="849" y="138"/>
                    </a:cubicBezTo>
                    <a:cubicBezTo>
                      <a:pt x="847" y="133"/>
                      <a:pt x="842" y="136"/>
                      <a:pt x="836" y="133"/>
                    </a:cubicBezTo>
                    <a:cubicBezTo>
                      <a:pt x="830" y="130"/>
                      <a:pt x="820" y="135"/>
                      <a:pt x="824" y="138"/>
                    </a:cubicBezTo>
                    <a:cubicBezTo>
                      <a:pt x="829" y="143"/>
                      <a:pt x="815" y="144"/>
                      <a:pt x="824" y="146"/>
                    </a:cubicBezTo>
                    <a:cubicBezTo>
                      <a:pt x="832" y="147"/>
                      <a:pt x="835" y="147"/>
                      <a:pt x="845" y="154"/>
                    </a:cubicBezTo>
                    <a:cubicBezTo>
                      <a:pt x="852" y="155"/>
                      <a:pt x="845" y="150"/>
                      <a:pt x="850" y="150"/>
                    </a:cubicBezTo>
                    <a:close/>
                    <a:moveTo>
                      <a:pt x="739" y="121"/>
                    </a:moveTo>
                    <a:cubicBezTo>
                      <a:pt x="731" y="119"/>
                      <a:pt x="727" y="122"/>
                      <a:pt x="734" y="126"/>
                    </a:cubicBezTo>
                    <a:cubicBezTo>
                      <a:pt x="743" y="130"/>
                      <a:pt x="748" y="121"/>
                      <a:pt x="739" y="121"/>
                    </a:cubicBezTo>
                    <a:close/>
                    <a:moveTo>
                      <a:pt x="640" y="65"/>
                    </a:moveTo>
                    <a:cubicBezTo>
                      <a:pt x="648" y="63"/>
                      <a:pt x="654" y="62"/>
                      <a:pt x="667" y="62"/>
                    </a:cubicBezTo>
                    <a:cubicBezTo>
                      <a:pt x="683" y="60"/>
                      <a:pt x="684" y="57"/>
                      <a:pt x="676" y="53"/>
                    </a:cubicBezTo>
                    <a:cubicBezTo>
                      <a:pt x="669" y="46"/>
                      <a:pt x="670" y="45"/>
                      <a:pt x="660" y="51"/>
                    </a:cubicBezTo>
                    <a:cubicBezTo>
                      <a:pt x="651" y="59"/>
                      <a:pt x="667" y="45"/>
                      <a:pt x="663" y="43"/>
                    </a:cubicBezTo>
                    <a:cubicBezTo>
                      <a:pt x="658" y="42"/>
                      <a:pt x="652" y="39"/>
                      <a:pt x="648" y="48"/>
                    </a:cubicBezTo>
                    <a:cubicBezTo>
                      <a:pt x="641" y="57"/>
                      <a:pt x="641" y="49"/>
                      <a:pt x="635" y="63"/>
                    </a:cubicBezTo>
                    <a:cubicBezTo>
                      <a:pt x="632" y="66"/>
                      <a:pt x="634" y="68"/>
                      <a:pt x="640" y="65"/>
                    </a:cubicBezTo>
                    <a:close/>
                    <a:moveTo>
                      <a:pt x="617" y="51"/>
                    </a:moveTo>
                    <a:cubicBezTo>
                      <a:pt x="628" y="56"/>
                      <a:pt x="641" y="51"/>
                      <a:pt x="637" y="48"/>
                    </a:cubicBezTo>
                    <a:cubicBezTo>
                      <a:pt x="632" y="45"/>
                      <a:pt x="643" y="37"/>
                      <a:pt x="638" y="35"/>
                    </a:cubicBezTo>
                    <a:cubicBezTo>
                      <a:pt x="632" y="32"/>
                      <a:pt x="635" y="29"/>
                      <a:pt x="626" y="34"/>
                    </a:cubicBezTo>
                    <a:cubicBezTo>
                      <a:pt x="616" y="37"/>
                      <a:pt x="625" y="31"/>
                      <a:pt x="620" y="31"/>
                    </a:cubicBezTo>
                    <a:cubicBezTo>
                      <a:pt x="616" y="31"/>
                      <a:pt x="603" y="29"/>
                      <a:pt x="597" y="32"/>
                    </a:cubicBezTo>
                    <a:cubicBezTo>
                      <a:pt x="591" y="37"/>
                      <a:pt x="579" y="42"/>
                      <a:pt x="588" y="42"/>
                    </a:cubicBezTo>
                    <a:cubicBezTo>
                      <a:pt x="599" y="42"/>
                      <a:pt x="591" y="45"/>
                      <a:pt x="597" y="48"/>
                    </a:cubicBezTo>
                    <a:cubicBezTo>
                      <a:pt x="600" y="49"/>
                      <a:pt x="605" y="48"/>
                      <a:pt x="617" y="51"/>
                    </a:cubicBezTo>
                    <a:close/>
                    <a:moveTo>
                      <a:pt x="576" y="31"/>
                    </a:moveTo>
                    <a:cubicBezTo>
                      <a:pt x="567" y="31"/>
                      <a:pt x="565" y="34"/>
                      <a:pt x="571" y="35"/>
                    </a:cubicBezTo>
                    <a:cubicBezTo>
                      <a:pt x="578" y="37"/>
                      <a:pt x="574" y="40"/>
                      <a:pt x="581" y="39"/>
                    </a:cubicBezTo>
                    <a:cubicBezTo>
                      <a:pt x="599" y="34"/>
                      <a:pt x="584" y="32"/>
                      <a:pt x="576" y="31"/>
                    </a:cubicBezTo>
                    <a:close/>
                    <a:moveTo>
                      <a:pt x="600" y="29"/>
                    </a:moveTo>
                    <a:cubicBezTo>
                      <a:pt x="614" y="28"/>
                      <a:pt x="620" y="31"/>
                      <a:pt x="616" y="25"/>
                    </a:cubicBezTo>
                    <a:cubicBezTo>
                      <a:pt x="613" y="20"/>
                      <a:pt x="623" y="23"/>
                      <a:pt x="622" y="20"/>
                    </a:cubicBezTo>
                    <a:cubicBezTo>
                      <a:pt x="620" y="17"/>
                      <a:pt x="616" y="20"/>
                      <a:pt x="611" y="15"/>
                    </a:cubicBezTo>
                    <a:cubicBezTo>
                      <a:pt x="605" y="11"/>
                      <a:pt x="603" y="9"/>
                      <a:pt x="597" y="12"/>
                    </a:cubicBezTo>
                    <a:cubicBezTo>
                      <a:pt x="593" y="15"/>
                      <a:pt x="590" y="12"/>
                      <a:pt x="582" y="17"/>
                    </a:cubicBezTo>
                    <a:cubicBezTo>
                      <a:pt x="574" y="21"/>
                      <a:pt x="587" y="18"/>
                      <a:pt x="582" y="21"/>
                    </a:cubicBezTo>
                    <a:cubicBezTo>
                      <a:pt x="576" y="26"/>
                      <a:pt x="567" y="28"/>
                      <a:pt x="573" y="28"/>
                    </a:cubicBezTo>
                    <a:cubicBezTo>
                      <a:pt x="581" y="29"/>
                      <a:pt x="579" y="31"/>
                      <a:pt x="588" y="32"/>
                    </a:cubicBezTo>
                    <a:cubicBezTo>
                      <a:pt x="599" y="32"/>
                      <a:pt x="588" y="29"/>
                      <a:pt x="600" y="29"/>
                    </a:cubicBezTo>
                    <a:close/>
                    <a:moveTo>
                      <a:pt x="561" y="12"/>
                    </a:moveTo>
                    <a:cubicBezTo>
                      <a:pt x="561" y="11"/>
                      <a:pt x="571" y="12"/>
                      <a:pt x="571" y="14"/>
                    </a:cubicBezTo>
                    <a:cubicBezTo>
                      <a:pt x="571" y="15"/>
                      <a:pt x="559" y="15"/>
                      <a:pt x="561" y="12"/>
                    </a:cubicBezTo>
                    <a:close/>
                    <a:moveTo>
                      <a:pt x="600" y="82"/>
                    </a:moveTo>
                    <a:cubicBezTo>
                      <a:pt x="599" y="81"/>
                      <a:pt x="610" y="77"/>
                      <a:pt x="611" y="79"/>
                    </a:cubicBezTo>
                    <a:cubicBezTo>
                      <a:pt x="613" y="81"/>
                      <a:pt x="605" y="84"/>
                      <a:pt x="600" y="82"/>
                    </a:cubicBezTo>
                    <a:close/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43" name="Freeform 238"/>
              <p:cNvSpPr>
                <a:spLocks noEditPoints="1"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6391585" y="3995996"/>
                <a:ext cx="739225" cy="784827"/>
              </a:xfrm>
              <a:custGeom>
                <a:avLst/>
                <a:gdLst/>
                <a:ahLst/>
                <a:cxnLst>
                  <a:cxn ang="0">
                    <a:pos x="86" y="62"/>
                  </a:cxn>
                  <a:cxn ang="0">
                    <a:pos x="105" y="36"/>
                  </a:cxn>
                  <a:cxn ang="0">
                    <a:pos x="133" y="43"/>
                  </a:cxn>
                  <a:cxn ang="0">
                    <a:pos x="151" y="17"/>
                  </a:cxn>
                  <a:cxn ang="0">
                    <a:pos x="154" y="6"/>
                  </a:cxn>
                  <a:cxn ang="0">
                    <a:pos x="172" y="14"/>
                  </a:cxn>
                  <a:cxn ang="0">
                    <a:pos x="185" y="18"/>
                  </a:cxn>
                  <a:cxn ang="0">
                    <a:pos x="188" y="25"/>
                  </a:cxn>
                  <a:cxn ang="0">
                    <a:pos x="188" y="51"/>
                  </a:cxn>
                  <a:cxn ang="0">
                    <a:pos x="220" y="70"/>
                  </a:cxn>
                  <a:cxn ang="0">
                    <a:pos x="227" y="29"/>
                  </a:cxn>
                  <a:cxn ang="0">
                    <a:pos x="232" y="6"/>
                  </a:cxn>
                  <a:cxn ang="0">
                    <a:pos x="241" y="18"/>
                  </a:cxn>
                  <a:cxn ang="0">
                    <a:pos x="256" y="42"/>
                  </a:cxn>
                  <a:cxn ang="0">
                    <a:pos x="271" y="87"/>
                  </a:cxn>
                  <a:cxn ang="0">
                    <a:pos x="291" y="109"/>
                  </a:cxn>
                  <a:cxn ang="0">
                    <a:pos x="300" y="118"/>
                  </a:cxn>
                  <a:cxn ang="0">
                    <a:pos x="317" y="149"/>
                  </a:cxn>
                  <a:cxn ang="0">
                    <a:pos x="323" y="186"/>
                  </a:cxn>
                  <a:cxn ang="0">
                    <a:pos x="311" y="228"/>
                  </a:cxn>
                  <a:cxn ang="0">
                    <a:pos x="294" y="273"/>
                  </a:cxn>
                  <a:cxn ang="0">
                    <a:pos x="265" y="295"/>
                  </a:cxn>
                  <a:cxn ang="0">
                    <a:pos x="256" y="283"/>
                  </a:cxn>
                  <a:cxn ang="0">
                    <a:pos x="229" y="287"/>
                  </a:cxn>
                  <a:cxn ang="0">
                    <a:pos x="207" y="258"/>
                  </a:cxn>
                  <a:cxn ang="0">
                    <a:pos x="195" y="253"/>
                  </a:cxn>
                  <a:cxn ang="0">
                    <a:pos x="200" y="228"/>
                  </a:cxn>
                  <a:cxn ang="0">
                    <a:pos x="186" y="242"/>
                  </a:cxn>
                  <a:cxn ang="0">
                    <a:pos x="168" y="222"/>
                  </a:cxn>
                  <a:cxn ang="0">
                    <a:pos x="107" y="222"/>
                  </a:cxn>
                  <a:cxn ang="0">
                    <a:pos x="70" y="238"/>
                  </a:cxn>
                  <a:cxn ang="0">
                    <a:pos x="34" y="252"/>
                  </a:cxn>
                  <a:cxn ang="0">
                    <a:pos x="22" y="228"/>
                  </a:cxn>
                  <a:cxn ang="0">
                    <a:pos x="10" y="174"/>
                  </a:cxn>
                  <a:cxn ang="0">
                    <a:pos x="5" y="151"/>
                  </a:cxn>
                  <a:cxn ang="0">
                    <a:pos x="8" y="116"/>
                  </a:cxn>
                  <a:cxn ang="0">
                    <a:pos x="38" y="101"/>
                  </a:cxn>
                  <a:cxn ang="0">
                    <a:pos x="72" y="78"/>
                  </a:cxn>
                  <a:cxn ang="0">
                    <a:pos x="259" y="339"/>
                  </a:cxn>
                  <a:cxn ang="0">
                    <a:pos x="273" y="342"/>
                  </a:cxn>
                  <a:cxn ang="0">
                    <a:pos x="277" y="339"/>
                  </a:cxn>
                  <a:cxn ang="0">
                    <a:pos x="279" y="328"/>
                  </a:cxn>
                  <a:cxn ang="0">
                    <a:pos x="279" y="314"/>
                  </a:cxn>
                  <a:cxn ang="0">
                    <a:pos x="258" y="314"/>
                  </a:cxn>
                  <a:cxn ang="0">
                    <a:pos x="247" y="300"/>
                  </a:cxn>
                  <a:cxn ang="0">
                    <a:pos x="277" y="305"/>
                  </a:cxn>
                  <a:cxn ang="0">
                    <a:pos x="280" y="305"/>
                  </a:cxn>
                  <a:cxn ang="0">
                    <a:pos x="279" y="309"/>
                  </a:cxn>
                  <a:cxn ang="0">
                    <a:pos x="197" y="261"/>
                  </a:cxn>
                  <a:cxn ang="0">
                    <a:pos x="188" y="261"/>
                  </a:cxn>
                  <a:cxn ang="0">
                    <a:pos x="140" y="8"/>
                  </a:cxn>
                  <a:cxn ang="0">
                    <a:pos x="139" y="11"/>
                  </a:cxn>
                  <a:cxn ang="0">
                    <a:pos x="139" y="11"/>
                  </a:cxn>
                  <a:cxn ang="0">
                    <a:pos x="188" y="36"/>
                  </a:cxn>
                  <a:cxn ang="0">
                    <a:pos x="321" y="143"/>
                  </a:cxn>
                  <a:cxn ang="0">
                    <a:pos x="319" y="154"/>
                  </a:cxn>
                  <a:cxn ang="0">
                    <a:pos x="213" y="59"/>
                  </a:cxn>
                </a:cxnLst>
                <a:rect l="0" t="0" r="r" b="b"/>
                <a:pathLst>
                  <a:path w="326" h="346">
                    <a:moveTo>
                      <a:pt x="72" y="78"/>
                    </a:moveTo>
                    <a:cubicBezTo>
                      <a:pt x="78" y="73"/>
                      <a:pt x="70" y="73"/>
                      <a:pt x="77" y="62"/>
                    </a:cubicBezTo>
                    <a:cubicBezTo>
                      <a:pt x="84" y="53"/>
                      <a:pt x="84" y="74"/>
                      <a:pt x="86" y="62"/>
                    </a:cubicBezTo>
                    <a:cubicBezTo>
                      <a:pt x="86" y="48"/>
                      <a:pt x="92" y="65"/>
                      <a:pt x="92" y="54"/>
                    </a:cubicBezTo>
                    <a:cubicBezTo>
                      <a:pt x="92" y="46"/>
                      <a:pt x="93" y="51"/>
                      <a:pt x="98" y="42"/>
                    </a:cubicBezTo>
                    <a:cubicBezTo>
                      <a:pt x="102" y="32"/>
                      <a:pt x="104" y="42"/>
                      <a:pt x="105" y="36"/>
                    </a:cubicBezTo>
                    <a:cubicBezTo>
                      <a:pt x="105" y="29"/>
                      <a:pt x="110" y="39"/>
                      <a:pt x="110" y="32"/>
                    </a:cubicBezTo>
                    <a:cubicBezTo>
                      <a:pt x="110" y="26"/>
                      <a:pt x="121" y="43"/>
                      <a:pt x="125" y="42"/>
                    </a:cubicBezTo>
                    <a:cubicBezTo>
                      <a:pt x="130" y="42"/>
                      <a:pt x="130" y="46"/>
                      <a:pt x="133" y="43"/>
                    </a:cubicBezTo>
                    <a:cubicBezTo>
                      <a:pt x="136" y="40"/>
                      <a:pt x="127" y="42"/>
                      <a:pt x="133" y="32"/>
                    </a:cubicBezTo>
                    <a:cubicBezTo>
                      <a:pt x="139" y="25"/>
                      <a:pt x="133" y="26"/>
                      <a:pt x="140" y="20"/>
                    </a:cubicBezTo>
                    <a:cubicBezTo>
                      <a:pt x="150" y="12"/>
                      <a:pt x="145" y="18"/>
                      <a:pt x="151" y="17"/>
                    </a:cubicBezTo>
                    <a:cubicBezTo>
                      <a:pt x="157" y="15"/>
                      <a:pt x="156" y="20"/>
                      <a:pt x="157" y="14"/>
                    </a:cubicBezTo>
                    <a:cubicBezTo>
                      <a:pt x="159" y="8"/>
                      <a:pt x="153" y="11"/>
                      <a:pt x="151" y="9"/>
                    </a:cubicBezTo>
                    <a:cubicBezTo>
                      <a:pt x="150" y="6"/>
                      <a:pt x="151" y="6"/>
                      <a:pt x="154" y="6"/>
                    </a:cubicBezTo>
                    <a:cubicBezTo>
                      <a:pt x="157" y="6"/>
                      <a:pt x="156" y="9"/>
                      <a:pt x="159" y="8"/>
                    </a:cubicBezTo>
                    <a:cubicBezTo>
                      <a:pt x="162" y="8"/>
                      <a:pt x="159" y="12"/>
                      <a:pt x="165" y="12"/>
                    </a:cubicBezTo>
                    <a:cubicBezTo>
                      <a:pt x="169" y="11"/>
                      <a:pt x="168" y="17"/>
                      <a:pt x="172" y="14"/>
                    </a:cubicBezTo>
                    <a:cubicBezTo>
                      <a:pt x="175" y="14"/>
                      <a:pt x="174" y="20"/>
                      <a:pt x="180" y="14"/>
                    </a:cubicBezTo>
                    <a:cubicBezTo>
                      <a:pt x="186" y="9"/>
                      <a:pt x="181" y="15"/>
                      <a:pt x="183" y="15"/>
                    </a:cubicBezTo>
                    <a:cubicBezTo>
                      <a:pt x="185" y="15"/>
                      <a:pt x="183" y="20"/>
                      <a:pt x="185" y="18"/>
                    </a:cubicBezTo>
                    <a:cubicBezTo>
                      <a:pt x="188" y="17"/>
                      <a:pt x="185" y="17"/>
                      <a:pt x="186" y="14"/>
                    </a:cubicBezTo>
                    <a:cubicBezTo>
                      <a:pt x="189" y="12"/>
                      <a:pt x="188" y="14"/>
                      <a:pt x="191" y="17"/>
                    </a:cubicBezTo>
                    <a:cubicBezTo>
                      <a:pt x="195" y="18"/>
                      <a:pt x="189" y="18"/>
                      <a:pt x="188" y="25"/>
                    </a:cubicBezTo>
                    <a:cubicBezTo>
                      <a:pt x="188" y="32"/>
                      <a:pt x="188" y="22"/>
                      <a:pt x="183" y="28"/>
                    </a:cubicBezTo>
                    <a:cubicBezTo>
                      <a:pt x="180" y="36"/>
                      <a:pt x="188" y="28"/>
                      <a:pt x="181" y="37"/>
                    </a:cubicBezTo>
                    <a:cubicBezTo>
                      <a:pt x="177" y="46"/>
                      <a:pt x="180" y="43"/>
                      <a:pt x="188" y="51"/>
                    </a:cubicBezTo>
                    <a:cubicBezTo>
                      <a:pt x="191" y="56"/>
                      <a:pt x="191" y="51"/>
                      <a:pt x="198" y="57"/>
                    </a:cubicBezTo>
                    <a:cubicBezTo>
                      <a:pt x="206" y="65"/>
                      <a:pt x="207" y="60"/>
                      <a:pt x="209" y="65"/>
                    </a:cubicBezTo>
                    <a:cubicBezTo>
                      <a:pt x="209" y="68"/>
                      <a:pt x="216" y="73"/>
                      <a:pt x="220" y="70"/>
                    </a:cubicBezTo>
                    <a:cubicBezTo>
                      <a:pt x="224" y="67"/>
                      <a:pt x="221" y="65"/>
                      <a:pt x="226" y="59"/>
                    </a:cubicBezTo>
                    <a:cubicBezTo>
                      <a:pt x="229" y="54"/>
                      <a:pt x="226" y="54"/>
                      <a:pt x="227" y="48"/>
                    </a:cubicBezTo>
                    <a:cubicBezTo>
                      <a:pt x="230" y="40"/>
                      <a:pt x="226" y="34"/>
                      <a:pt x="227" y="29"/>
                    </a:cubicBezTo>
                    <a:cubicBezTo>
                      <a:pt x="229" y="25"/>
                      <a:pt x="227" y="25"/>
                      <a:pt x="229" y="22"/>
                    </a:cubicBezTo>
                    <a:cubicBezTo>
                      <a:pt x="232" y="20"/>
                      <a:pt x="227" y="22"/>
                      <a:pt x="229" y="17"/>
                    </a:cubicBezTo>
                    <a:cubicBezTo>
                      <a:pt x="232" y="11"/>
                      <a:pt x="232" y="9"/>
                      <a:pt x="232" y="6"/>
                    </a:cubicBezTo>
                    <a:cubicBezTo>
                      <a:pt x="233" y="1"/>
                      <a:pt x="236" y="0"/>
                      <a:pt x="238" y="5"/>
                    </a:cubicBezTo>
                    <a:cubicBezTo>
                      <a:pt x="238" y="9"/>
                      <a:pt x="238" y="12"/>
                      <a:pt x="239" y="14"/>
                    </a:cubicBezTo>
                    <a:cubicBezTo>
                      <a:pt x="242" y="15"/>
                      <a:pt x="239" y="15"/>
                      <a:pt x="241" y="18"/>
                    </a:cubicBezTo>
                    <a:cubicBezTo>
                      <a:pt x="244" y="23"/>
                      <a:pt x="244" y="26"/>
                      <a:pt x="244" y="31"/>
                    </a:cubicBezTo>
                    <a:cubicBezTo>
                      <a:pt x="244" y="36"/>
                      <a:pt x="247" y="42"/>
                      <a:pt x="248" y="37"/>
                    </a:cubicBezTo>
                    <a:cubicBezTo>
                      <a:pt x="251" y="32"/>
                      <a:pt x="250" y="39"/>
                      <a:pt x="256" y="42"/>
                    </a:cubicBezTo>
                    <a:cubicBezTo>
                      <a:pt x="261" y="45"/>
                      <a:pt x="256" y="56"/>
                      <a:pt x="261" y="62"/>
                    </a:cubicBezTo>
                    <a:cubicBezTo>
                      <a:pt x="265" y="67"/>
                      <a:pt x="262" y="74"/>
                      <a:pt x="264" y="79"/>
                    </a:cubicBezTo>
                    <a:cubicBezTo>
                      <a:pt x="267" y="82"/>
                      <a:pt x="265" y="85"/>
                      <a:pt x="271" y="87"/>
                    </a:cubicBezTo>
                    <a:cubicBezTo>
                      <a:pt x="277" y="88"/>
                      <a:pt x="273" y="92"/>
                      <a:pt x="280" y="93"/>
                    </a:cubicBezTo>
                    <a:cubicBezTo>
                      <a:pt x="288" y="96"/>
                      <a:pt x="288" y="99"/>
                      <a:pt x="285" y="99"/>
                    </a:cubicBezTo>
                    <a:cubicBezTo>
                      <a:pt x="282" y="99"/>
                      <a:pt x="290" y="105"/>
                      <a:pt x="291" y="109"/>
                    </a:cubicBezTo>
                    <a:cubicBezTo>
                      <a:pt x="293" y="112"/>
                      <a:pt x="290" y="113"/>
                      <a:pt x="293" y="118"/>
                    </a:cubicBezTo>
                    <a:cubicBezTo>
                      <a:pt x="296" y="123"/>
                      <a:pt x="293" y="113"/>
                      <a:pt x="296" y="118"/>
                    </a:cubicBezTo>
                    <a:cubicBezTo>
                      <a:pt x="300" y="121"/>
                      <a:pt x="299" y="115"/>
                      <a:pt x="300" y="118"/>
                    </a:cubicBezTo>
                    <a:cubicBezTo>
                      <a:pt x="303" y="121"/>
                      <a:pt x="299" y="126"/>
                      <a:pt x="303" y="132"/>
                    </a:cubicBezTo>
                    <a:cubicBezTo>
                      <a:pt x="308" y="137"/>
                      <a:pt x="306" y="132"/>
                      <a:pt x="309" y="138"/>
                    </a:cubicBezTo>
                    <a:cubicBezTo>
                      <a:pt x="312" y="143"/>
                      <a:pt x="316" y="143"/>
                      <a:pt x="317" y="149"/>
                    </a:cubicBezTo>
                    <a:cubicBezTo>
                      <a:pt x="319" y="155"/>
                      <a:pt x="320" y="151"/>
                      <a:pt x="320" y="157"/>
                    </a:cubicBezTo>
                    <a:cubicBezTo>
                      <a:pt x="319" y="163"/>
                      <a:pt x="321" y="163"/>
                      <a:pt x="320" y="168"/>
                    </a:cubicBezTo>
                    <a:cubicBezTo>
                      <a:pt x="319" y="169"/>
                      <a:pt x="326" y="180"/>
                      <a:pt x="323" y="186"/>
                    </a:cubicBezTo>
                    <a:cubicBezTo>
                      <a:pt x="320" y="191"/>
                      <a:pt x="323" y="196"/>
                      <a:pt x="319" y="202"/>
                    </a:cubicBezTo>
                    <a:cubicBezTo>
                      <a:pt x="317" y="207"/>
                      <a:pt x="320" y="210"/>
                      <a:pt x="317" y="216"/>
                    </a:cubicBezTo>
                    <a:cubicBezTo>
                      <a:pt x="314" y="222"/>
                      <a:pt x="319" y="221"/>
                      <a:pt x="311" y="228"/>
                    </a:cubicBezTo>
                    <a:cubicBezTo>
                      <a:pt x="302" y="236"/>
                      <a:pt x="303" y="250"/>
                      <a:pt x="300" y="252"/>
                    </a:cubicBezTo>
                    <a:cubicBezTo>
                      <a:pt x="297" y="253"/>
                      <a:pt x="296" y="261"/>
                      <a:pt x="296" y="264"/>
                    </a:cubicBezTo>
                    <a:cubicBezTo>
                      <a:pt x="296" y="269"/>
                      <a:pt x="293" y="272"/>
                      <a:pt x="294" y="273"/>
                    </a:cubicBezTo>
                    <a:cubicBezTo>
                      <a:pt x="296" y="275"/>
                      <a:pt x="294" y="281"/>
                      <a:pt x="286" y="281"/>
                    </a:cubicBezTo>
                    <a:cubicBezTo>
                      <a:pt x="279" y="280"/>
                      <a:pt x="271" y="291"/>
                      <a:pt x="268" y="291"/>
                    </a:cubicBezTo>
                    <a:cubicBezTo>
                      <a:pt x="265" y="292"/>
                      <a:pt x="268" y="300"/>
                      <a:pt x="265" y="295"/>
                    </a:cubicBezTo>
                    <a:cubicBezTo>
                      <a:pt x="261" y="289"/>
                      <a:pt x="259" y="291"/>
                      <a:pt x="258" y="287"/>
                    </a:cubicBezTo>
                    <a:cubicBezTo>
                      <a:pt x="258" y="284"/>
                      <a:pt x="258" y="291"/>
                      <a:pt x="255" y="289"/>
                    </a:cubicBezTo>
                    <a:cubicBezTo>
                      <a:pt x="251" y="286"/>
                      <a:pt x="259" y="286"/>
                      <a:pt x="256" y="283"/>
                    </a:cubicBezTo>
                    <a:cubicBezTo>
                      <a:pt x="251" y="280"/>
                      <a:pt x="255" y="284"/>
                      <a:pt x="250" y="287"/>
                    </a:cubicBezTo>
                    <a:cubicBezTo>
                      <a:pt x="244" y="289"/>
                      <a:pt x="247" y="294"/>
                      <a:pt x="239" y="291"/>
                    </a:cubicBezTo>
                    <a:cubicBezTo>
                      <a:pt x="232" y="286"/>
                      <a:pt x="230" y="286"/>
                      <a:pt x="229" y="287"/>
                    </a:cubicBezTo>
                    <a:cubicBezTo>
                      <a:pt x="227" y="289"/>
                      <a:pt x="226" y="284"/>
                      <a:pt x="223" y="283"/>
                    </a:cubicBezTo>
                    <a:cubicBezTo>
                      <a:pt x="218" y="283"/>
                      <a:pt x="212" y="273"/>
                      <a:pt x="213" y="270"/>
                    </a:cubicBezTo>
                    <a:cubicBezTo>
                      <a:pt x="215" y="267"/>
                      <a:pt x="212" y="259"/>
                      <a:pt x="207" y="258"/>
                    </a:cubicBezTo>
                    <a:cubicBezTo>
                      <a:pt x="204" y="256"/>
                      <a:pt x="203" y="259"/>
                      <a:pt x="201" y="258"/>
                    </a:cubicBezTo>
                    <a:cubicBezTo>
                      <a:pt x="200" y="255"/>
                      <a:pt x="206" y="252"/>
                      <a:pt x="203" y="245"/>
                    </a:cubicBezTo>
                    <a:cubicBezTo>
                      <a:pt x="198" y="239"/>
                      <a:pt x="201" y="252"/>
                      <a:pt x="195" y="253"/>
                    </a:cubicBezTo>
                    <a:cubicBezTo>
                      <a:pt x="189" y="253"/>
                      <a:pt x="191" y="249"/>
                      <a:pt x="194" y="249"/>
                    </a:cubicBezTo>
                    <a:cubicBezTo>
                      <a:pt x="197" y="250"/>
                      <a:pt x="197" y="247"/>
                      <a:pt x="195" y="244"/>
                    </a:cubicBezTo>
                    <a:cubicBezTo>
                      <a:pt x="195" y="241"/>
                      <a:pt x="201" y="231"/>
                      <a:pt x="200" y="228"/>
                    </a:cubicBezTo>
                    <a:cubicBezTo>
                      <a:pt x="198" y="225"/>
                      <a:pt x="198" y="224"/>
                      <a:pt x="198" y="227"/>
                    </a:cubicBezTo>
                    <a:cubicBezTo>
                      <a:pt x="198" y="230"/>
                      <a:pt x="194" y="230"/>
                      <a:pt x="194" y="235"/>
                    </a:cubicBezTo>
                    <a:cubicBezTo>
                      <a:pt x="192" y="239"/>
                      <a:pt x="194" y="233"/>
                      <a:pt x="186" y="242"/>
                    </a:cubicBezTo>
                    <a:cubicBezTo>
                      <a:pt x="178" y="252"/>
                      <a:pt x="188" y="252"/>
                      <a:pt x="180" y="249"/>
                    </a:cubicBezTo>
                    <a:cubicBezTo>
                      <a:pt x="175" y="245"/>
                      <a:pt x="178" y="235"/>
                      <a:pt x="172" y="231"/>
                    </a:cubicBezTo>
                    <a:cubicBezTo>
                      <a:pt x="165" y="227"/>
                      <a:pt x="174" y="227"/>
                      <a:pt x="168" y="222"/>
                    </a:cubicBezTo>
                    <a:cubicBezTo>
                      <a:pt x="163" y="218"/>
                      <a:pt x="163" y="222"/>
                      <a:pt x="151" y="216"/>
                    </a:cubicBezTo>
                    <a:cubicBezTo>
                      <a:pt x="139" y="210"/>
                      <a:pt x="150" y="216"/>
                      <a:pt x="136" y="213"/>
                    </a:cubicBezTo>
                    <a:cubicBezTo>
                      <a:pt x="128" y="213"/>
                      <a:pt x="122" y="222"/>
                      <a:pt x="107" y="222"/>
                    </a:cubicBezTo>
                    <a:cubicBezTo>
                      <a:pt x="98" y="221"/>
                      <a:pt x="99" y="228"/>
                      <a:pt x="93" y="228"/>
                    </a:cubicBezTo>
                    <a:cubicBezTo>
                      <a:pt x="87" y="228"/>
                      <a:pt x="90" y="242"/>
                      <a:pt x="81" y="239"/>
                    </a:cubicBezTo>
                    <a:cubicBezTo>
                      <a:pt x="73" y="236"/>
                      <a:pt x="78" y="242"/>
                      <a:pt x="70" y="238"/>
                    </a:cubicBezTo>
                    <a:cubicBezTo>
                      <a:pt x="66" y="236"/>
                      <a:pt x="66" y="239"/>
                      <a:pt x="58" y="239"/>
                    </a:cubicBezTo>
                    <a:cubicBezTo>
                      <a:pt x="52" y="239"/>
                      <a:pt x="55" y="244"/>
                      <a:pt x="51" y="245"/>
                    </a:cubicBezTo>
                    <a:cubicBezTo>
                      <a:pt x="45" y="245"/>
                      <a:pt x="45" y="253"/>
                      <a:pt x="34" y="252"/>
                    </a:cubicBezTo>
                    <a:cubicBezTo>
                      <a:pt x="23" y="250"/>
                      <a:pt x="23" y="242"/>
                      <a:pt x="19" y="244"/>
                    </a:cubicBezTo>
                    <a:cubicBezTo>
                      <a:pt x="16" y="244"/>
                      <a:pt x="16" y="235"/>
                      <a:pt x="17" y="235"/>
                    </a:cubicBezTo>
                    <a:cubicBezTo>
                      <a:pt x="20" y="236"/>
                      <a:pt x="23" y="233"/>
                      <a:pt x="22" y="228"/>
                    </a:cubicBezTo>
                    <a:cubicBezTo>
                      <a:pt x="22" y="222"/>
                      <a:pt x="26" y="225"/>
                      <a:pt x="20" y="210"/>
                    </a:cubicBezTo>
                    <a:cubicBezTo>
                      <a:pt x="14" y="194"/>
                      <a:pt x="19" y="194"/>
                      <a:pt x="16" y="186"/>
                    </a:cubicBezTo>
                    <a:cubicBezTo>
                      <a:pt x="11" y="179"/>
                      <a:pt x="10" y="179"/>
                      <a:pt x="10" y="174"/>
                    </a:cubicBezTo>
                    <a:cubicBezTo>
                      <a:pt x="11" y="168"/>
                      <a:pt x="3" y="163"/>
                      <a:pt x="3" y="158"/>
                    </a:cubicBezTo>
                    <a:cubicBezTo>
                      <a:pt x="3" y="152"/>
                      <a:pt x="7" y="163"/>
                      <a:pt x="8" y="162"/>
                    </a:cubicBezTo>
                    <a:cubicBezTo>
                      <a:pt x="8" y="158"/>
                      <a:pt x="3" y="154"/>
                      <a:pt x="5" y="151"/>
                    </a:cubicBezTo>
                    <a:cubicBezTo>
                      <a:pt x="7" y="149"/>
                      <a:pt x="11" y="165"/>
                      <a:pt x="11" y="157"/>
                    </a:cubicBezTo>
                    <a:cubicBezTo>
                      <a:pt x="11" y="149"/>
                      <a:pt x="0" y="141"/>
                      <a:pt x="5" y="132"/>
                    </a:cubicBezTo>
                    <a:cubicBezTo>
                      <a:pt x="11" y="123"/>
                      <a:pt x="3" y="124"/>
                      <a:pt x="8" y="116"/>
                    </a:cubicBezTo>
                    <a:cubicBezTo>
                      <a:pt x="13" y="109"/>
                      <a:pt x="10" y="126"/>
                      <a:pt x="13" y="116"/>
                    </a:cubicBezTo>
                    <a:cubicBezTo>
                      <a:pt x="16" y="109"/>
                      <a:pt x="17" y="115"/>
                      <a:pt x="25" y="105"/>
                    </a:cubicBezTo>
                    <a:cubicBezTo>
                      <a:pt x="32" y="96"/>
                      <a:pt x="32" y="104"/>
                      <a:pt x="38" y="101"/>
                    </a:cubicBezTo>
                    <a:cubicBezTo>
                      <a:pt x="45" y="98"/>
                      <a:pt x="48" y="98"/>
                      <a:pt x="49" y="95"/>
                    </a:cubicBezTo>
                    <a:cubicBezTo>
                      <a:pt x="51" y="92"/>
                      <a:pt x="55" y="98"/>
                      <a:pt x="63" y="92"/>
                    </a:cubicBezTo>
                    <a:cubicBezTo>
                      <a:pt x="70" y="87"/>
                      <a:pt x="67" y="82"/>
                      <a:pt x="72" y="78"/>
                    </a:cubicBezTo>
                    <a:close/>
                    <a:moveTo>
                      <a:pt x="255" y="323"/>
                    </a:moveTo>
                    <a:cubicBezTo>
                      <a:pt x="256" y="326"/>
                      <a:pt x="256" y="325"/>
                      <a:pt x="256" y="328"/>
                    </a:cubicBezTo>
                    <a:cubicBezTo>
                      <a:pt x="256" y="331"/>
                      <a:pt x="258" y="337"/>
                      <a:pt x="259" y="339"/>
                    </a:cubicBezTo>
                    <a:cubicBezTo>
                      <a:pt x="262" y="340"/>
                      <a:pt x="262" y="345"/>
                      <a:pt x="264" y="345"/>
                    </a:cubicBezTo>
                    <a:cubicBezTo>
                      <a:pt x="265" y="343"/>
                      <a:pt x="267" y="345"/>
                      <a:pt x="270" y="345"/>
                    </a:cubicBezTo>
                    <a:cubicBezTo>
                      <a:pt x="271" y="346"/>
                      <a:pt x="270" y="343"/>
                      <a:pt x="273" y="342"/>
                    </a:cubicBezTo>
                    <a:cubicBezTo>
                      <a:pt x="274" y="340"/>
                      <a:pt x="274" y="337"/>
                      <a:pt x="274" y="339"/>
                    </a:cubicBezTo>
                    <a:cubicBezTo>
                      <a:pt x="276" y="340"/>
                      <a:pt x="274" y="336"/>
                      <a:pt x="276" y="337"/>
                    </a:cubicBezTo>
                    <a:cubicBezTo>
                      <a:pt x="277" y="337"/>
                      <a:pt x="277" y="339"/>
                      <a:pt x="277" y="339"/>
                    </a:cubicBezTo>
                    <a:cubicBezTo>
                      <a:pt x="276" y="339"/>
                      <a:pt x="276" y="340"/>
                      <a:pt x="279" y="340"/>
                    </a:cubicBezTo>
                    <a:cubicBezTo>
                      <a:pt x="280" y="342"/>
                      <a:pt x="277" y="334"/>
                      <a:pt x="279" y="333"/>
                    </a:cubicBezTo>
                    <a:cubicBezTo>
                      <a:pt x="280" y="333"/>
                      <a:pt x="277" y="329"/>
                      <a:pt x="279" y="328"/>
                    </a:cubicBezTo>
                    <a:cubicBezTo>
                      <a:pt x="282" y="326"/>
                      <a:pt x="280" y="331"/>
                      <a:pt x="282" y="329"/>
                    </a:cubicBezTo>
                    <a:cubicBezTo>
                      <a:pt x="283" y="328"/>
                      <a:pt x="280" y="328"/>
                      <a:pt x="282" y="322"/>
                    </a:cubicBezTo>
                    <a:cubicBezTo>
                      <a:pt x="282" y="317"/>
                      <a:pt x="280" y="312"/>
                      <a:pt x="279" y="314"/>
                    </a:cubicBezTo>
                    <a:cubicBezTo>
                      <a:pt x="277" y="315"/>
                      <a:pt x="277" y="312"/>
                      <a:pt x="276" y="315"/>
                    </a:cubicBezTo>
                    <a:cubicBezTo>
                      <a:pt x="274" y="317"/>
                      <a:pt x="276" y="314"/>
                      <a:pt x="270" y="317"/>
                    </a:cubicBezTo>
                    <a:cubicBezTo>
                      <a:pt x="262" y="320"/>
                      <a:pt x="264" y="314"/>
                      <a:pt x="258" y="314"/>
                    </a:cubicBezTo>
                    <a:cubicBezTo>
                      <a:pt x="253" y="314"/>
                      <a:pt x="253" y="309"/>
                      <a:pt x="251" y="315"/>
                    </a:cubicBezTo>
                    <a:cubicBezTo>
                      <a:pt x="251" y="317"/>
                      <a:pt x="253" y="318"/>
                      <a:pt x="255" y="323"/>
                    </a:cubicBezTo>
                    <a:close/>
                    <a:moveTo>
                      <a:pt x="247" y="300"/>
                    </a:moveTo>
                    <a:cubicBezTo>
                      <a:pt x="248" y="298"/>
                      <a:pt x="250" y="305"/>
                      <a:pt x="247" y="306"/>
                    </a:cubicBezTo>
                    <a:cubicBezTo>
                      <a:pt x="245" y="306"/>
                      <a:pt x="245" y="301"/>
                      <a:pt x="247" y="300"/>
                    </a:cubicBezTo>
                    <a:close/>
                    <a:moveTo>
                      <a:pt x="277" y="305"/>
                    </a:moveTo>
                    <a:cubicBezTo>
                      <a:pt x="279" y="305"/>
                      <a:pt x="279" y="305"/>
                      <a:pt x="279" y="306"/>
                    </a:cubicBezTo>
                    <a:cubicBezTo>
                      <a:pt x="279" y="308"/>
                      <a:pt x="282" y="308"/>
                      <a:pt x="282" y="306"/>
                    </a:cubicBezTo>
                    <a:cubicBezTo>
                      <a:pt x="280" y="305"/>
                      <a:pt x="283" y="305"/>
                      <a:pt x="280" y="305"/>
                    </a:cubicBezTo>
                    <a:cubicBezTo>
                      <a:pt x="279" y="303"/>
                      <a:pt x="279" y="300"/>
                      <a:pt x="277" y="303"/>
                    </a:cubicBezTo>
                    <a:cubicBezTo>
                      <a:pt x="277" y="303"/>
                      <a:pt x="276" y="303"/>
                      <a:pt x="277" y="305"/>
                    </a:cubicBezTo>
                    <a:close/>
                    <a:moveTo>
                      <a:pt x="279" y="309"/>
                    </a:moveTo>
                    <a:cubicBezTo>
                      <a:pt x="279" y="308"/>
                      <a:pt x="283" y="308"/>
                      <a:pt x="282" y="309"/>
                    </a:cubicBezTo>
                    <a:cubicBezTo>
                      <a:pt x="282" y="311"/>
                      <a:pt x="279" y="309"/>
                      <a:pt x="279" y="309"/>
                    </a:cubicBezTo>
                    <a:close/>
                    <a:moveTo>
                      <a:pt x="197" y="261"/>
                    </a:moveTo>
                    <a:cubicBezTo>
                      <a:pt x="198" y="259"/>
                      <a:pt x="201" y="261"/>
                      <a:pt x="200" y="259"/>
                    </a:cubicBezTo>
                    <a:cubicBezTo>
                      <a:pt x="200" y="258"/>
                      <a:pt x="198" y="259"/>
                      <a:pt x="197" y="256"/>
                    </a:cubicBezTo>
                    <a:cubicBezTo>
                      <a:pt x="195" y="255"/>
                      <a:pt x="188" y="258"/>
                      <a:pt x="188" y="261"/>
                    </a:cubicBezTo>
                    <a:cubicBezTo>
                      <a:pt x="189" y="263"/>
                      <a:pt x="195" y="261"/>
                      <a:pt x="197" y="261"/>
                    </a:cubicBezTo>
                    <a:close/>
                    <a:moveTo>
                      <a:pt x="148" y="8"/>
                    </a:moveTo>
                    <a:cubicBezTo>
                      <a:pt x="145" y="3"/>
                      <a:pt x="145" y="11"/>
                      <a:pt x="140" y="8"/>
                    </a:cubicBezTo>
                    <a:cubicBezTo>
                      <a:pt x="137" y="6"/>
                      <a:pt x="140" y="11"/>
                      <a:pt x="143" y="14"/>
                    </a:cubicBezTo>
                    <a:cubicBezTo>
                      <a:pt x="145" y="14"/>
                      <a:pt x="150" y="11"/>
                      <a:pt x="148" y="8"/>
                    </a:cubicBezTo>
                    <a:close/>
                    <a:moveTo>
                      <a:pt x="139" y="11"/>
                    </a:moveTo>
                    <a:cubicBezTo>
                      <a:pt x="137" y="8"/>
                      <a:pt x="137" y="8"/>
                      <a:pt x="137" y="11"/>
                    </a:cubicBezTo>
                    <a:cubicBezTo>
                      <a:pt x="137" y="12"/>
                      <a:pt x="136" y="12"/>
                      <a:pt x="139" y="14"/>
                    </a:cubicBezTo>
                    <a:cubicBezTo>
                      <a:pt x="140" y="14"/>
                      <a:pt x="140" y="12"/>
                      <a:pt x="139" y="11"/>
                    </a:cubicBezTo>
                    <a:close/>
                    <a:moveTo>
                      <a:pt x="188" y="36"/>
                    </a:moveTo>
                    <a:cubicBezTo>
                      <a:pt x="186" y="32"/>
                      <a:pt x="191" y="32"/>
                      <a:pt x="191" y="34"/>
                    </a:cubicBezTo>
                    <a:cubicBezTo>
                      <a:pt x="189" y="37"/>
                      <a:pt x="188" y="39"/>
                      <a:pt x="188" y="36"/>
                    </a:cubicBezTo>
                    <a:close/>
                    <a:moveTo>
                      <a:pt x="320" y="151"/>
                    </a:moveTo>
                    <a:cubicBezTo>
                      <a:pt x="320" y="149"/>
                      <a:pt x="321" y="148"/>
                      <a:pt x="321" y="146"/>
                    </a:cubicBezTo>
                    <a:cubicBezTo>
                      <a:pt x="321" y="144"/>
                      <a:pt x="321" y="144"/>
                      <a:pt x="321" y="143"/>
                    </a:cubicBezTo>
                    <a:cubicBezTo>
                      <a:pt x="321" y="141"/>
                      <a:pt x="320" y="143"/>
                      <a:pt x="320" y="144"/>
                    </a:cubicBezTo>
                    <a:cubicBezTo>
                      <a:pt x="321" y="146"/>
                      <a:pt x="319" y="148"/>
                      <a:pt x="319" y="148"/>
                    </a:cubicBezTo>
                    <a:cubicBezTo>
                      <a:pt x="320" y="149"/>
                      <a:pt x="317" y="152"/>
                      <a:pt x="319" y="154"/>
                    </a:cubicBezTo>
                    <a:cubicBezTo>
                      <a:pt x="320" y="154"/>
                      <a:pt x="320" y="152"/>
                      <a:pt x="320" y="151"/>
                    </a:cubicBezTo>
                    <a:close/>
                    <a:moveTo>
                      <a:pt x="210" y="60"/>
                    </a:moveTo>
                    <a:cubicBezTo>
                      <a:pt x="212" y="60"/>
                      <a:pt x="215" y="60"/>
                      <a:pt x="213" y="59"/>
                    </a:cubicBezTo>
                    <a:cubicBezTo>
                      <a:pt x="212" y="57"/>
                      <a:pt x="207" y="60"/>
                      <a:pt x="209" y="62"/>
                    </a:cubicBezTo>
                    <a:cubicBezTo>
                      <a:pt x="209" y="62"/>
                      <a:pt x="210" y="62"/>
                      <a:pt x="210" y="60"/>
                    </a:cubicBezTo>
                    <a:close/>
                  </a:path>
                </a:pathLst>
              </a:custGeom>
              <a:solidFill>
                <a:srgbClr val="009ABE"/>
              </a:solidFill>
              <a:ln w="6350" cmpd="sng">
                <a:solidFill>
                  <a:srgbClr val="009AB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44" name="Freeform 239"/>
              <p:cNvSpPr>
                <a:spLocks noEditPoints="1"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2937582" y="3152687"/>
                <a:ext cx="113457" cy="142695"/>
              </a:xfrm>
              <a:custGeom>
                <a:avLst/>
                <a:gdLst/>
                <a:ahLst/>
                <a:cxnLst>
                  <a:cxn ang="0">
                    <a:pos x="42" y="61"/>
                  </a:cxn>
                  <a:cxn ang="0">
                    <a:pos x="47" y="59"/>
                  </a:cxn>
                  <a:cxn ang="0">
                    <a:pos x="45" y="63"/>
                  </a:cxn>
                  <a:cxn ang="0">
                    <a:pos x="42" y="61"/>
                  </a:cxn>
                  <a:cxn ang="0">
                    <a:pos x="11" y="27"/>
                  </a:cxn>
                  <a:cxn ang="0">
                    <a:pos x="11" y="22"/>
                  </a:cxn>
                  <a:cxn ang="0">
                    <a:pos x="9" y="19"/>
                  </a:cxn>
                  <a:cxn ang="0">
                    <a:pos x="7" y="23"/>
                  </a:cxn>
                  <a:cxn ang="0">
                    <a:pos x="9" y="27"/>
                  </a:cxn>
                  <a:cxn ang="0">
                    <a:pos x="11" y="27"/>
                  </a:cxn>
                  <a:cxn ang="0">
                    <a:pos x="12" y="33"/>
                  </a:cxn>
                  <a:cxn ang="0">
                    <a:pos x="12" y="30"/>
                  </a:cxn>
                  <a:cxn ang="0">
                    <a:pos x="11" y="28"/>
                  </a:cxn>
                  <a:cxn ang="0">
                    <a:pos x="11" y="31"/>
                  </a:cxn>
                  <a:cxn ang="0">
                    <a:pos x="12" y="33"/>
                  </a:cxn>
                  <a:cxn ang="0">
                    <a:pos x="6" y="3"/>
                  </a:cxn>
                  <a:cxn ang="0">
                    <a:pos x="9" y="3"/>
                  </a:cxn>
                  <a:cxn ang="0">
                    <a:pos x="4" y="2"/>
                  </a:cxn>
                  <a:cxn ang="0">
                    <a:pos x="3" y="3"/>
                  </a:cxn>
                  <a:cxn ang="0">
                    <a:pos x="3" y="5"/>
                  </a:cxn>
                  <a:cxn ang="0">
                    <a:pos x="6" y="3"/>
                  </a:cxn>
                  <a:cxn ang="0">
                    <a:pos x="17" y="8"/>
                  </a:cxn>
                  <a:cxn ang="0">
                    <a:pos x="15" y="5"/>
                  </a:cxn>
                  <a:cxn ang="0">
                    <a:pos x="11" y="0"/>
                  </a:cxn>
                  <a:cxn ang="0">
                    <a:pos x="12" y="2"/>
                  </a:cxn>
                  <a:cxn ang="0">
                    <a:pos x="15" y="5"/>
                  </a:cxn>
                  <a:cxn ang="0">
                    <a:pos x="15" y="8"/>
                  </a:cxn>
                  <a:cxn ang="0">
                    <a:pos x="15" y="11"/>
                  </a:cxn>
                  <a:cxn ang="0">
                    <a:pos x="17" y="8"/>
                  </a:cxn>
                  <a:cxn ang="0">
                    <a:pos x="48" y="49"/>
                  </a:cxn>
                  <a:cxn ang="0">
                    <a:pos x="50" y="49"/>
                  </a:cxn>
                  <a:cxn ang="0">
                    <a:pos x="47" y="47"/>
                  </a:cxn>
                  <a:cxn ang="0">
                    <a:pos x="48" y="49"/>
                  </a:cxn>
                  <a:cxn ang="0">
                    <a:pos x="23" y="19"/>
                  </a:cxn>
                  <a:cxn ang="0">
                    <a:pos x="21" y="23"/>
                  </a:cxn>
                  <a:cxn ang="0">
                    <a:pos x="23" y="25"/>
                  </a:cxn>
                  <a:cxn ang="0">
                    <a:pos x="23" y="23"/>
                  </a:cxn>
                  <a:cxn ang="0">
                    <a:pos x="23" y="17"/>
                  </a:cxn>
                  <a:cxn ang="0">
                    <a:pos x="18" y="16"/>
                  </a:cxn>
                  <a:cxn ang="0">
                    <a:pos x="23" y="19"/>
                  </a:cxn>
                  <a:cxn ang="0">
                    <a:pos x="39" y="47"/>
                  </a:cxn>
                  <a:cxn ang="0">
                    <a:pos x="39" y="49"/>
                  </a:cxn>
                  <a:cxn ang="0">
                    <a:pos x="41" y="44"/>
                  </a:cxn>
                  <a:cxn ang="0">
                    <a:pos x="38" y="42"/>
                  </a:cxn>
                  <a:cxn ang="0">
                    <a:pos x="39" y="45"/>
                  </a:cxn>
                  <a:cxn ang="0">
                    <a:pos x="39" y="47"/>
                  </a:cxn>
                  <a:cxn ang="0">
                    <a:pos x="26" y="36"/>
                  </a:cxn>
                  <a:cxn ang="0">
                    <a:pos x="26" y="36"/>
                  </a:cxn>
                  <a:cxn ang="0">
                    <a:pos x="24" y="34"/>
                  </a:cxn>
                  <a:cxn ang="0">
                    <a:pos x="26" y="36"/>
                  </a:cxn>
                  <a:cxn ang="0">
                    <a:pos x="29" y="28"/>
                  </a:cxn>
                  <a:cxn ang="0">
                    <a:pos x="27" y="23"/>
                  </a:cxn>
                  <a:cxn ang="0">
                    <a:pos x="27" y="25"/>
                  </a:cxn>
                  <a:cxn ang="0">
                    <a:pos x="29" y="28"/>
                  </a:cxn>
                  <a:cxn ang="0">
                    <a:pos x="29" y="30"/>
                  </a:cxn>
                  <a:cxn ang="0">
                    <a:pos x="29" y="28"/>
                  </a:cxn>
                  <a:cxn ang="0">
                    <a:pos x="33" y="42"/>
                  </a:cxn>
                  <a:cxn ang="0">
                    <a:pos x="33" y="41"/>
                  </a:cxn>
                  <a:cxn ang="0">
                    <a:pos x="32" y="39"/>
                  </a:cxn>
                  <a:cxn ang="0">
                    <a:pos x="30" y="34"/>
                  </a:cxn>
                  <a:cxn ang="0">
                    <a:pos x="32" y="38"/>
                  </a:cxn>
                  <a:cxn ang="0">
                    <a:pos x="32" y="41"/>
                  </a:cxn>
                  <a:cxn ang="0">
                    <a:pos x="33" y="42"/>
                  </a:cxn>
                </a:cxnLst>
                <a:rect l="0" t="0" r="r" b="b"/>
                <a:pathLst>
                  <a:path w="50" h="63">
                    <a:moveTo>
                      <a:pt x="42" y="61"/>
                    </a:moveTo>
                    <a:cubicBezTo>
                      <a:pt x="45" y="58"/>
                      <a:pt x="47" y="61"/>
                      <a:pt x="47" y="59"/>
                    </a:cubicBezTo>
                    <a:cubicBezTo>
                      <a:pt x="48" y="56"/>
                      <a:pt x="50" y="61"/>
                      <a:pt x="45" y="63"/>
                    </a:cubicBezTo>
                    <a:cubicBezTo>
                      <a:pt x="42" y="63"/>
                      <a:pt x="42" y="63"/>
                      <a:pt x="42" y="61"/>
                    </a:cubicBezTo>
                    <a:close/>
                    <a:moveTo>
                      <a:pt x="11" y="27"/>
                    </a:moveTo>
                    <a:cubicBezTo>
                      <a:pt x="12" y="25"/>
                      <a:pt x="12" y="23"/>
                      <a:pt x="11" y="22"/>
                    </a:cubicBezTo>
                    <a:cubicBezTo>
                      <a:pt x="9" y="20"/>
                      <a:pt x="9" y="19"/>
                      <a:pt x="9" y="19"/>
                    </a:cubicBezTo>
                    <a:cubicBezTo>
                      <a:pt x="7" y="19"/>
                      <a:pt x="7" y="20"/>
                      <a:pt x="7" y="23"/>
                    </a:cubicBezTo>
                    <a:cubicBezTo>
                      <a:pt x="6" y="25"/>
                      <a:pt x="6" y="25"/>
                      <a:pt x="9" y="27"/>
                    </a:cubicBezTo>
                    <a:cubicBezTo>
                      <a:pt x="11" y="28"/>
                      <a:pt x="11" y="27"/>
                      <a:pt x="11" y="27"/>
                    </a:cubicBezTo>
                    <a:close/>
                    <a:moveTo>
                      <a:pt x="12" y="33"/>
                    </a:moveTo>
                    <a:cubicBezTo>
                      <a:pt x="13" y="33"/>
                      <a:pt x="13" y="33"/>
                      <a:pt x="12" y="30"/>
                    </a:cubicBezTo>
                    <a:cubicBezTo>
                      <a:pt x="12" y="27"/>
                      <a:pt x="12" y="30"/>
                      <a:pt x="11" y="28"/>
                    </a:cubicBezTo>
                    <a:cubicBezTo>
                      <a:pt x="9" y="27"/>
                      <a:pt x="9" y="30"/>
                      <a:pt x="11" y="31"/>
                    </a:cubicBezTo>
                    <a:cubicBezTo>
                      <a:pt x="12" y="33"/>
                      <a:pt x="11" y="33"/>
                      <a:pt x="12" y="33"/>
                    </a:cubicBezTo>
                    <a:close/>
                    <a:moveTo>
                      <a:pt x="6" y="3"/>
                    </a:moveTo>
                    <a:cubicBezTo>
                      <a:pt x="9" y="3"/>
                      <a:pt x="9" y="5"/>
                      <a:pt x="9" y="3"/>
                    </a:cubicBezTo>
                    <a:cubicBezTo>
                      <a:pt x="11" y="2"/>
                      <a:pt x="7" y="3"/>
                      <a:pt x="4" y="2"/>
                    </a:cubicBezTo>
                    <a:cubicBezTo>
                      <a:pt x="1" y="2"/>
                      <a:pt x="6" y="5"/>
                      <a:pt x="3" y="3"/>
                    </a:cubicBezTo>
                    <a:cubicBezTo>
                      <a:pt x="1" y="3"/>
                      <a:pt x="0" y="3"/>
                      <a:pt x="3" y="5"/>
                    </a:cubicBezTo>
                    <a:cubicBezTo>
                      <a:pt x="3" y="5"/>
                      <a:pt x="3" y="5"/>
                      <a:pt x="6" y="3"/>
                    </a:cubicBezTo>
                    <a:close/>
                    <a:moveTo>
                      <a:pt x="17" y="8"/>
                    </a:moveTo>
                    <a:cubicBezTo>
                      <a:pt x="17" y="8"/>
                      <a:pt x="17" y="5"/>
                      <a:pt x="15" y="5"/>
                    </a:cubicBezTo>
                    <a:cubicBezTo>
                      <a:pt x="13" y="3"/>
                      <a:pt x="13" y="0"/>
                      <a:pt x="11" y="0"/>
                    </a:cubicBezTo>
                    <a:cubicBezTo>
                      <a:pt x="7" y="0"/>
                      <a:pt x="11" y="0"/>
                      <a:pt x="12" y="2"/>
                    </a:cubicBezTo>
                    <a:cubicBezTo>
                      <a:pt x="13" y="2"/>
                      <a:pt x="13" y="3"/>
                      <a:pt x="15" y="5"/>
                    </a:cubicBezTo>
                    <a:cubicBezTo>
                      <a:pt x="17" y="6"/>
                      <a:pt x="15" y="5"/>
                      <a:pt x="15" y="8"/>
                    </a:cubicBezTo>
                    <a:cubicBezTo>
                      <a:pt x="15" y="11"/>
                      <a:pt x="12" y="8"/>
                      <a:pt x="15" y="11"/>
                    </a:cubicBezTo>
                    <a:cubicBezTo>
                      <a:pt x="15" y="13"/>
                      <a:pt x="15" y="8"/>
                      <a:pt x="17" y="8"/>
                    </a:cubicBezTo>
                    <a:close/>
                    <a:moveTo>
                      <a:pt x="48" y="49"/>
                    </a:moveTo>
                    <a:cubicBezTo>
                      <a:pt x="50" y="49"/>
                      <a:pt x="50" y="49"/>
                      <a:pt x="50" y="49"/>
                    </a:cubicBezTo>
                    <a:cubicBezTo>
                      <a:pt x="50" y="47"/>
                      <a:pt x="47" y="47"/>
                      <a:pt x="47" y="47"/>
                    </a:cubicBezTo>
                    <a:cubicBezTo>
                      <a:pt x="47" y="47"/>
                      <a:pt x="47" y="49"/>
                      <a:pt x="48" y="49"/>
                    </a:cubicBezTo>
                    <a:close/>
                    <a:moveTo>
                      <a:pt x="23" y="19"/>
                    </a:moveTo>
                    <a:cubicBezTo>
                      <a:pt x="24" y="22"/>
                      <a:pt x="21" y="22"/>
                      <a:pt x="21" y="23"/>
                    </a:cubicBezTo>
                    <a:cubicBezTo>
                      <a:pt x="23" y="23"/>
                      <a:pt x="23" y="27"/>
                      <a:pt x="23" y="25"/>
                    </a:cubicBezTo>
                    <a:cubicBezTo>
                      <a:pt x="24" y="25"/>
                      <a:pt x="23" y="25"/>
                      <a:pt x="23" y="23"/>
                    </a:cubicBezTo>
                    <a:cubicBezTo>
                      <a:pt x="23" y="20"/>
                      <a:pt x="24" y="20"/>
                      <a:pt x="23" y="17"/>
                    </a:cubicBezTo>
                    <a:cubicBezTo>
                      <a:pt x="21" y="16"/>
                      <a:pt x="18" y="14"/>
                      <a:pt x="18" y="16"/>
                    </a:cubicBezTo>
                    <a:cubicBezTo>
                      <a:pt x="18" y="16"/>
                      <a:pt x="21" y="17"/>
                      <a:pt x="23" y="19"/>
                    </a:cubicBezTo>
                    <a:close/>
                    <a:moveTo>
                      <a:pt x="39" y="47"/>
                    </a:moveTo>
                    <a:cubicBezTo>
                      <a:pt x="38" y="49"/>
                      <a:pt x="38" y="50"/>
                      <a:pt x="39" y="49"/>
                    </a:cubicBezTo>
                    <a:cubicBezTo>
                      <a:pt x="42" y="47"/>
                      <a:pt x="42" y="45"/>
                      <a:pt x="41" y="44"/>
                    </a:cubicBezTo>
                    <a:cubicBezTo>
                      <a:pt x="41" y="42"/>
                      <a:pt x="41" y="44"/>
                      <a:pt x="38" y="42"/>
                    </a:cubicBezTo>
                    <a:cubicBezTo>
                      <a:pt x="36" y="42"/>
                      <a:pt x="38" y="45"/>
                      <a:pt x="39" y="45"/>
                    </a:cubicBezTo>
                    <a:cubicBezTo>
                      <a:pt x="41" y="44"/>
                      <a:pt x="41" y="45"/>
                      <a:pt x="39" y="47"/>
                    </a:cubicBezTo>
                    <a:close/>
                    <a:moveTo>
                      <a:pt x="26" y="36"/>
                    </a:moveTo>
                    <a:cubicBezTo>
                      <a:pt x="27" y="38"/>
                      <a:pt x="27" y="36"/>
                      <a:pt x="26" y="36"/>
                    </a:cubicBezTo>
                    <a:cubicBezTo>
                      <a:pt x="26" y="34"/>
                      <a:pt x="24" y="33"/>
                      <a:pt x="24" y="34"/>
                    </a:cubicBezTo>
                    <a:cubicBezTo>
                      <a:pt x="24" y="36"/>
                      <a:pt x="24" y="34"/>
                      <a:pt x="26" y="36"/>
                    </a:cubicBezTo>
                    <a:close/>
                    <a:moveTo>
                      <a:pt x="29" y="28"/>
                    </a:moveTo>
                    <a:cubicBezTo>
                      <a:pt x="29" y="27"/>
                      <a:pt x="29" y="25"/>
                      <a:pt x="27" y="23"/>
                    </a:cubicBezTo>
                    <a:cubicBezTo>
                      <a:pt x="26" y="23"/>
                      <a:pt x="26" y="23"/>
                      <a:pt x="27" y="25"/>
                    </a:cubicBezTo>
                    <a:cubicBezTo>
                      <a:pt x="27" y="25"/>
                      <a:pt x="27" y="27"/>
                      <a:pt x="29" y="28"/>
                    </a:cubicBezTo>
                    <a:cubicBezTo>
                      <a:pt x="30" y="30"/>
                      <a:pt x="27" y="31"/>
                      <a:pt x="29" y="30"/>
                    </a:cubicBezTo>
                    <a:cubicBezTo>
                      <a:pt x="30" y="30"/>
                      <a:pt x="30" y="28"/>
                      <a:pt x="29" y="28"/>
                    </a:cubicBezTo>
                    <a:close/>
                    <a:moveTo>
                      <a:pt x="33" y="42"/>
                    </a:moveTo>
                    <a:cubicBezTo>
                      <a:pt x="33" y="42"/>
                      <a:pt x="35" y="42"/>
                      <a:pt x="33" y="41"/>
                    </a:cubicBezTo>
                    <a:cubicBezTo>
                      <a:pt x="33" y="39"/>
                      <a:pt x="32" y="39"/>
                      <a:pt x="32" y="39"/>
                    </a:cubicBezTo>
                    <a:cubicBezTo>
                      <a:pt x="32" y="38"/>
                      <a:pt x="30" y="34"/>
                      <a:pt x="30" y="34"/>
                    </a:cubicBezTo>
                    <a:cubicBezTo>
                      <a:pt x="29" y="33"/>
                      <a:pt x="30" y="36"/>
                      <a:pt x="32" y="38"/>
                    </a:cubicBezTo>
                    <a:cubicBezTo>
                      <a:pt x="32" y="41"/>
                      <a:pt x="30" y="38"/>
                      <a:pt x="32" y="41"/>
                    </a:cubicBezTo>
                    <a:cubicBezTo>
                      <a:pt x="32" y="41"/>
                      <a:pt x="33" y="41"/>
                      <a:pt x="33" y="42"/>
                    </a:cubicBezTo>
                    <a:close/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45" name="Freeform 240"/>
              <p:cNvSpPr>
                <a:spLocks noEditPoints="1"/>
              </p:cNvSpPr>
              <p:nvPr>
                <p:custDataLst>
                  <p:tags r:id="rId265"/>
                </p:custDataLst>
              </p:nvPr>
            </p:nvSpPr>
            <p:spPr bwMode="auto">
              <a:xfrm>
                <a:off x="2833482" y="3238071"/>
                <a:ext cx="195333" cy="84214"/>
              </a:xfrm>
              <a:custGeom>
                <a:avLst/>
                <a:gdLst/>
                <a:ahLst/>
                <a:cxnLst>
                  <a:cxn ang="0">
                    <a:pos x="8" y="13"/>
                  </a:cxn>
                  <a:cxn ang="0">
                    <a:pos x="3" y="15"/>
                  </a:cxn>
                  <a:cxn ang="0">
                    <a:pos x="0" y="13"/>
                  </a:cxn>
                  <a:cxn ang="0">
                    <a:pos x="4" y="10"/>
                  </a:cxn>
                  <a:cxn ang="0">
                    <a:pos x="17" y="3"/>
                  </a:cxn>
                  <a:cxn ang="0">
                    <a:pos x="24" y="1"/>
                  </a:cxn>
                  <a:cxn ang="0">
                    <a:pos x="30" y="1"/>
                  </a:cxn>
                  <a:cxn ang="0">
                    <a:pos x="35" y="3"/>
                  </a:cxn>
                  <a:cxn ang="0">
                    <a:pos x="42" y="6"/>
                  </a:cxn>
                  <a:cxn ang="0">
                    <a:pos x="50" y="10"/>
                  </a:cxn>
                  <a:cxn ang="0">
                    <a:pos x="58" y="13"/>
                  </a:cxn>
                  <a:cxn ang="0">
                    <a:pos x="59" y="15"/>
                  </a:cxn>
                  <a:cxn ang="0">
                    <a:pos x="62" y="18"/>
                  </a:cxn>
                  <a:cxn ang="0">
                    <a:pos x="65" y="20"/>
                  </a:cxn>
                  <a:cxn ang="0">
                    <a:pos x="70" y="21"/>
                  </a:cxn>
                  <a:cxn ang="0">
                    <a:pos x="74" y="23"/>
                  </a:cxn>
                  <a:cxn ang="0">
                    <a:pos x="76" y="26"/>
                  </a:cxn>
                  <a:cxn ang="0">
                    <a:pos x="82" y="29"/>
                  </a:cxn>
                  <a:cxn ang="0">
                    <a:pos x="85" y="32"/>
                  </a:cxn>
                  <a:cxn ang="0">
                    <a:pos x="79" y="34"/>
                  </a:cxn>
                  <a:cxn ang="0">
                    <a:pos x="64" y="34"/>
                  </a:cxn>
                  <a:cxn ang="0">
                    <a:pos x="61" y="30"/>
                  </a:cxn>
                  <a:cxn ang="0">
                    <a:pos x="56" y="26"/>
                  </a:cxn>
                  <a:cxn ang="0">
                    <a:pos x="50" y="20"/>
                  </a:cxn>
                  <a:cxn ang="0">
                    <a:pos x="42" y="17"/>
                  </a:cxn>
                  <a:cxn ang="0">
                    <a:pos x="32" y="12"/>
                  </a:cxn>
                  <a:cxn ang="0">
                    <a:pos x="23" y="10"/>
                  </a:cxn>
                  <a:cxn ang="0">
                    <a:pos x="26" y="7"/>
                  </a:cxn>
                  <a:cxn ang="0">
                    <a:pos x="15" y="9"/>
                  </a:cxn>
                  <a:cxn ang="0">
                    <a:pos x="8" y="13"/>
                  </a:cxn>
                  <a:cxn ang="0">
                    <a:pos x="18" y="18"/>
                  </a:cxn>
                  <a:cxn ang="0">
                    <a:pos x="15" y="13"/>
                  </a:cxn>
                  <a:cxn ang="0">
                    <a:pos x="18" y="18"/>
                  </a:cxn>
                  <a:cxn ang="0">
                    <a:pos x="50" y="9"/>
                  </a:cxn>
                  <a:cxn ang="0">
                    <a:pos x="51" y="7"/>
                  </a:cxn>
                  <a:cxn ang="0">
                    <a:pos x="50" y="9"/>
                  </a:cxn>
                  <a:cxn ang="0">
                    <a:pos x="53" y="9"/>
                  </a:cxn>
                  <a:cxn ang="0">
                    <a:pos x="55" y="10"/>
                  </a:cxn>
                  <a:cxn ang="0">
                    <a:pos x="53" y="9"/>
                  </a:cxn>
                </a:cxnLst>
                <a:rect l="0" t="0" r="r" b="b"/>
                <a:pathLst>
                  <a:path w="86" h="37">
                    <a:moveTo>
                      <a:pt x="8" y="13"/>
                    </a:moveTo>
                    <a:cubicBezTo>
                      <a:pt x="4" y="13"/>
                      <a:pt x="3" y="17"/>
                      <a:pt x="3" y="15"/>
                    </a:cubicBezTo>
                    <a:cubicBezTo>
                      <a:pt x="3" y="13"/>
                      <a:pt x="0" y="15"/>
                      <a:pt x="0" y="13"/>
                    </a:cubicBezTo>
                    <a:cubicBezTo>
                      <a:pt x="0" y="12"/>
                      <a:pt x="4" y="13"/>
                      <a:pt x="4" y="10"/>
                    </a:cubicBezTo>
                    <a:cubicBezTo>
                      <a:pt x="3" y="9"/>
                      <a:pt x="8" y="4"/>
                      <a:pt x="17" y="3"/>
                    </a:cubicBezTo>
                    <a:cubicBezTo>
                      <a:pt x="21" y="3"/>
                      <a:pt x="20" y="0"/>
                      <a:pt x="24" y="1"/>
                    </a:cubicBezTo>
                    <a:cubicBezTo>
                      <a:pt x="30" y="3"/>
                      <a:pt x="29" y="0"/>
                      <a:pt x="30" y="1"/>
                    </a:cubicBezTo>
                    <a:cubicBezTo>
                      <a:pt x="32" y="3"/>
                      <a:pt x="33" y="0"/>
                      <a:pt x="35" y="3"/>
                    </a:cubicBezTo>
                    <a:cubicBezTo>
                      <a:pt x="36" y="4"/>
                      <a:pt x="39" y="1"/>
                      <a:pt x="42" y="6"/>
                    </a:cubicBezTo>
                    <a:cubicBezTo>
                      <a:pt x="45" y="10"/>
                      <a:pt x="45" y="6"/>
                      <a:pt x="50" y="10"/>
                    </a:cubicBezTo>
                    <a:cubicBezTo>
                      <a:pt x="56" y="13"/>
                      <a:pt x="58" y="12"/>
                      <a:pt x="58" y="13"/>
                    </a:cubicBezTo>
                    <a:cubicBezTo>
                      <a:pt x="56" y="15"/>
                      <a:pt x="59" y="17"/>
                      <a:pt x="59" y="15"/>
                    </a:cubicBezTo>
                    <a:cubicBezTo>
                      <a:pt x="58" y="13"/>
                      <a:pt x="61" y="15"/>
                      <a:pt x="62" y="18"/>
                    </a:cubicBezTo>
                    <a:cubicBezTo>
                      <a:pt x="65" y="20"/>
                      <a:pt x="65" y="18"/>
                      <a:pt x="65" y="20"/>
                    </a:cubicBezTo>
                    <a:cubicBezTo>
                      <a:pt x="67" y="23"/>
                      <a:pt x="68" y="20"/>
                      <a:pt x="70" y="21"/>
                    </a:cubicBezTo>
                    <a:cubicBezTo>
                      <a:pt x="71" y="23"/>
                      <a:pt x="73" y="20"/>
                      <a:pt x="74" y="23"/>
                    </a:cubicBezTo>
                    <a:cubicBezTo>
                      <a:pt x="74" y="26"/>
                      <a:pt x="70" y="24"/>
                      <a:pt x="76" y="26"/>
                    </a:cubicBezTo>
                    <a:cubicBezTo>
                      <a:pt x="80" y="26"/>
                      <a:pt x="80" y="27"/>
                      <a:pt x="82" y="29"/>
                    </a:cubicBezTo>
                    <a:cubicBezTo>
                      <a:pt x="83" y="30"/>
                      <a:pt x="86" y="29"/>
                      <a:pt x="85" y="32"/>
                    </a:cubicBezTo>
                    <a:cubicBezTo>
                      <a:pt x="83" y="34"/>
                      <a:pt x="83" y="30"/>
                      <a:pt x="79" y="34"/>
                    </a:cubicBezTo>
                    <a:cubicBezTo>
                      <a:pt x="73" y="37"/>
                      <a:pt x="76" y="32"/>
                      <a:pt x="64" y="34"/>
                    </a:cubicBezTo>
                    <a:cubicBezTo>
                      <a:pt x="51" y="35"/>
                      <a:pt x="58" y="34"/>
                      <a:pt x="61" y="30"/>
                    </a:cubicBezTo>
                    <a:cubicBezTo>
                      <a:pt x="64" y="27"/>
                      <a:pt x="61" y="26"/>
                      <a:pt x="56" y="26"/>
                    </a:cubicBezTo>
                    <a:cubicBezTo>
                      <a:pt x="51" y="26"/>
                      <a:pt x="51" y="23"/>
                      <a:pt x="50" y="20"/>
                    </a:cubicBezTo>
                    <a:cubicBezTo>
                      <a:pt x="48" y="15"/>
                      <a:pt x="47" y="18"/>
                      <a:pt x="42" y="17"/>
                    </a:cubicBezTo>
                    <a:cubicBezTo>
                      <a:pt x="36" y="15"/>
                      <a:pt x="38" y="12"/>
                      <a:pt x="32" y="12"/>
                    </a:cubicBezTo>
                    <a:cubicBezTo>
                      <a:pt x="26" y="12"/>
                      <a:pt x="26" y="12"/>
                      <a:pt x="23" y="10"/>
                    </a:cubicBezTo>
                    <a:cubicBezTo>
                      <a:pt x="21" y="9"/>
                      <a:pt x="27" y="7"/>
                      <a:pt x="26" y="7"/>
                    </a:cubicBezTo>
                    <a:cubicBezTo>
                      <a:pt x="24" y="6"/>
                      <a:pt x="18" y="4"/>
                      <a:pt x="15" y="9"/>
                    </a:cubicBezTo>
                    <a:cubicBezTo>
                      <a:pt x="11" y="12"/>
                      <a:pt x="8" y="10"/>
                      <a:pt x="8" y="13"/>
                    </a:cubicBezTo>
                    <a:close/>
                    <a:moveTo>
                      <a:pt x="18" y="18"/>
                    </a:moveTo>
                    <a:cubicBezTo>
                      <a:pt x="14" y="20"/>
                      <a:pt x="14" y="13"/>
                      <a:pt x="15" y="13"/>
                    </a:cubicBezTo>
                    <a:cubicBezTo>
                      <a:pt x="18" y="13"/>
                      <a:pt x="20" y="18"/>
                      <a:pt x="18" y="18"/>
                    </a:cubicBezTo>
                    <a:close/>
                    <a:moveTo>
                      <a:pt x="50" y="9"/>
                    </a:moveTo>
                    <a:cubicBezTo>
                      <a:pt x="48" y="7"/>
                      <a:pt x="50" y="7"/>
                      <a:pt x="51" y="7"/>
                    </a:cubicBezTo>
                    <a:cubicBezTo>
                      <a:pt x="51" y="9"/>
                      <a:pt x="51" y="9"/>
                      <a:pt x="50" y="9"/>
                    </a:cubicBezTo>
                    <a:close/>
                    <a:moveTo>
                      <a:pt x="53" y="9"/>
                    </a:moveTo>
                    <a:cubicBezTo>
                      <a:pt x="53" y="9"/>
                      <a:pt x="56" y="10"/>
                      <a:pt x="55" y="10"/>
                    </a:cubicBezTo>
                    <a:cubicBezTo>
                      <a:pt x="53" y="10"/>
                      <a:pt x="51" y="10"/>
                      <a:pt x="53" y="9"/>
                    </a:cubicBezTo>
                    <a:close/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46" name="Freeform 241"/>
              <p:cNvSpPr>
                <a:spLocks/>
              </p:cNvSpPr>
              <p:nvPr>
                <p:custDataLst>
                  <p:tags r:id="rId266"/>
                </p:custDataLst>
              </p:nvPr>
            </p:nvSpPr>
            <p:spPr bwMode="auto">
              <a:xfrm>
                <a:off x="3040512" y="3336320"/>
                <a:ext cx="10527" cy="701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5" y="3"/>
                  </a:cxn>
                  <a:cxn ang="0">
                    <a:pos x="0" y="2"/>
                  </a:cxn>
                </a:cxnLst>
                <a:rect l="0" t="0" r="r" b="b"/>
                <a:pathLst>
                  <a:path w="5" h="3">
                    <a:moveTo>
                      <a:pt x="0" y="2"/>
                    </a:moveTo>
                    <a:cubicBezTo>
                      <a:pt x="0" y="0"/>
                      <a:pt x="5" y="2"/>
                      <a:pt x="5" y="3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47" name="Freeform 242"/>
              <p:cNvSpPr>
                <a:spLocks/>
              </p:cNvSpPr>
              <p:nvPr>
                <p:custDataLst>
                  <p:tags r:id="rId267"/>
                </p:custDataLst>
              </p:nvPr>
            </p:nvSpPr>
            <p:spPr bwMode="auto">
              <a:xfrm>
                <a:off x="3113031" y="3483694"/>
                <a:ext cx="12866" cy="12866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2" y="2"/>
                  </a:cxn>
                  <a:cxn ang="0">
                    <a:pos x="3" y="3"/>
                  </a:cxn>
                  <a:cxn ang="0">
                    <a:pos x="3" y="3"/>
                  </a:cxn>
                </a:cxnLst>
                <a:rect l="0" t="0" r="r" b="b"/>
                <a:pathLst>
                  <a:path w="6" h="6">
                    <a:moveTo>
                      <a:pt x="3" y="3"/>
                    </a:moveTo>
                    <a:cubicBezTo>
                      <a:pt x="2" y="2"/>
                      <a:pt x="0" y="0"/>
                      <a:pt x="2" y="2"/>
                    </a:cubicBezTo>
                    <a:cubicBezTo>
                      <a:pt x="3" y="2"/>
                      <a:pt x="2" y="3"/>
                      <a:pt x="3" y="3"/>
                    </a:cubicBezTo>
                    <a:cubicBezTo>
                      <a:pt x="5" y="3"/>
                      <a:pt x="6" y="6"/>
                      <a:pt x="3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48" name="Freeform 243"/>
              <p:cNvSpPr>
                <a:spLocks/>
              </p:cNvSpPr>
              <p:nvPr>
                <p:custDataLst>
                  <p:tags r:id="rId268"/>
                </p:custDataLst>
              </p:nvPr>
            </p:nvSpPr>
            <p:spPr bwMode="auto">
              <a:xfrm>
                <a:off x="3125897" y="3488373"/>
                <a:ext cx="7018" cy="8187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0"/>
                  </a:cxn>
                  <a:cxn ang="0">
                    <a:pos x="2" y="3"/>
                  </a:cxn>
                  <a:cxn ang="0">
                    <a:pos x="2" y="1"/>
                  </a:cxn>
                </a:cxnLst>
                <a:rect l="0" t="0" r="r" b="b"/>
                <a:pathLst>
                  <a:path w="3" h="4">
                    <a:moveTo>
                      <a:pt x="2" y="1"/>
                    </a:moveTo>
                    <a:cubicBezTo>
                      <a:pt x="0" y="1"/>
                      <a:pt x="2" y="0"/>
                      <a:pt x="2" y="0"/>
                    </a:cubicBezTo>
                    <a:cubicBezTo>
                      <a:pt x="3" y="1"/>
                      <a:pt x="3" y="4"/>
                      <a:pt x="2" y="3"/>
                    </a:cubicBezTo>
                    <a:cubicBezTo>
                      <a:pt x="2" y="1"/>
                      <a:pt x="2" y="1"/>
                      <a:pt x="2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49" name="Freeform 244"/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3203095" y="3512936"/>
                <a:ext cx="14036" cy="701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" y="2"/>
                  </a:cxn>
                  <a:cxn ang="0">
                    <a:pos x="5" y="3"/>
                  </a:cxn>
                  <a:cxn ang="0">
                    <a:pos x="2" y="3"/>
                  </a:cxn>
                  <a:cxn ang="0">
                    <a:pos x="0" y="2"/>
                  </a:cxn>
                </a:cxnLst>
                <a:rect l="0" t="0" r="r" b="b"/>
                <a:pathLst>
                  <a:path w="6" h="3">
                    <a:moveTo>
                      <a:pt x="0" y="2"/>
                    </a:moveTo>
                    <a:cubicBezTo>
                      <a:pt x="0" y="0"/>
                      <a:pt x="2" y="3"/>
                      <a:pt x="3" y="2"/>
                    </a:cubicBezTo>
                    <a:cubicBezTo>
                      <a:pt x="5" y="0"/>
                      <a:pt x="6" y="2"/>
                      <a:pt x="5" y="3"/>
                    </a:cubicBezTo>
                    <a:cubicBezTo>
                      <a:pt x="3" y="3"/>
                      <a:pt x="2" y="3"/>
                      <a:pt x="2" y="3"/>
                    </a:cubicBezTo>
                    <a:cubicBezTo>
                      <a:pt x="2" y="3"/>
                      <a:pt x="0" y="3"/>
                      <a:pt x="0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50" name="Freeform 245"/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3262747" y="3563230"/>
                <a:ext cx="2339" cy="2339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1" y="0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51" name="Freeform 246"/>
              <p:cNvSpPr>
                <a:spLocks/>
              </p:cNvSpPr>
              <p:nvPr>
                <p:custDataLst>
                  <p:tags r:id="rId271"/>
                </p:custDataLst>
              </p:nvPr>
            </p:nvSpPr>
            <p:spPr bwMode="auto">
              <a:xfrm>
                <a:off x="3258069" y="3565569"/>
                <a:ext cx="7018" cy="3509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3" y="0"/>
                  </a:cxn>
                  <a:cxn ang="0">
                    <a:pos x="2" y="2"/>
                  </a:cxn>
                  <a:cxn ang="0">
                    <a:pos x="2" y="2"/>
                  </a:cxn>
                </a:cxnLst>
                <a:rect l="0" t="0" r="r" b="b"/>
                <a:pathLst>
                  <a:path w="3" h="2">
                    <a:moveTo>
                      <a:pt x="2" y="2"/>
                    </a:moveTo>
                    <a:cubicBezTo>
                      <a:pt x="2" y="0"/>
                      <a:pt x="2" y="0"/>
                      <a:pt x="3" y="0"/>
                    </a:cubicBezTo>
                    <a:cubicBezTo>
                      <a:pt x="3" y="0"/>
                      <a:pt x="3" y="2"/>
                      <a:pt x="2" y="2"/>
                    </a:cubicBezTo>
                    <a:cubicBezTo>
                      <a:pt x="2" y="2"/>
                      <a:pt x="0" y="2"/>
                      <a:pt x="2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52" name="Freeform 247"/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3265086" y="3569078"/>
                <a:ext cx="3509" cy="2339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0" y="0"/>
                      <a:pt x="0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53" name="Freeform 248"/>
              <p:cNvSpPr>
                <a:spLocks/>
              </p:cNvSpPr>
              <p:nvPr>
                <p:custDataLst>
                  <p:tags r:id="rId273"/>
                </p:custDataLst>
              </p:nvPr>
            </p:nvSpPr>
            <p:spPr bwMode="auto">
              <a:xfrm>
                <a:off x="3262747" y="3563230"/>
                <a:ext cx="2339" cy="2339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1" y="0"/>
                  </a:cxn>
                  <a:cxn ang="0">
                    <a:pos x="1" y="1"/>
                  </a:cxn>
                </a:cxnLst>
                <a:rect l="0" t="0" r="r" b="b"/>
                <a:pathLst>
                  <a:path w="1" h="1">
                    <a:moveTo>
                      <a:pt x="1" y="1"/>
                    </a:moveTo>
                    <a:cubicBezTo>
                      <a:pt x="0" y="1"/>
                      <a:pt x="1" y="0"/>
                      <a:pt x="1" y="0"/>
                    </a:cubicBezTo>
                    <a:cubicBezTo>
                      <a:pt x="1" y="1"/>
                      <a:pt x="1" y="1"/>
                      <a:pt x="1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54" name="Freeform 249"/>
              <p:cNvSpPr>
                <a:spLocks/>
              </p:cNvSpPr>
              <p:nvPr>
                <p:custDataLst>
                  <p:tags r:id="rId274"/>
                </p:custDataLst>
              </p:nvPr>
            </p:nvSpPr>
            <p:spPr bwMode="auto">
              <a:xfrm>
                <a:off x="3265086" y="3505917"/>
                <a:ext cx="5848" cy="11696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3" y="2"/>
                  </a:cxn>
                  <a:cxn ang="0">
                    <a:pos x="0" y="3"/>
                  </a:cxn>
                </a:cxnLst>
                <a:rect l="0" t="0" r="r" b="b"/>
                <a:pathLst>
                  <a:path w="3" h="5">
                    <a:moveTo>
                      <a:pt x="0" y="3"/>
                    </a:moveTo>
                    <a:cubicBezTo>
                      <a:pt x="0" y="2"/>
                      <a:pt x="3" y="0"/>
                      <a:pt x="3" y="2"/>
                    </a:cubicBezTo>
                    <a:cubicBezTo>
                      <a:pt x="3" y="3"/>
                      <a:pt x="0" y="5"/>
                      <a:pt x="0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55" name="Freeform 250"/>
              <p:cNvSpPr>
                <a:spLocks/>
              </p:cNvSpPr>
              <p:nvPr>
                <p:custDataLst>
                  <p:tags r:id="rId275"/>
                </p:custDataLst>
              </p:nvPr>
            </p:nvSpPr>
            <p:spPr bwMode="auto">
              <a:xfrm>
                <a:off x="3244032" y="3519953"/>
                <a:ext cx="24562" cy="17544"/>
              </a:xfrm>
              <a:custGeom>
                <a:avLst/>
                <a:gdLst/>
                <a:ahLst/>
                <a:cxnLst>
                  <a:cxn ang="0">
                    <a:pos x="6" y="8"/>
                  </a:cxn>
                  <a:cxn ang="0">
                    <a:pos x="1" y="8"/>
                  </a:cxn>
                  <a:cxn ang="0">
                    <a:pos x="4" y="5"/>
                  </a:cxn>
                  <a:cxn ang="0">
                    <a:pos x="4" y="2"/>
                  </a:cxn>
                  <a:cxn ang="0">
                    <a:pos x="9" y="2"/>
                  </a:cxn>
                  <a:cxn ang="0">
                    <a:pos x="6" y="8"/>
                  </a:cxn>
                </a:cxnLst>
                <a:rect l="0" t="0" r="r" b="b"/>
                <a:pathLst>
                  <a:path w="11" h="8">
                    <a:moveTo>
                      <a:pt x="6" y="8"/>
                    </a:moveTo>
                    <a:cubicBezTo>
                      <a:pt x="1" y="8"/>
                      <a:pt x="0" y="8"/>
                      <a:pt x="1" y="8"/>
                    </a:cubicBezTo>
                    <a:cubicBezTo>
                      <a:pt x="4" y="6"/>
                      <a:pt x="4" y="6"/>
                      <a:pt x="4" y="5"/>
                    </a:cubicBezTo>
                    <a:cubicBezTo>
                      <a:pt x="4" y="2"/>
                      <a:pt x="1" y="2"/>
                      <a:pt x="4" y="2"/>
                    </a:cubicBezTo>
                    <a:cubicBezTo>
                      <a:pt x="9" y="0"/>
                      <a:pt x="11" y="0"/>
                      <a:pt x="9" y="2"/>
                    </a:cubicBezTo>
                    <a:cubicBezTo>
                      <a:pt x="8" y="3"/>
                      <a:pt x="11" y="8"/>
                      <a:pt x="6" y="8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56" name="Freeform 251"/>
              <p:cNvSpPr>
                <a:spLocks/>
              </p:cNvSpPr>
              <p:nvPr>
                <p:custDataLst>
                  <p:tags r:id="rId276"/>
                </p:custDataLst>
              </p:nvPr>
            </p:nvSpPr>
            <p:spPr bwMode="auto">
              <a:xfrm>
                <a:off x="3246372" y="3488373"/>
                <a:ext cx="9358" cy="5848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2" y="0"/>
                  </a:cxn>
                  <a:cxn ang="0">
                    <a:pos x="2" y="3"/>
                  </a:cxn>
                </a:cxnLst>
                <a:rect l="0" t="0" r="r" b="b"/>
                <a:pathLst>
                  <a:path w="4" h="3">
                    <a:moveTo>
                      <a:pt x="2" y="3"/>
                    </a:moveTo>
                    <a:cubicBezTo>
                      <a:pt x="0" y="3"/>
                      <a:pt x="2" y="0"/>
                      <a:pt x="2" y="0"/>
                    </a:cubicBezTo>
                    <a:cubicBezTo>
                      <a:pt x="4" y="0"/>
                      <a:pt x="4" y="3"/>
                      <a:pt x="2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57" name="Freeform 252"/>
              <p:cNvSpPr>
                <a:spLocks/>
              </p:cNvSpPr>
              <p:nvPr>
                <p:custDataLst>
                  <p:tags r:id="rId277"/>
                </p:custDataLst>
              </p:nvPr>
            </p:nvSpPr>
            <p:spPr bwMode="auto">
              <a:xfrm>
                <a:off x="3258069" y="3462641"/>
                <a:ext cx="4679" cy="701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cubicBezTo>
                      <a:pt x="0" y="2"/>
                      <a:pt x="0" y="0"/>
                      <a:pt x="2" y="0"/>
                    </a:cubicBezTo>
                    <a:cubicBezTo>
                      <a:pt x="2" y="0"/>
                      <a:pt x="2" y="3"/>
                      <a:pt x="0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58" name="Freeform 253"/>
              <p:cNvSpPr>
                <a:spLocks/>
              </p:cNvSpPr>
              <p:nvPr>
                <p:custDataLst>
                  <p:tags r:id="rId278"/>
                </p:custDataLst>
              </p:nvPr>
            </p:nvSpPr>
            <p:spPr bwMode="auto">
              <a:xfrm>
                <a:off x="3262747" y="3447436"/>
                <a:ext cx="5848" cy="935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1" y="1"/>
                  </a:cxn>
                  <a:cxn ang="0">
                    <a:pos x="1" y="3"/>
                  </a:cxn>
                  <a:cxn ang="0">
                    <a:pos x="0" y="4"/>
                  </a:cxn>
                </a:cxnLst>
                <a:rect l="0" t="0" r="r" b="b"/>
                <a:pathLst>
                  <a:path w="3" h="4">
                    <a:moveTo>
                      <a:pt x="0" y="4"/>
                    </a:moveTo>
                    <a:cubicBezTo>
                      <a:pt x="0" y="3"/>
                      <a:pt x="0" y="1"/>
                      <a:pt x="1" y="1"/>
                    </a:cubicBezTo>
                    <a:cubicBezTo>
                      <a:pt x="1" y="0"/>
                      <a:pt x="3" y="1"/>
                      <a:pt x="1" y="3"/>
                    </a:cubicBezTo>
                    <a:cubicBezTo>
                      <a:pt x="1" y="4"/>
                      <a:pt x="1" y="4"/>
                      <a:pt x="0" y="4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59" name="Freeform 254"/>
              <p:cNvSpPr>
                <a:spLocks/>
              </p:cNvSpPr>
              <p:nvPr>
                <p:custDataLst>
                  <p:tags r:id="rId279"/>
                </p:custDataLst>
              </p:nvPr>
            </p:nvSpPr>
            <p:spPr bwMode="auto">
              <a:xfrm>
                <a:off x="3255729" y="3413516"/>
                <a:ext cx="2339" cy="10527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0" y="2"/>
                  </a:cxn>
                  <a:cxn ang="0">
                    <a:pos x="1" y="0"/>
                  </a:cxn>
                  <a:cxn ang="0">
                    <a:pos x="1" y="3"/>
                  </a:cxn>
                </a:cxnLst>
                <a:rect l="0" t="0" r="r" b="b"/>
                <a:pathLst>
                  <a:path w="1" h="5">
                    <a:moveTo>
                      <a:pt x="1" y="3"/>
                    </a:moveTo>
                    <a:cubicBezTo>
                      <a:pt x="0" y="5"/>
                      <a:pt x="1" y="3"/>
                      <a:pt x="0" y="2"/>
                    </a:cubicBezTo>
                    <a:cubicBezTo>
                      <a:pt x="0" y="0"/>
                      <a:pt x="0" y="0"/>
                      <a:pt x="1" y="0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60" name="Freeform 255"/>
              <p:cNvSpPr>
                <a:spLocks/>
              </p:cNvSpPr>
              <p:nvPr>
                <p:custDataLst>
                  <p:tags r:id="rId280"/>
                </p:custDataLst>
              </p:nvPr>
            </p:nvSpPr>
            <p:spPr bwMode="auto">
              <a:xfrm>
                <a:off x="3284971" y="3462641"/>
                <a:ext cx="7018" cy="11696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2" y="2"/>
                  </a:cxn>
                  <a:cxn ang="0">
                    <a:pos x="2" y="2"/>
                  </a:cxn>
                  <a:cxn ang="0">
                    <a:pos x="3" y="3"/>
                  </a:cxn>
                </a:cxnLst>
                <a:rect l="0" t="0" r="r" b="b"/>
                <a:pathLst>
                  <a:path w="3" h="5">
                    <a:moveTo>
                      <a:pt x="3" y="3"/>
                    </a:moveTo>
                    <a:cubicBezTo>
                      <a:pt x="2" y="5"/>
                      <a:pt x="0" y="3"/>
                      <a:pt x="2" y="2"/>
                    </a:cubicBezTo>
                    <a:cubicBezTo>
                      <a:pt x="2" y="0"/>
                      <a:pt x="2" y="0"/>
                      <a:pt x="2" y="2"/>
                    </a:cubicBezTo>
                    <a:cubicBezTo>
                      <a:pt x="3" y="2"/>
                      <a:pt x="3" y="2"/>
                      <a:pt x="3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61" name="Freeform 256"/>
              <p:cNvSpPr>
                <a:spLocks/>
              </p:cNvSpPr>
              <p:nvPr>
                <p:custDataLst>
                  <p:tags r:id="rId281"/>
                </p:custDataLst>
              </p:nvPr>
            </p:nvSpPr>
            <p:spPr bwMode="auto">
              <a:xfrm>
                <a:off x="3183210" y="3353864"/>
                <a:ext cx="2339" cy="467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1" y="2"/>
                  </a:cxn>
                  <a:cxn ang="0">
                    <a:pos x="0" y="2"/>
                  </a:cxn>
                </a:cxnLst>
                <a:rect l="0" t="0" r="r" b="b"/>
                <a:pathLst>
                  <a:path w="1" h="2">
                    <a:moveTo>
                      <a:pt x="0" y="2"/>
                    </a:moveTo>
                    <a:cubicBezTo>
                      <a:pt x="0" y="2"/>
                      <a:pt x="1" y="0"/>
                      <a:pt x="1" y="2"/>
                    </a:cubicBezTo>
                    <a:cubicBezTo>
                      <a:pt x="0" y="2"/>
                      <a:pt x="0" y="2"/>
                      <a:pt x="0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62" name="Freeform 257"/>
              <p:cNvSpPr>
                <a:spLocks/>
              </p:cNvSpPr>
              <p:nvPr>
                <p:custDataLst>
                  <p:tags r:id="rId282"/>
                </p:custDataLst>
              </p:nvPr>
            </p:nvSpPr>
            <p:spPr bwMode="auto">
              <a:xfrm>
                <a:off x="3191398" y="3365561"/>
                <a:ext cx="9358" cy="233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0" y="0"/>
                      <a:pt x="2" y="0"/>
                      <a:pt x="4" y="0"/>
                    </a:cubicBezTo>
                    <a:cubicBezTo>
                      <a:pt x="4" y="0"/>
                      <a:pt x="0" y="1"/>
                      <a:pt x="0" y="0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63" name="Freeform 258"/>
              <p:cNvSpPr>
                <a:spLocks/>
              </p:cNvSpPr>
              <p:nvPr>
                <p:custDataLst>
                  <p:tags r:id="rId283"/>
                </p:custDataLst>
              </p:nvPr>
            </p:nvSpPr>
            <p:spPr bwMode="auto">
              <a:xfrm>
                <a:off x="3258069" y="3426383"/>
                <a:ext cx="10527" cy="16375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5" y="7"/>
                  </a:cxn>
                  <a:cxn ang="0">
                    <a:pos x="3" y="5"/>
                  </a:cxn>
                </a:cxnLst>
                <a:rect l="0" t="0" r="r" b="b"/>
                <a:pathLst>
                  <a:path w="5" h="7">
                    <a:moveTo>
                      <a:pt x="3" y="5"/>
                    </a:moveTo>
                    <a:cubicBezTo>
                      <a:pt x="0" y="5"/>
                      <a:pt x="2" y="3"/>
                      <a:pt x="2" y="2"/>
                    </a:cubicBezTo>
                    <a:cubicBezTo>
                      <a:pt x="0" y="2"/>
                      <a:pt x="2" y="0"/>
                      <a:pt x="3" y="2"/>
                    </a:cubicBezTo>
                    <a:cubicBezTo>
                      <a:pt x="5" y="3"/>
                      <a:pt x="5" y="7"/>
                      <a:pt x="5" y="7"/>
                    </a:cubicBezTo>
                    <a:cubicBezTo>
                      <a:pt x="3" y="7"/>
                      <a:pt x="5" y="5"/>
                      <a:pt x="3" y="5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64" name="Freeform 259"/>
              <p:cNvSpPr>
                <a:spLocks/>
              </p:cNvSpPr>
              <p:nvPr>
                <p:custDataLst>
                  <p:tags r:id="rId284"/>
                </p:custDataLst>
              </p:nvPr>
            </p:nvSpPr>
            <p:spPr bwMode="auto">
              <a:xfrm>
                <a:off x="3246372" y="3392462"/>
                <a:ext cx="9358" cy="14036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2" y="5"/>
                  </a:cxn>
                </a:cxnLst>
                <a:rect l="0" t="0" r="r" b="b"/>
                <a:pathLst>
                  <a:path w="4" h="6">
                    <a:moveTo>
                      <a:pt x="2" y="5"/>
                    </a:moveTo>
                    <a:cubicBezTo>
                      <a:pt x="2" y="6"/>
                      <a:pt x="0" y="5"/>
                      <a:pt x="0" y="2"/>
                    </a:cubicBezTo>
                    <a:cubicBezTo>
                      <a:pt x="2" y="0"/>
                      <a:pt x="4" y="3"/>
                      <a:pt x="2" y="3"/>
                    </a:cubicBezTo>
                    <a:cubicBezTo>
                      <a:pt x="2" y="5"/>
                      <a:pt x="4" y="5"/>
                      <a:pt x="2" y="5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65" name="Freeform 260"/>
              <p:cNvSpPr>
                <a:spLocks/>
              </p:cNvSpPr>
              <p:nvPr>
                <p:custDataLst>
                  <p:tags r:id="rId285"/>
                </p:custDataLst>
              </p:nvPr>
            </p:nvSpPr>
            <p:spPr bwMode="auto">
              <a:xfrm>
                <a:off x="3251050" y="3392462"/>
                <a:ext cx="11696" cy="7018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1" y="2"/>
                  </a:cxn>
                  <a:cxn ang="0">
                    <a:pos x="3" y="2"/>
                  </a:cxn>
                  <a:cxn ang="0">
                    <a:pos x="5" y="3"/>
                  </a:cxn>
                  <a:cxn ang="0">
                    <a:pos x="3" y="3"/>
                  </a:cxn>
                  <a:cxn ang="0">
                    <a:pos x="1" y="3"/>
                  </a:cxn>
                </a:cxnLst>
                <a:rect l="0" t="0" r="r" b="b"/>
                <a:pathLst>
                  <a:path w="5" h="3">
                    <a:moveTo>
                      <a:pt x="1" y="3"/>
                    </a:moveTo>
                    <a:cubicBezTo>
                      <a:pt x="0" y="2"/>
                      <a:pt x="1" y="2"/>
                      <a:pt x="1" y="2"/>
                    </a:cubicBezTo>
                    <a:cubicBezTo>
                      <a:pt x="1" y="0"/>
                      <a:pt x="1" y="0"/>
                      <a:pt x="3" y="2"/>
                    </a:cubicBezTo>
                    <a:cubicBezTo>
                      <a:pt x="3" y="2"/>
                      <a:pt x="3" y="2"/>
                      <a:pt x="5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1" y="3"/>
                      <a:pt x="1" y="3"/>
                      <a:pt x="1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66" name="Freeform 261"/>
              <p:cNvSpPr>
                <a:spLocks/>
              </p:cNvSpPr>
              <p:nvPr>
                <p:custDataLst>
                  <p:tags r:id="rId286"/>
                </p:custDataLst>
              </p:nvPr>
            </p:nvSpPr>
            <p:spPr bwMode="auto">
              <a:xfrm>
                <a:off x="3258069" y="3404159"/>
                <a:ext cx="4679" cy="2339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0" y="0"/>
                      <a:pt x="2" y="1"/>
                      <a:pt x="0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67" name="Freeform 262"/>
              <p:cNvSpPr>
                <a:spLocks/>
              </p:cNvSpPr>
              <p:nvPr>
                <p:custDataLst>
                  <p:tags r:id="rId287"/>
                </p:custDataLst>
              </p:nvPr>
            </p:nvSpPr>
            <p:spPr bwMode="auto">
              <a:xfrm>
                <a:off x="3224149" y="3358543"/>
                <a:ext cx="4679" cy="2339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2" y="0"/>
                  </a:cxn>
                  <a:cxn ang="0">
                    <a:pos x="2" y="1"/>
                  </a:cxn>
                </a:cxnLst>
                <a:rect l="0" t="0" r="r" b="b"/>
                <a:pathLst>
                  <a:path w="2" h="1">
                    <a:moveTo>
                      <a:pt x="2" y="1"/>
                    </a:moveTo>
                    <a:cubicBezTo>
                      <a:pt x="0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68" name="Freeform 263"/>
              <p:cNvSpPr>
                <a:spLocks/>
              </p:cNvSpPr>
              <p:nvPr>
                <p:custDataLst>
                  <p:tags r:id="rId288"/>
                </p:custDataLst>
              </p:nvPr>
            </p:nvSpPr>
            <p:spPr bwMode="auto">
              <a:xfrm>
                <a:off x="3224149" y="3349186"/>
                <a:ext cx="4679" cy="935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2"/>
                  </a:cxn>
                  <a:cxn ang="0">
                    <a:pos x="0" y="2"/>
                  </a:cxn>
                </a:cxnLst>
                <a:rect l="0" t="0" r="r" b="b"/>
                <a:pathLst>
                  <a:path w="2" h="4">
                    <a:moveTo>
                      <a:pt x="0" y="2"/>
                    </a:moveTo>
                    <a:cubicBezTo>
                      <a:pt x="0" y="2"/>
                      <a:pt x="2" y="0"/>
                      <a:pt x="2" y="2"/>
                    </a:cubicBezTo>
                    <a:cubicBezTo>
                      <a:pt x="2" y="2"/>
                      <a:pt x="0" y="4"/>
                      <a:pt x="0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69" name="Freeform 264"/>
              <p:cNvSpPr>
                <a:spLocks/>
              </p:cNvSpPr>
              <p:nvPr>
                <p:custDataLst>
                  <p:tags r:id="rId289"/>
                </p:custDataLst>
              </p:nvPr>
            </p:nvSpPr>
            <p:spPr bwMode="auto">
              <a:xfrm>
                <a:off x="3239354" y="3385445"/>
                <a:ext cx="4679" cy="4679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0" y="0"/>
                  </a:cxn>
                  <a:cxn ang="0">
                    <a:pos x="0" y="2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2" y="2"/>
                      <a:pt x="0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70" name="Freeform 265"/>
              <p:cNvSpPr>
                <a:spLocks/>
              </p:cNvSpPr>
              <p:nvPr>
                <p:custDataLst>
                  <p:tags r:id="rId290"/>
                </p:custDataLst>
              </p:nvPr>
            </p:nvSpPr>
            <p:spPr bwMode="auto">
              <a:xfrm>
                <a:off x="3234675" y="3374918"/>
                <a:ext cx="2339" cy="4679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0" y="2"/>
                  </a:cxn>
                  <a:cxn ang="0">
                    <a:pos x="1" y="2"/>
                  </a:cxn>
                </a:cxnLst>
                <a:rect l="0" t="0" r="r" b="b"/>
                <a:pathLst>
                  <a:path w="1" h="2">
                    <a:moveTo>
                      <a:pt x="1" y="2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0" y="0"/>
                      <a:pt x="1" y="2"/>
                      <a:pt x="1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71" name="Freeform 266"/>
              <p:cNvSpPr>
                <a:spLocks/>
              </p:cNvSpPr>
              <p:nvPr>
                <p:custDataLst>
                  <p:tags r:id="rId291"/>
                </p:custDataLst>
              </p:nvPr>
            </p:nvSpPr>
            <p:spPr bwMode="auto">
              <a:xfrm>
                <a:off x="3229997" y="3372579"/>
                <a:ext cx="4679" cy="701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1"/>
                  </a:cxn>
                  <a:cxn ang="0">
                    <a:pos x="0" y="0"/>
                  </a:cxn>
                </a:cxnLst>
                <a:rect l="0" t="0" r="r" b="b"/>
                <a:pathLst>
                  <a:path w="2" h="3">
                    <a:moveTo>
                      <a:pt x="0" y="0"/>
                    </a:moveTo>
                    <a:cubicBezTo>
                      <a:pt x="2" y="1"/>
                      <a:pt x="2" y="1"/>
                      <a:pt x="2" y="1"/>
                    </a:cubicBezTo>
                    <a:cubicBezTo>
                      <a:pt x="2" y="3"/>
                      <a:pt x="0" y="1"/>
                      <a:pt x="0" y="0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72" name="Freeform 267"/>
              <p:cNvSpPr>
                <a:spLocks/>
              </p:cNvSpPr>
              <p:nvPr>
                <p:custDataLst>
                  <p:tags r:id="rId292"/>
                </p:custDataLst>
              </p:nvPr>
            </p:nvSpPr>
            <p:spPr bwMode="auto">
              <a:xfrm>
                <a:off x="3246372" y="3379597"/>
                <a:ext cx="4679" cy="2339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1">
                    <a:moveTo>
                      <a:pt x="0" y="1"/>
                    </a:moveTo>
                    <a:cubicBezTo>
                      <a:pt x="0" y="1"/>
                      <a:pt x="0" y="0"/>
                      <a:pt x="2" y="0"/>
                    </a:cubicBezTo>
                    <a:cubicBezTo>
                      <a:pt x="2" y="0"/>
                      <a:pt x="2" y="1"/>
                      <a:pt x="0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73" name="Freeform 268"/>
              <p:cNvSpPr>
                <a:spLocks/>
              </p:cNvSpPr>
              <p:nvPr>
                <p:custDataLst>
                  <p:tags r:id="rId293"/>
                </p:custDataLst>
              </p:nvPr>
            </p:nvSpPr>
            <p:spPr bwMode="auto">
              <a:xfrm>
                <a:off x="3246372" y="3365561"/>
                <a:ext cx="4679" cy="701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0"/>
                  </a:cxn>
                  <a:cxn ang="0">
                    <a:pos x="0" y="1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cubicBezTo>
                      <a:pt x="0" y="1"/>
                      <a:pt x="0" y="0"/>
                      <a:pt x="2" y="0"/>
                    </a:cubicBezTo>
                    <a:cubicBezTo>
                      <a:pt x="2" y="1"/>
                      <a:pt x="2" y="3"/>
                      <a:pt x="0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74" name="Freeform 269"/>
              <p:cNvSpPr>
                <a:spLocks noEditPoints="1"/>
              </p:cNvSpPr>
              <p:nvPr>
                <p:custDataLst>
                  <p:tags r:id="rId294"/>
                </p:custDataLst>
              </p:nvPr>
            </p:nvSpPr>
            <p:spPr bwMode="auto">
              <a:xfrm>
                <a:off x="1824066" y="1504668"/>
                <a:ext cx="1593076" cy="1284262"/>
              </a:xfrm>
              <a:custGeom>
                <a:avLst/>
                <a:gdLst/>
                <a:ahLst/>
                <a:cxnLst>
                  <a:cxn ang="0">
                    <a:pos x="116" y="479"/>
                  </a:cxn>
                  <a:cxn ang="0">
                    <a:pos x="70" y="434"/>
                  </a:cxn>
                  <a:cxn ang="0">
                    <a:pos x="70" y="438"/>
                  </a:cxn>
                  <a:cxn ang="0">
                    <a:pos x="66" y="435"/>
                  </a:cxn>
                  <a:cxn ang="0">
                    <a:pos x="86" y="426"/>
                  </a:cxn>
                  <a:cxn ang="0">
                    <a:pos x="93" y="432"/>
                  </a:cxn>
                  <a:cxn ang="0">
                    <a:pos x="177" y="170"/>
                  </a:cxn>
                  <a:cxn ang="0">
                    <a:pos x="121" y="179"/>
                  </a:cxn>
                  <a:cxn ang="0">
                    <a:pos x="306" y="213"/>
                  </a:cxn>
                  <a:cxn ang="0">
                    <a:pos x="264" y="187"/>
                  </a:cxn>
                  <a:cxn ang="0">
                    <a:pos x="182" y="177"/>
                  </a:cxn>
                  <a:cxn ang="0">
                    <a:pos x="215" y="221"/>
                  </a:cxn>
                  <a:cxn ang="0">
                    <a:pos x="284" y="168"/>
                  </a:cxn>
                  <a:cxn ang="0">
                    <a:pos x="501" y="281"/>
                  </a:cxn>
                  <a:cxn ang="0">
                    <a:pos x="606" y="303"/>
                  </a:cxn>
                  <a:cxn ang="0">
                    <a:pos x="612" y="249"/>
                  </a:cxn>
                  <a:cxn ang="0">
                    <a:pos x="510" y="171"/>
                  </a:cxn>
                  <a:cxn ang="0">
                    <a:pos x="404" y="184"/>
                  </a:cxn>
                  <a:cxn ang="0">
                    <a:pos x="463" y="297"/>
                  </a:cxn>
                  <a:cxn ang="0">
                    <a:pos x="500" y="168"/>
                  </a:cxn>
                  <a:cxn ang="0">
                    <a:pos x="483" y="140"/>
                  </a:cxn>
                  <a:cxn ang="0">
                    <a:pos x="352" y="109"/>
                  </a:cxn>
                  <a:cxn ang="0">
                    <a:pos x="370" y="180"/>
                  </a:cxn>
                  <a:cxn ang="0">
                    <a:pos x="316" y="160"/>
                  </a:cxn>
                  <a:cxn ang="0">
                    <a:pos x="287" y="73"/>
                  </a:cxn>
                  <a:cxn ang="0">
                    <a:pos x="498" y="96"/>
                  </a:cxn>
                  <a:cxn ang="0">
                    <a:pos x="602" y="5"/>
                  </a:cxn>
                  <a:cxn ang="0">
                    <a:pos x="405" y="22"/>
                  </a:cxn>
                  <a:cxn ang="0">
                    <a:pos x="431" y="53"/>
                  </a:cxn>
                  <a:cxn ang="0">
                    <a:pos x="418" y="114"/>
                  </a:cxn>
                  <a:cxn ang="0">
                    <a:pos x="431" y="72"/>
                  </a:cxn>
                  <a:cxn ang="0">
                    <a:pos x="338" y="76"/>
                  </a:cxn>
                  <a:cxn ang="0">
                    <a:pos x="244" y="112"/>
                  </a:cxn>
                  <a:cxn ang="0">
                    <a:pos x="215" y="143"/>
                  </a:cxn>
                  <a:cxn ang="0">
                    <a:pos x="157" y="120"/>
                  </a:cxn>
                  <a:cxn ang="0">
                    <a:pos x="249" y="87"/>
                  </a:cxn>
                  <a:cxn ang="0">
                    <a:pos x="303" y="126"/>
                  </a:cxn>
                  <a:cxn ang="0">
                    <a:pos x="640" y="522"/>
                  </a:cxn>
                  <a:cxn ang="0">
                    <a:pos x="687" y="501"/>
                  </a:cxn>
                  <a:cxn ang="0">
                    <a:pos x="678" y="456"/>
                  </a:cxn>
                  <a:cxn ang="0">
                    <a:pos x="401" y="494"/>
                  </a:cxn>
                  <a:cxn ang="0">
                    <a:pos x="448" y="508"/>
                  </a:cxn>
                  <a:cxn ang="0">
                    <a:pos x="472" y="529"/>
                  </a:cxn>
                  <a:cxn ang="0">
                    <a:pos x="492" y="554"/>
                  </a:cxn>
                  <a:cxn ang="0">
                    <a:pos x="561" y="521"/>
                  </a:cxn>
                  <a:cxn ang="0">
                    <a:pos x="602" y="530"/>
                  </a:cxn>
                  <a:cxn ang="0">
                    <a:pos x="649" y="463"/>
                  </a:cxn>
                  <a:cxn ang="0">
                    <a:pos x="609" y="350"/>
                  </a:cxn>
                  <a:cxn ang="0">
                    <a:pos x="501" y="356"/>
                  </a:cxn>
                  <a:cxn ang="0">
                    <a:pos x="379" y="367"/>
                  </a:cxn>
                  <a:cxn ang="0">
                    <a:pos x="462" y="258"/>
                  </a:cxn>
                  <a:cxn ang="0">
                    <a:pos x="408" y="222"/>
                  </a:cxn>
                  <a:cxn ang="0">
                    <a:pos x="361" y="240"/>
                  </a:cxn>
                  <a:cxn ang="0">
                    <a:pos x="204" y="238"/>
                  </a:cxn>
                  <a:cxn ang="0">
                    <a:pos x="52" y="227"/>
                  </a:cxn>
                  <a:cxn ang="0">
                    <a:pos x="48" y="356"/>
                  </a:cxn>
                  <a:cxn ang="0">
                    <a:pos x="96" y="432"/>
                  </a:cxn>
                  <a:cxn ang="0">
                    <a:pos x="119" y="466"/>
                  </a:cxn>
                  <a:cxn ang="0">
                    <a:pos x="484" y="317"/>
                  </a:cxn>
                  <a:cxn ang="0">
                    <a:pos x="183" y="120"/>
                  </a:cxn>
                  <a:cxn ang="0">
                    <a:pos x="305" y="115"/>
                  </a:cxn>
                  <a:cxn ang="0">
                    <a:pos x="471" y="437"/>
                  </a:cxn>
                  <a:cxn ang="0">
                    <a:pos x="494" y="398"/>
                  </a:cxn>
                </a:cxnLst>
                <a:rect l="0" t="0" r="r" b="b"/>
                <a:pathLst>
                  <a:path w="702" h="566">
                    <a:moveTo>
                      <a:pt x="99" y="463"/>
                    </a:moveTo>
                    <a:cubicBezTo>
                      <a:pt x="102" y="462"/>
                      <a:pt x="107" y="463"/>
                      <a:pt x="108" y="465"/>
                    </a:cubicBezTo>
                    <a:cubicBezTo>
                      <a:pt x="110" y="466"/>
                      <a:pt x="122" y="468"/>
                      <a:pt x="124" y="470"/>
                    </a:cubicBezTo>
                    <a:cubicBezTo>
                      <a:pt x="125" y="474"/>
                      <a:pt x="128" y="476"/>
                      <a:pt x="128" y="476"/>
                    </a:cubicBezTo>
                    <a:cubicBezTo>
                      <a:pt x="127" y="477"/>
                      <a:pt x="130" y="480"/>
                      <a:pt x="133" y="480"/>
                    </a:cubicBezTo>
                    <a:cubicBezTo>
                      <a:pt x="136" y="482"/>
                      <a:pt x="136" y="485"/>
                      <a:pt x="137" y="485"/>
                    </a:cubicBezTo>
                    <a:cubicBezTo>
                      <a:pt x="139" y="487"/>
                      <a:pt x="137" y="488"/>
                      <a:pt x="139" y="488"/>
                    </a:cubicBezTo>
                    <a:cubicBezTo>
                      <a:pt x="140" y="490"/>
                      <a:pt x="140" y="493"/>
                      <a:pt x="139" y="491"/>
                    </a:cubicBezTo>
                    <a:cubicBezTo>
                      <a:pt x="139" y="491"/>
                      <a:pt x="139" y="493"/>
                      <a:pt x="136" y="493"/>
                    </a:cubicBezTo>
                    <a:cubicBezTo>
                      <a:pt x="133" y="491"/>
                      <a:pt x="133" y="490"/>
                      <a:pt x="130" y="490"/>
                    </a:cubicBezTo>
                    <a:cubicBezTo>
                      <a:pt x="127" y="490"/>
                      <a:pt x="125" y="487"/>
                      <a:pt x="125" y="485"/>
                    </a:cubicBezTo>
                    <a:cubicBezTo>
                      <a:pt x="127" y="485"/>
                      <a:pt x="125" y="485"/>
                      <a:pt x="124" y="485"/>
                    </a:cubicBezTo>
                    <a:cubicBezTo>
                      <a:pt x="122" y="485"/>
                      <a:pt x="119" y="484"/>
                      <a:pt x="121" y="482"/>
                    </a:cubicBezTo>
                    <a:cubicBezTo>
                      <a:pt x="121" y="480"/>
                      <a:pt x="119" y="482"/>
                      <a:pt x="119" y="480"/>
                    </a:cubicBezTo>
                    <a:cubicBezTo>
                      <a:pt x="118" y="479"/>
                      <a:pt x="118" y="479"/>
                      <a:pt x="116" y="479"/>
                    </a:cubicBezTo>
                    <a:cubicBezTo>
                      <a:pt x="113" y="480"/>
                      <a:pt x="113" y="477"/>
                      <a:pt x="115" y="477"/>
                    </a:cubicBezTo>
                    <a:cubicBezTo>
                      <a:pt x="118" y="476"/>
                      <a:pt x="115" y="477"/>
                      <a:pt x="113" y="474"/>
                    </a:cubicBezTo>
                    <a:cubicBezTo>
                      <a:pt x="113" y="471"/>
                      <a:pt x="110" y="476"/>
                      <a:pt x="110" y="474"/>
                    </a:cubicBezTo>
                    <a:cubicBezTo>
                      <a:pt x="108" y="473"/>
                      <a:pt x="110" y="471"/>
                      <a:pt x="110" y="471"/>
                    </a:cubicBezTo>
                    <a:cubicBezTo>
                      <a:pt x="108" y="470"/>
                      <a:pt x="107" y="474"/>
                      <a:pt x="107" y="471"/>
                    </a:cubicBezTo>
                    <a:cubicBezTo>
                      <a:pt x="107" y="470"/>
                      <a:pt x="104" y="473"/>
                      <a:pt x="104" y="471"/>
                    </a:cubicBezTo>
                    <a:cubicBezTo>
                      <a:pt x="102" y="471"/>
                      <a:pt x="105" y="470"/>
                      <a:pt x="104" y="470"/>
                    </a:cubicBezTo>
                    <a:cubicBezTo>
                      <a:pt x="102" y="468"/>
                      <a:pt x="104" y="466"/>
                      <a:pt x="107" y="466"/>
                    </a:cubicBezTo>
                    <a:cubicBezTo>
                      <a:pt x="108" y="466"/>
                      <a:pt x="105" y="465"/>
                      <a:pt x="104" y="466"/>
                    </a:cubicBezTo>
                    <a:cubicBezTo>
                      <a:pt x="101" y="466"/>
                      <a:pt x="98" y="463"/>
                      <a:pt x="99" y="463"/>
                    </a:cubicBezTo>
                    <a:close/>
                    <a:moveTo>
                      <a:pt x="64" y="431"/>
                    </a:moveTo>
                    <a:cubicBezTo>
                      <a:pt x="66" y="431"/>
                      <a:pt x="67" y="432"/>
                      <a:pt x="66" y="432"/>
                    </a:cubicBezTo>
                    <a:cubicBezTo>
                      <a:pt x="64" y="431"/>
                      <a:pt x="64" y="432"/>
                      <a:pt x="66" y="432"/>
                    </a:cubicBezTo>
                    <a:cubicBezTo>
                      <a:pt x="67" y="434"/>
                      <a:pt x="64" y="434"/>
                      <a:pt x="67" y="434"/>
                    </a:cubicBezTo>
                    <a:cubicBezTo>
                      <a:pt x="70" y="434"/>
                      <a:pt x="67" y="434"/>
                      <a:pt x="70" y="434"/>
                    </a:cubicBezTo>
                    <a:cubicBezTo>
                      <a:pt x="72" y="432"/>
                      <a:pt x="70" y="428"/>
                      <a:pt x="72" y="426"/>
                    </a:cubicBezTo>
                    <a:cubicBezTo>
                      <a:pt x="73" y="425"/>
                      <a:pt x="73" y="421"/>
                      <a:pt x="72" y="423"/>
                    </a:cubicBezTo>
                    <a:cubicBezTo>
                      <a:pt x="70" y="425"/>
                      <a:pt x="69" y="423"/>
                      <a:pt x="69" y="425"/>
                    </a:cubicBezTo>
                    <a:cubicBezTo>
                      <a:pt x="70" y="426"/>
                      <a:pt x="70" y="428"/>
                      <a:pt x="67" y="428"/>
                    </a:cubicBezTo>
                    <a:cubicBezTo>
                      <a:pt x="66" y="429"/>
                      <a:pt x="64" y="428"/>
                      <a:pt x="66" y="428"/>
                    </a:cubicBezTo>
                    <a:cubicBezTo>
                      <a:pt x="69" y="426"/>
                      <a:pt x="70" y="426"/>
                      <a:pt x="69" y="423"/>
                    </a:cubicBezTo>
                    <a:cubicBezTo>
                      <a:pt x="67" y="421"/>
                      <a:pt x="67" y="423"/>
                      <a:pt x="66" y="423"/>
                    </a:cubicBezTo>
                    <a:cubicBezTo>
                      <a:pt x="64" y="421"/>
                      <a:pt x="64" y="423"/>
                      <a:pt x="64" y="421"/>
                    </a:cubicBezTo>
                    <a:cubicBezTo>
                      <a:pt x="63" y="421"/>
                      <a:pt x="61" y="421"/>
                      <a:pt x="61" y="423"/>
                    </a:cubicBezTo>
                    <a:cubicBezTo>
                      <a:pt x="63" y="425"/>
                      <a:pt x="61" y="425"/>
                      <a:pt x="63" y="428"/>
                    </a:cubicBezTo>
                    <a:cubicBezTo>
                      <a:pt x="64" y="429"/>
                      <a:pt x="61" y="428"/>
                      <a:pt x="63" y="431"/>
                    </a:cubicBezTo>
                    <a:cubicBezTo>
                      <a:pt x="64" y="431"/>
                      <a:pt x="63" y="431"/>
                      <a:pt x="64" y="431"/>
                    </a:cubicBezTo>
                    <a:close/>
                    <a:moveTo>
                      <a:pt x="69" y="435"/>
                    </a:moveTo>
                    <a:cubicBezTo>
                      <a:pt x="69" y="435"/>
                      <a:pt x="70" y="437"/>
                      <a:pt x="69" y="437"/>
                    </a:cubicBezTo>
                    <a:cubicBezTo>
                      <a:pt x="67" y="437"/>
                      <a:pt x="69" y="438"/>
                      <a:pt x="70" y="438"/>
                    </a:cubicBezTo>
                    <a:cubicBezTo>
                      <a:pt x="72" y="438"/>
                      <a:pt x="70" y="440"/>
                      <a:pt x="70" y="440"/>
                    </a:cubicBezTo>
                    <a:cubicBezTo>
                      <a:pt x="70" y="440"/>
                      <a:pt x="70" y="442"/>
                      <a:pt x="73" y="443"/>
                    </a:cubicBezTo>
                    <a:cubicBezTo>
                      <a:pt x="75" y="445"/>
                      <a:pt x="73" y="445"/>
                      <a:pt x="75" y="445"/>
                    </a:cubicBezTo>
                    <a:cubicBezTo>
                      <a:pt x="75" y="446"/>
                      <a:pt x="75" y="446"/>
                      <a:pt x="77" y="446"/>
                    </a:cubicBezTo>
                    <a:cubicBezTo>
                      <a:pt x="78" y="448"/>
                      <a:pt x="78" y="446"/>
                      <a:pt x="78" y="445"/>
                    </a:cubicBezTo>
                    <a:cubicBezTo>
                      <a:pt x="77" y="445"/>
                      <a:pt x="77" y="445"/>
                      <a:pt x="77" y="445"/>
                    </a:cubicBezTo>
                    <a:cubicBezTo>
                      <a:pt x="77" y="443"/>
                      <a:pt x="77" y="443"/>
                      <a:pt x="77" y="443"/>
                    </a:cubicBezTo>
                    <a:cubicBezTo>
                      <a:pt x="75" y="445"/>
                      <a:pt x="75" y="443"/>
                      <a:pt x="75" y="443"/>
                    </a:cubicBezTo>
                    <a:cubicBezTo>
                      <a:pt x="73" y="443"/>
                      <a:pt x="72" y="440"/>
                      <a:pt x="72" y="440"/>
                    </a:cubicBezTo>
                    <a:cubicBezTo>
                      <a:pt x="73" y="438"/>
                      <a:pt x="72" y="440"/>
                      <a:pt x="72" y="438"/>
                    </a:cubicBezTo>
                    <a:cubicBezTo>
                      <a:pt x="70" y="437"/>
                      <a:pt x="73" y="438"/>
                      <a:pt x="73" y="437"/>
                    </a:cubicBezTo>
                    <a:cubicBezTo>
                      <a:pt x="73" y="437"/>
                      <a:pt x="73" y="437"/>
                      <a:pt x="73" y="435"/>
                    </a:cubicBezTo>
                    <a:cubicBezTo>
                      <a:pt x="73" y="435"/>
                      <a:pt x="72" y="435"/>
                      <a:pt x="72" y="434"/>
                    </a:cubicBezTo>
                    <a:cubicBezTo>
                      <a:pt x="72" y="434"/>
                      <a:pt x="72" y="432"/>
                      <a:pt x="70" y="434"/>
                    </a:cubicBezTo>
                    <a:cubicBezTo>
                      <a:pt x="69" y="435"/>
                      <a:pt x="66" y="435"/>
                      <a:pt x="66" y="435"/>
                    </a:cubicBezTo>
                    <a:cubicBezTo>
                      <a:pt x="67" y="437"/>
                      <a:pt x="67" y="435"/>
                      <a:pt x="69" y="435"/>
                    </a:cubicBezTo>
                    <a:close/>
                    <a:moveTo>
                      <a:pt x="78" y="418"/>
                    </a:moveTo>
                    <a:cubicBezTo>
                      <a:pt x="78" y="417"/>
                      <a:pt x="80" y="415"/>
                      <a:pt x="81" y="417"/>
                    </a:cubicBezTo>
                    <a:cubicBezTo>
                      <a:pt x="81" y="417"/>
                      <a:pt x="80" y="420"/>
                      <a:pt x="78" y="418"/>
                    </a:cubicBezTo>
                    <a:close/>
                    <a:moveTo>
                      <a:pt x="112" y="474"/>
                    </a:moveTo>
                    <a:cubicBezTo>
                      <a:pt x="113" y="474"/>
                      <a:pt x="115" y="476"/>
                      <a:pt x="113" y="477"/>
                    </a:cubicBezTo>
                    <a:cubicBezTo>
                      <a:pt x="113" y="477"/>
                      <a:pt x="110" y="476"/>
                      <a:pt x="112" y="474"/>
                    </a:cubicBezTo>
                    <a:close/>
                    <a:moveTo>
                      <a:pt x="86" y="434"/>
                    </a:moveTo>
                    <a:cubicBezTo>
                      <a:pt x="87" y="435"/>
                      <a:pt x="89" y="434"/>
                      <a:pt x="87" y="432"/>
                    </a:cubicBezTo>
                    <a:cubicBezTo>
                      <a:pt x="87" y="431"/>
                      <a:pt x="86" y="431"/>
                      <a:pt x="84" y="429"/>
                    </a:cubicBezTo>
                    <a:cubicBezTo>
                      <a:pt x="81" y="428"/>
                      <a:pt x="83" y="429"/>
                      <a:pt x="83" y="431"/>
                    </a:cubicBezTo>
                    <a:cubicBezTo>
                      <a:pt x="84" y="432"/>
                      <a:pt x="86" y="432"/>
                      <a:pt x="86" y="434"/>
                    </a:cubicBezTo>
                    <a:close/>
                    <a:moveTo>
                      <a:pt x="90" y="434"/>
                    </a:moveTo>
                    <a:cubicBezTo>
                      <a:pt x="90" y="432"/>
                      <a:pt x="90" y="432"/>
                      <a:pt x="90" y="431"/>
                    </a:cubicBezTo>
                    <a:cubicBezTo>
                      <a:pt x="89" y="429"/>
                      <a:pt x="87" y="428"/>
                      <a:pt x="86" y="426"/>
                    </a:cubicBezTo>
                    <a:cubicBezTo>
                      <a:pt x="84" y="425"/>
                      <a:pt x="84" y="426"/>
                      <a:pt x="84" y="428"/>
                    </a:cubicBezTo>
                    <a:cubicBezTo>
                      <a:pt x="86" y="428"/>
                      <a:pt x="86" y="429"/>
                      <a:pt x="87" y="429"/>
                    </a:cubicBezTo>
                    <a:cubicBezTo>
                      <a:pt x="87" y="429"/>
                      <a:pt x="87" y="431"/>
                      <a:pt x="89" y="434"/>
                    </a:cubicBezTo>
                    <a:cubicBezTo>
                      <a:pt x="90" y="434"/>
                      <a:pt x="90" y="434"/>
                      <a:pt x="90" y="434"/>
                    </a:cubicBezTo>
                    <a:close/>
                    <a:moveTo>
                      <a:pt x="83" y="425"/>
                    </a:moveTo>
                    <a:cubicBezTo>
                      <a:pt x="83" y="426"/>
                      <a:pt x="83" y="426"/>
                      <a:pt x="84" y="426"/>
                    </a:cubicBezTo>
                    <a:cubicBezTo>
                      <a:pt x="86" y="425"/>
                      <a:pt x="84" y="423"/>
                      <a:pt x="83" y="423"/>
                    </a:cubicBezTo>
                    <a:cubicBezTo>
                      <a:pt x="81" y="423"/>
                      <a:pt x="81" y="425"/>
                      <a:pt x="81" y="426"/>
                    </a:cubicBezTo>
                    <a:cubicBezTo>
                      <a:pt x="81" y="428"/>
                      <a:pt x="81" y="425"/>
                      <a:pt x="83" y="425"/>
                    </a:cubicBezTo>
                    <a:close/>
                    <a:moveTo>
                      <a:pt x="95" y="437"/>
                    </a:moveTo>
                    <a:cubicBezTo>
                      <a:pt x="96" y="437"/>
                      <a:pt x="93" y="438"/>
                      <a:pt x="93" y="438"/>
                    </a:cubicBezTo>
                    <a:cubicBezTo>
                      <a:pt x="93" y="440"/>
                      <a:pt x="95" y="442"/>
                      <a:pt x="96" y="440"/>
                    </a:cubicBezTo>
                    <a:cubicBezTo>
                      <a:pt x="96" y="437"/>
                      <a:pt x="96" y="442"/>
                      <a:pt x="96" y="442"/>
                    </a:cubicBezTo>
                    <a:cubicBezTo>
                      <a:pt x="98" y="442"/>
                      <a:pt x="98" y="440"/>
                      <a:pt x="98" y="437"/>
                    </a:cubicBezTo>
                    <a:cubicBezTo>
                      <a:pt x="98" y="435"/>
                      <a:pt x="95" y="432"/>
                      <a:pt x="93" y="432"/>
                    </a:cubicBezTo>
                    <a:cubicBezTo>
                      <a:pt x="93" y="432"/>
                      <a:pt x="95" y="435"/>
                      <a:pt x="93" y="435"/>
                    </a:cubicBezTo>
                    <a:cubicBezTo>
                      <a:pt x="93" y="435"/>
                      <a:pt x="92" y="438"/>
                      <a:pt x="93" y="437"/>
                    </a:cubicBezTo>
                    <a:cubicBezTo>
                      <a:pt x="95" y="437"/>
                      <a:pt x="95" y="435"/>
                      <a:pt x="95" y="437"/>
                    </a:cubicBezTo>
                    <a:close/>
                    <a:moveTo>
                      <a:pt x="95" y="440"/>
                    </a:moveTo>
                    <a:cubicBezTo>
                      <a:pt x="93" y="440"/>
                      <a:pt x="92" y="438"/>
                      <a:pt x="92" y="440"/>
                    </a:cubicBezTo>
                    <a:cubicBezTo>
                      <a:pt x="92" y="440"/>
                      <a:pt x="93" y="442"/>
                      <a:pt x="95" y="443"/>
                    </a:cubicBezTo>
                    <a:cubicBezTo>
                      <a:pt x="95" y="445"/>
                      <a:pt x="95" y="442"/>
                      <a:pt x="95" y="440"/>
                    </a:cubicBezTo>
                    <a:close/>
                    <a:moveTo>
                      <a:pt x="98" y="445"/>
                    </a:moveTo>
                    <a:cubicBezTo>
                      <a:pt x="96" y="445"/>
                      <a:pt x="96" y="443"/>
                      <a:pt x="96" y="443"/>
                    </a:cubicBezTo>
                    <a:cubicBezTo>
                      <a:pt x="98" y="443"/>
                      <a:pt x="98" y="445"/>
                      <a:pt x="98" y="445"/>
                    </a:cubicBezTo>
                    <a:close/>
                    <a:moveTo>
                      <a:pt x="142" y="194"/>
                    </a:moveTo>
                    <a:cubicBezTo>
                      <a:pt x="143" y="196"/>
                      <a:pt x="148" y="193"/>
                      <a:pt x="151" y="190"/>
                    </a:cubicBezTo>
                    <a:cubicBezTo>
                      <a:pt x="156" y="188"/>
                      <a:pt x="154" y="191"/>
                      <a:pt x="160" y="190"/>
                    </a:cubicBezTo>
                    <a:cubicBezTo>
                      <a:pt x="166" y="187"/>
                      <a:pt x="160" y="179"/>
                      <a:pt x="168" y="177"/>
                    </a:cubicBezTo>
                    <a:cubicBezTo>
                      <a:pt x="174" y="177"/>
                      <a:pt x="169" y="173"/>
                      <a:pt x="177" y="170"/>
                    </a:cubicBezTo>
                    <a:cubicBezTo>
                      <a:pt x="186" y="166"/>
                      <a:pt x="191" y="162"/>
                      <a:pt x="197" y="162"/>
                    </a:cubicBezTo>
                    <a:cubicBezTo>
                      <a:pt x="207" y="159"/>
                      <a:pt x="203" y="156"/>
                      <a:pt x="200" y="156"/>
                    </a:cubicBezTo>
                    <a:cubicBezTo>
                      <a:pt x="195" y="154"/>
                      <a:pt x="192" y="146"/>
                      <a:pt x="182" y="146"/>
                    </a:cubicBezTo>
                    <a:cubicBezTo>
                      <a:pt x="172" y="146"/>
                      <a:pt x="177" y="149"/>
                      <a:pt x="174" y="151"/>
                    </a:cubicBezTo>
                    <a:cubicBezTo>
                      <a:pt x="172" y="151"/>
                      <a:pt x="174" y="149"/>
                      <a:pt x="172" y="148"/>
                    </a:cubicBezTo>
                    <a:cubicBezTo>
                      <a:pt x="171" y="146"/>
                      <a:pt x="171" y="148"/>
                      <a:pt x="166" y="146"/>
                    </a:cubicBezTo>
                    <a:cubicBezTo>
                      <a:pt x="157" y="145"/>
                      <a:pt x="159" y="140"/>
                      <a:pt x="150" y="143"/>
                    </a:cubicBezTo>
                    <a:cubicBezTo>
                      <a:pt x="142" y="145"/>
                      <a:pt x="127" y="145"/>
                      <a:pt x="130" y="146"/>
                    </a:cubicBezTo>
                    <a:cubicBezTo>
                      <a:pt x="131" y="148"/>
                      <a:pt x="130" y="151"/>
                      <a:pt x="134" y="152"/>
                    </a:cubicBezTo>
                    <a:cubicBezTo>
                      <a:pt x="139" y="154"/>
                      <a:pt x="134" y="156"/>
                      <a:pt x="134" y="157"/>
                    </a:cubicBezTo>
                    <a:cubicBezTo>
                      <a:pt x="134" y="160"/>
                      <a:pt x="131" y="157"/>
                      <a:pt x="131" y="160"/>
                    </a:cubicBezTo>
                    <a:cubicBezTo>
                      <a:pt x="131" y="163"/>
                      <a:pt x="127" y="165"/>
                      <a:pt x="128" y="165"/>
                    </a:cubicBezTo>
                    <a:cubicBezTo>
                      <a:pt x="131" y="166"/>
                      <a:pt x="133" y="168"/>
                      <a:pt x="128" y="168"/>
                    </a:cubicBezTo>
                    <a:cubicBezTo>
                      <a:pt x="125" y="168"/>
                      <a:pt x="125" y="168"/>
                      <a:pt x="127" y="171"/>
                    </a:cubicBezTo>
                    <a:cubicBezTo>
                      <a:pt x="127" y="173"/>
                      <a:pt x="121" y="176"/>
                      <a:pt x="121" y="179"/>
                    </a:cubicBezTo>
                    <a:cubicBezTo>
                      <a:pt x="121" y="180"/>
                      <a:pt x="119" y="180"/>
                      <a:pt x="121" y="182"/>
                    </a:cubicBezTo>
                    <a:cubicBezTo>
                      <a:pt x="122" y="182"/>
                      <a:pt x="124" y="182"/>
                      <a:pt x="133" y="185"/>
                    </a:cubicBezTo>
                    <a:cubicBezTo>
                      <a:pt x="139" y="188"/>
                      <a:pt x="139" y="193"/>
                      <a:pt x="142" y="194"/>
                    </a:cubicBezTo>
                    <a:close/>
                    <a:moveTo>
                      <a:pt x="274" y="221"/>
                    </a:moveTo>
                    <a:cubicBezTo>
                      <a:pt x="274" y="226"/>
                      <a:pt x="274" y="221"/>
                      <a:pt x="282" y="224"/>
                    </a:cubicBezTo>
                    <a:cubicBezTo>
                      <a:pt x="290" y="226"/>
                      <a:pt x="280" y="224"/>
                      <a:pt x="285" y="227"/>
                    </a:cubicBezTo>
                    <a:cubicBezTo>
                      <a:pt x="290" y="229"/>
                      <a:pt x="288" y="226"/>
                      <a:pt x="294" y="227"/>
                    </a:cubicBezTo>
                    <a:cubicBezTo>
                      <a:pt x="300" y="229"/>
                      <a:pt x="297" y="227"/>
                      <a:pt x="300" y="227"/>
                    </a:cubicBezTo>
                    <a:cubicBezTo>
                      <a:pt x="303" y="229"/>
                      <a:pt x="305" y="226"/>
                      <a:pt x="308" y="226"/>
                    </a:cubicBezTo>
                    <a:cubicBezTo>
                      <a:pt x="309" y="226"/>
                      <a:pt x="312" y="222"/>
                      <a:pt x="309" y="221"/>
                    </a:cubicBezTo>
                    <a:cubicBezTo>
                      <a:pt x="308" y="219"/>
                      <a:pt x="311" y="219"/>
                      <a:pt x="308" y="218"/>
                    </a:cubicBezTo>
                    <a:cubicBezTo>
                      <a:pt x="305" y="218"/>
                      <a:pt x="299" y="222"/>
                      <a:pt x="300" y="219"/>
                    </a:cubicBezTo>
                    <a:cubicBezTo>
                      <a:pt x="303" y="216"/>
                      <a:pt x="296" y="216"/>
                      <a:pt x="297" y="215"/>
                    </a:cubicBezTo>
                    <a:cubicBezTo>
                      <a:pt x="299" y="215"/>
                      <a:pt x="303" y="218"/>
                      <a:pt x="305" y="216"/>
                    </a:cubicBezTo>
                    <a:cubicBezTo>
                      <a:pt x="308" y="215"/>
                      <a:pt x="302" y="216"/>
                      <a:pt x="306" y="213"/>
                    </a:cubicBezTo>
                    <a:cubicBezTo>
                      <a:pt x="309" y="212"/>
                      <a:pt x="309" y="216"/>
                      <a:pt x="312" y="215"/>
                    </a:cubicBezTo>
                    <a:cubicBezTo>
                      <a:pt x="314" y="213"/>
                      <a:pt x="312" y="216"/>
                      <a:pt x="316" y="216"/>
                    </a:cubicBezTo>
                    <a:cubicBezTo>
                      <a:pt x="319" y="216"/>
                      <a:pt x="319" y="212"/>
                      <a:pt x="317" y="210"/>
                    </a:cubicBezTo>
                    <a:cubicBezTo>
                      <a:pt x="317" y="207"/>
                      <a:pt x="312" y="210"/>
                      <a:pt x="312" y="207"/>
                    </a:cubicBezTo>
                    <a:cubicBezTo>
                      <a:pt x="312" y="205"/>
                      <a:pt x="311" y="208"/>
                      <a:pt x="303" y="202"/>
                    </a:cubicBezTo>
                    <a:cubicBezTo>
                      <a:pt x="300" y="201"/>
                      <a:pt x="299" y="201"/>
                      <a:pt x="300" y="202"/>
                    </a:cubicBezTo>
                    <a:cubicBezTo>
                      <a:pt x="300" y="204"/>
                      <a:pt x="294" y="202"/>
                      <a:pt x="293" y="199"/>
                    </a:cubicBezTo>
                    <a:cubicBezTo>
                      <a:pt x="291" y="194"/>
                      <a:pt x="287" y="196"/>
                      <a:pt x="290" y="193"/>
                    </a:cubicBezTo>
                    <a:cubicBezTo>
                      <a:pt x="291" y="190"/>
                      <a:pt x="291" y="187"/>
                      <a:pt x="288" y="184"/>
                    </a:cubicBezTo>
                    <a:cubicBezTo>
                      <a:pt x="285" y="182"/>
                      <a:pt x="285" y="173"/>
                      <a:pt x="280" y="168"/>
                    </a:cubicBezTo>
                    <a:cubicBezTo>
                      <a:pt x="277" y="163"/>
                      <a:pt x="279" y="166"/>
                      <a:pt x="273" y="162"/>
                    </a:cubicBezTo>
                    <a:cubicBezTo>
                      <a:pt x="267" y="159"/>
                      <a:pt x="271" y="165"/>
                      <a:pt x="264" y="162"/>
                    </a:cubicBezTo>
                    <a:cubicBezTo>
                      <a:pt x="261" y="160"/>
                      <a:pt x="258" y="162"/>
                      <a:pt x="259" y="166"/>
                    </a:cubicBezTo>
                    <a:cubicBezTo>
                      <a:pt x="262" y="171"/>
                      <a:pt x="261" y="177"/>
                      <a:pt x="267" y="182"/>
                    </a:cubicBezTo>
                    <a:cubicBezTo>
                      <a:pt x="270" y="184"/>
                      <a:pt x="265" y="185"/>
                      <a:pt x="264" y="187"/>
                    </a:cubicBezTo>
                    <a:cubicBezTo>
                      <a:pt x="264" y="187"/>
                      <a:pt x="262" y="187"/>
                      <a:pt x="259" y="180"/>
                    </a:cubicBezTo>
                    <a:cubicBezTo>
                      <a:pt x="256" y="176"/>
                      <a:pt x="258" y="171"/>
                      <a:pt x="252" y="170"/>
                    </a:cubicBezTo>
                    <a:cubicBezTo>
                      <a:pt x="245" y="168"/>
                      <a:pt x="252" y="168"/>
                      <a:pt x="247" y="166"/>
                    </a:cubicBezTo>
                    <a:cubicBezTo>
                      <a:pt x="241" y="165"/>
                      <a:pt x="236" y="165"/>
                      <a:pt x="241" y="168"/>
                    </a:cubicBezTo>
                    <a:cubicBezTo>
                      <a:pt x="245" y="170"/>
                      <a:pt x="241" y="171"/>
                      <a:pt x="244" y="171"/>
                    </a:cubicBezTo>
                    <a:cubicBezTo>
                      <a:pt x="247" y="171"/>
                      <a:pt x="250" y="174"/>
                      <a:pt x="242" y="173"/>
                    </a:cubicBezTo>
                    <a:cubicBezTo>
                      <a:pt x="236" y="171"/>
                      <a:pt x="239" y="179"/>
                      <a:pt x="236" y="176"/>
                    </a:cubicBezTo>
                    <a:cubicBezTo>
                      <a:pt x="232" y="173"/>
                      <a:pt x="241" y="171"/>
                      <a:pt x="232" y="168"/>
                    </a:cubicBezTo>
                    <a:cubicBezTo>
                      <a:pt x="223" y="166"/>
                      <a:pt x="221" y="166"/>
                      <a:pt x="218" y="168"/>
                    </a:cubicBezTo>
                    <a:cubicBezTo>
                      <a:pt x="215" y="170"/>
                      <a:pt x="223" y="170"/>
                      <a:pt x="212" y="173"/>
                    </a:cubicBezTo>
                    <a:cubicBezTo>
                      <a:pt x="206" y="174"/>
                      <a:pt x="215" y="170"/>
                      <a:pt x="213" y="168"/>
                    </a:cubicBezTo>
                    <a:cubicBezTo>
                      <a:pt x="213" y="165"/>
                      <a:pt x="217" y="163"/>
                      <a:pt x="212" y="160"/>
                    </a:cubicBezTo>
                    <a:cubicBezTo>
                      <a:pt x="207" y="159"/>
                      <a:pt x="198" y="165"/>
                      <a:pt x="192" y="166"/>
                    </a:cubicBezTo>
                    <a:cubicBezTo>
                      <a:pt x="188" y="166"/>
                      <a:pt x="185" y="170"/>
                      <a:pt x="180" y="173"/>
                    </a:cubicBezTo>
                    <a:cubicBezTo>
                      <a:pt x="174" y="176"/>
                      <a:pt x="182" y="176"/>
                      <a:pt x="182" y="177"/>
                    </a:cubicBezTo>
                    <a:cubicBezTo>
                      <a:pt x="182" y="179"/>
                      <a:pt x="178" y="177"/>
                      <a:pt x="175" y="180"/>
                    </a:cubicBezTo>
                    <a:cubicBezTo>
                      <a:pt x="172" y="185"/>
                      <a:pt x="172" y="188"/>
                      <a:pt x="175" y="187"/>
                    </a:cubicBezTo>
                    <a:cubicBezTo>
                      <a:pt x="178" y="185"/>
                      <a:pt x="178" y="188"/>
                      <a:pt x="180" y="190"/>
                    </a:cubicBezTo>
                    <a:cubicBezTo>
                      <a:pt x="182" y="191"/>
                      <a:pt x="191" y="190"/>
                      <a:pt x="194" y="188"/>
                    </a:cubicBezTo>
                    <a:cubicBezTo>
                      <a:pt x="195" y="188"/>
                      <a:pt x="203" y="190"/>
                      <a:pt x="188" y="193"/>
                    </a:cubicBezTo>
                    <a:cubicBezTo>
                      <a:pt x="178" y="194"/>
                      <a:pt x="177" y="196"/>
                      <a:pt x="182" y="199"/>
                    </a:cubicBezTo>
                    <a:cubicBezTo>
                      <a:pt x="186" y="202"/>
                      <a:pt x="186" y="202"/>
                      <a:pt x="192" y="201"/>
                    </a:cubicBezTo>
                    <a:cubicBezTo>
                      <a:pt x="198" y="201"/>
                      <a:pt x="195" y="202"/>
                      <a:pt x="203" y="202"/>
                    </a:cubicBezTo>
                    <a:cubicBezTo>
                      <a:pt x="210" y="202"/>
                      <a:pt x="212" y="199"/>
                      <a:pt x="218" y="202"/>
                    </a:cubicBezTo>
                    <a:cubicBezTo>
                      <a:pt x="226" y="204"/>
                      <a:pt x="224" y="201"/>
                      <a:pt x="227" y="204"/>
                    </a:cubicBezTo>
                    <a:cubicBezTo>
                      <a:pt x="230" y="205"/>
                      <a:pt x="236" y="207"/>
                      <a:pt x="232" y="207"/>
                    </a:cubicBezTo>
                    <a:cubicBezTo>
                      <a:pt x="226" y="207"/>
                      <a:pt x="230" y="208"/>
                      <a:pt x="221" y="207"/>
                    </a:cubicBezTo>
                    <a:cubicBezTo>
                      <a:pt x="213" y="205"/>
                      <a:pt x="200" y="207"/>
                      <a:pt x="191" y="208"/>
                    </a:cubicBezTo>
                    <a:cubicBezTo>
                      <a:pt x="183" y="210"/>
                      <a:pt x="189" y="215"/>
                      <a:pt x="194" y="218"/>
                    </a:cubicBezTo>
                    <a:cubicBezTo>
                      <a:pt x="197" y="222"/>
                      <a:pt x="212" y="221"/>
                      <a:pt x="215" y="221"/>
                    </a:cubicBezTo>
                    <a:cubicBezTo>
                      <a:pt x="220" y="221"/>
                      <a:pt x="215" y="227"/>
                      <a:pt x="218" y="229"/>
                    </a:cubicBezTo>
                    <a:cubicBezTo>
                      <a:pt x="220" y="232"/>
                      <a:pt x="220" y="233"/>
                      <a:pt x="224" y="232"/>
                    </a:cubicBezTo>
                    <a:cubicBezTo>
                      <a:pt x="232" y="232"/>
                      <a:pt x="235" y="233"/>
                      <a:pt x="236" y="232"/>
                    </a:cubicBezTo>
                    <a:cubicBezTo>
                      <a:pt x="239" y="230"/>
                      <a:pt x="252" y="230"/>
                      <a:pt x="256" y="227"/>
                    </a:cubicBezTo>
                    <a:cubicBezTo>
                      <a:pt x="261" y="224"/>
                      <a:pt x="262" y="227"/>
                      <a:pt x="267" y="224"/>
                    </a:cubicBezTo>
                    <a:cubicBezTo>
                      <a:pt x="271" y="221"/>
                      <a:pt x="267" y="221"/>
                      <a:pt x="271" y="219"/>
                    </a:cubicBezTo>
                    <a:cubicBezTo>
                      <a:pt x="273" y="218"/>
                      <a:pt x="274" y="218"/>
                      <a:pt x="274" y="221"/>
                    </a:cubicBezTo>
                    <a:close/>
                    <a:moveTo>
                      <a:pt x="284" y="168"/>
                    </a:moveTo>
                    <a:cubicBezTo>
                      <a:pt x="284" y="166"/>
                      <a:pt x="285" y="166"/>
                      <a:pt x="287" y="163"/>
                    </a:cubicBezTo>
                    <a:cubicBezTo>
                      <a:pt x="288" y="160"/>
                      <a:pt x="291" y="157"/>
                      <a:pt x="288" y="157"/>
                    </a:cubicBezTo>
                    <a:cubicBezTo>
                      <a:pt x="285" y="156"/>
                      <a:pt x="287" y="154"/>
                      <a:pt x="279" y="154"/>
                    </a:cubicBezTo>
                    <a:cubicBezTo>
                      <a:pt x="270" y="156"/>
                      <a:pt x="267" y="159"/>
                      <a:pt x="271" y="159"/>
                    </a:cubicBezTo>
                    <a:cubicBezTo>
                      <a:pt x="276" y="160"/>
                      <a:pt x="276" y="162"/>
                      <a:pt x="276" y="162"/>
                    </a:cubicBezTo>
                    <a:cubicBezTo>
                      <a:pt x="276" y="163"/>
                      <a:pt x="279" y="165"/>
                      <a:pt x="282" y="168"/>
                    </a:cubicBezTo>
                    <a:cubicBezTo>
                      <a:pt x="284" y="168"/>
                      <a:pt x="284" y="168"/>
                      <a:pt x="284" y="168"/>
                    </a:cubicBezTo>
                    <a:close/>
                    <a:moveTo>
                      <a:pt x="474" y="213"/>
                    </a:moveTo>
                    <a:cubicBezTo>
                      <a:pt x="480" y="218"/>
                      <a:pt x="480" y="216"/>
                      <a:pt x="475" y="212"/>
                    </a:cubicBezTo>
                    <a:cubicBezTo>
                      <a:pt x="471" y="207"/>
                      <a:pt x="483" y="212"/>
                      <a:pt x="491" y="212"/>
                    </a:cubicBezTo>
                    <a:cubicBezTo>
                      <a:pt x="498" y="213"/>
                      <a:pt x="491" y="202"/>
                      <a:pt x="495" y="205"/>
                    </a:cubicBezTo>
                    <a:cubicBezTo>
                      <a:pt x="498" y="210"/>
                      <a:pt x="501" y="204"/>
                      <a:pt x="503" y="210"/>
                    </a:cubicBezTo>
                    <a:cubicBezTo>
                      <a:pt x="503" y="216"/>
                      <a:pt x="504" y="215"/>
                      <a:pt x="513" y="218"/>
                    </a:cubicBezTo>
                    <a:cubicBezTo>
                      <a:pt x="521" y="221"/>
                      <a:pt x="518" y="224"/>
                      <a:pt x="513" y="224"/>
                    </a:cubicBezTo>
                    <a:cubicBezTo>
                      <a:pt x="509" y="224"/>
                      <a:pt x="507" y="230"/>
                      <a:pt x="513" y="229"/>
                    </a:cubicBezTo>
                    <a:cubicBezTo>
                      <a:pt x="521" y="227"/>
                      <a:pt x="530" y="230"/>
                      <a:pt x="532" y="233"/>
                    </a:cubicBezTo>
                    <a:cubicBezTo>
                      <a:pt x="533" y="236"/>
                      <a:pt x="539" y="235"/>
                      <a:pt x="541" y="241"/>
                    </a:cubicBezTo>
                    <a:cubicBezTo>
                      <a:pt x="541" y="247"/>
                      <a:pt x="547" y="250"/>
                      <a:pt x="542" y="252"/>
                    </a:cubicBezTo>
                    <a:cubicBezTo>
                      <a:pt x="539" y="255"/>
                      <a:pt x="538" y="258"/>
                      <a:pt x="530" y="263"/>
                    </a:cubicBezTo>
                    <a:cubicBezTo>
                      <a:pt x="524" y="268"/>
                      <a:pt x="539" y="277"/>
                      <a:pt x="533" y="274"/>
                    </a:cubicBezTo>
                    <a:cubicBezTo>
                      <a:pt x="526" y="272"/>
                      <a:pt x="527" y="280"/>
                      <a:pt x="512" y="277"/>
                    </a:cubicBezTo>
                    <a:cubicBezTo>
                      <a:pt x="497" y="272"/>
                      <a:pt x="509" y="277"/>
                      <a:pt x="501" y="281"/>
                    </a:cubicBezTo>
                    <a:cubicBezTo>
                      <a:pt x="494" y="285"/>
                      <a:pt x="503" y="295"/>
                      <a:pt x="513" y="289"/>
                    </a:cubicBezTo>
                    <a:cubicBezTo>
                      <a:pt x="524" y="285"/>
                      <a:pt x="523" y="294"/>
                      <a:pt x="527" y="289"/>
                    </a:cubicBezTo>
                    <a:cubicBezTo>
                      <a:pt x="532" y="285"/>
                      <a:pt x="530" y="294"/>
                      <a:pt x="532" y="291"/>
                    </a:cubicBezTo>
                    <a:cubicBezTo>
                      <a:pt x="533" y="288"/>
                      <a:pt x="532" y="285"/>
                      <a:pt x="541" y="294"/>
                    </a:cubicBezTo>
                    <a:cubicBezTo>
                      <a:pt x="548" y="305"/>
                      <a:pt x="545" y="295"/>
                      <a:pt x="551" y="300"/>
                    </a:cubicBezTo>
                    <a:cubicBezTo>
                      <a:pt x="556" y="305"/>
                      <a:pt x="541" y="299"/>
                      <a:pt x="550" y="306"/>
                    </a:cubicBezTo>
                    <a:cubicBezTo>
                      <a:pt x="555" y="313"/>
                      <a:pt x="564" y="309"/>
                      <a:pt x="567" y="314"/>
                    </a:cubicBezTo>
                    <a:cubicBezTo>
                      <a:pt x="571" y="319"/>
                      <a:pt x="582" y="320"/>
                      <a:pt x="590" y="323"/>
                    </a:cubicBezTo>
                    <a:cubicBezTo>
                      <a:pt x="597" y="327"/>
                      <a:pt x="596" y="319"/>
                      <a:pt x="590" y="314"/>
                    </a:cubicBezTo>
                    <a:cubicBezTo>
                      <a:pt x="583" y="308"/>
                      <a:pt x="570" y="302"/>
                      <a:pt x="571" y="299"/>
                    </a:cubicBezTo>
                    <a:cubicBezTo>
                      <a:pt x="573" y="295"/>
                      <a:pt x="580" y="306"/>
                      <a:pt x="580" y="302"/>
                    </a:cubicBezTo>
                    <a:cubicBezTo>
                      <a:pt x="582" y="299"/>
                      <a:pt x="586" y="308"/>
                      <a:pt x="594" y="309"/>
                    </a:cubicBezTo>
                    <a:cubicBezTo>
                      <a:pt x="600" y="309"/>
                      <a:pt x="603" y="322"/>
                      <a:pt x="603" y="314"/>
                    </a:cubicBezTo>
                    <a:cubicBezTo>
                      <a:pt x="602" y="306"/>
                      <a:pt x="605" y="316"/>
                      <a:pt x="603" y="306"/>
                    </a:cubicBezTo>
                    <a:cubicBezTo>
                      <a:pt x="603" y="299"/>
                      <a:pt x="605" y="311"/>
                      <a:pt x="606" y="303"/>
                    </a:cubicBezTo>
                    <a:cubicBezTo>
                      <a:pt x="608" y="295"/>
                      <a:pt x="600" y="300"/>
                      <a:pt x="603" y="295"/>
                    </a:cubicBezTo>
                    <a:cubicBezTo>
                      <a:pt x="606" y="292"/>
                      <a:pt x="597" y="295"/>
                      <a:pt x="600" y="291"/>
                    </a:cubicBezTo>
                    <a:cubicBezTo>
                      <a:pt x="603" y="288"/>
                      <a:pt x="602" y="286"/>
                      <a:pt x="593" y="283"/>
                    </a:cubicBezTo>
                    <a:cubicBezTo>
                      <a:pt x="585" y="280"/>
                      <a:pt x="588" y="271"/>
                      <a:pt x="583" y="272"/>
                    </a:cubicBezTo>
                    <a:cubicBezTo>
                      <a:pt x="577" y="274"/>
                      <a:pt x="576" y="269"/>
                      <a:pt x="582" y="269"/>
                    </a:cubicBezTo>
                    <a:cubicBezTo>
                      <a:pt x="588" y="268"/>
                      <a:pt x="577" y="261"/>
                      <a:pt x="582" y="263"/>
                    </a:cubicBezTo>
                    <a:cubicBezTo>
                      <a:pt x="588" y="264"/>
                      <a:pt x="585" y="257"/>
                      <a:pt x="590" y="263"/>
                    </a:cubicBezTo>
                    <a:cubicBezTo>
                      <a:pt x="593" y="268"/>
                      <a:pt x="594" y="263"/>
                      <a:pt x="596" y="268"/>
                    </a:cubicBezTo>
                    <a:cubicBezTo>
                      <a:pt x="596" y="271"/>
                      <a:pt x="599" y="268"/>
                      <a:pt x="599" y="272"/>
                    </a:cubicBezTo>
                    <a:cubicBezTo>
                      <a:pt x="599" y="275"/>
                      <a:pt x="618" y="289"/>
                      <a:pt x="615" y="278"/>
                    </a:cubicBezTo>
                    <a:cubicBezTo>
                      <a:pt x="614" y="268"/>
                      <a:pt x="626" y="275"/>
                      <a:pt x="625" y="271"/>
                    </a:cubicBezTo>
                    <a:cubicBezTo>
                      <a:pt x="622" y="266"/>
                      <a:pt x="628" y="269"/>
                      <a:pt x="625" y="266"/>
                    </a:cubicBezTo>
                    <a:cubicBezTo>
                      <a:pt x="623" y="263"/>
                      <a:pt x="634" y="264"/>
                      <a:pt x="629" y="257"/>
                    </a:cubicBezTo>
                    <a:cubicBezTo>
                      <a:pt x="625" y="247"/>
                      <a:pt x="615" y="260"/>
                      <a:pt x="618" y="252"/>
                    </a:cubicBezTo>
                    <a:cubicBezTo>
                      <a:pt x="620" y="244"/>
                      <a:pt x="609" y="254"/>
                      <a:pt x="612" y="249"/>
                    </a:cubicBezTo>
                    <a:cubicBezTo>
                      <a:pt x="614" y="244"/>
                      <a:pt x="611" y="246"/>
                      <a:pt x="605" y="241"/>
                    </a:cubicBezTo>
                    <a:cubicBezTo>
                      <a:pt x="599" y="236"/>
                      <a:pt x="590" y="241"/>
                      <a:pt x="588" y="235"/>
                    </a:cubicBezTo>
                    <a:cubicBezTo>
                      <a:pt x="588" y="229"/>
                      <a:pt x="571" y="235"/>
                      <a:pt x="579" y="230"/>
                    </a:cubicBezTo>
                    <a:cubicBezTo>
                      <a:pt x="586" y="226"/>
                      <a:pt x="573" y="221"/>
                      <a:pt x="580" y="222"/>
                    </a:cubicBezTo>
                    <a:cubicBezTo>
                      <a:pt x="588" y="224"/>
                      <a:pt x="594" y="219"/>
                      <a:pt x="582" y="218"/>
                    </a:cubicBezTo>
                    <a:cubicBezTo>
                      <a:pt x="568" y="216"/>
                      <a:pt x="580" y="216"/>
                      <a:pt x="585" y="213"/>
                    </a:cubicBezTo>
                    <a:cubicBezTo>
                      <a:pt x="590" y="210"/>
                      <a:pt x="579" y="205"/>
                      <a:pt x="576" y="207"/>
                    </a:cubicBezTo>
                    <a:cubicBezTo>
                      <a:pt x="574" y="208"/>
                      <a:pt x="564" y="208"/>
                      <a:pt x="571" y="205"/>
                    </a:cubicBezTo>
                    <a:cubicBezTo>
                      <a:pt x="579" y="204"/>
                      <a:pt x="579" y="204"/>
                      <a:pt x="570" y="199"/>
                    </a:cubicBezTo>
                    <a:cubicBezTo>
                      <a:pt x="559" y="194"/>
                      <a:pt x="558" y="204"/>
                      <a:pt x="558" y="198"/>
                    </a:cubicBezTo>
                    <a:cubicBezTo>
                      <a:pt x="559" y="190"/>
                      <a:pt x="553" y="196"/>
                      <a:pt x="553" y="193"/>
                    </a:cubicBezTo>
                    <a:cubicBezTo>
                      <a:pt x="553" y="188"/>
                      <a:pt x="545" y="184"/>
                      <a:pt x="541" y="190"/>
                    </a:cubicBezTo>
                    <a:cubicBezTo>
                      <a:pt x="535" y="194"/>
                      <a:pt x="535" y="188"/>
                      <a:pt x="532" y="182"/>
                    </a:cubicBezTo>
                    <a:cubicBezTo>
                      <a:pt x="529" y="176"/>
                      <a:pt x="527" y="184"/>
                      <a:pt x="524" y="177"/>
                    </a:cubicBezTo>
                    <a:cubicBezTo>
                      <a:pt x="519" y="171"/>
                      <a:pt x="513" y="174"/>
                      <a:pt x="510" y="171"/>
                    </a:cubicBezTo>
                    <a:cubicBezTo>
                      <a:pt x="507" y="170"/>
                      <a:pt x="498" y="166"/>
                      <a:pt x="495" y="174"/>
                    </a:cubicBezTo>
                    <a:cubicBezTo>
                      <a:pt x="492" y="182"/>
                      <a:pt x="488" y="170"/>
                      <a:pt x="483" y="174"/>
                    </a:cubicBezTo>
                    <a:cubicBezTo>
                      <a:pt x="478" y="180"/>
                      <a:pt x="474" y="180"/>
                      <a:pt x="477" y="177"/>
                    </a:cubicBezTo>
                    <a:cubicBezTo>
                      <a:pt x="481" y="173"/>
                      <a:pt x="480" y="165"/>
                      <a:pt x="475" y="163"/>
                    </a:cubicBezTo>
                    <a:cubicBezTo>
                      <a:pt x="471" y="162"/>
                      <a:pt x="475" y="156"/>
                      <a:pt x="471" y="156"/>
                    </a:cubicBezTo>
                    <a:cubicBezTo>
                      <a:pt x="465" y="154"/>
                      <a:pt x="443" y="157"/>
                      <a:pt x="442" y="163"/>
                    </a:cubicBezTo>
                    <a:cubicBezTo>
                      <a:pt x="442" y="171"/>
                      <a:pt x="433" y="162"/>
                      <a:pt x="439" y="173"/>
                    </a:cubicBezTo>
                    <a:cubicBezTo>
                      <a:pt x="445" y="184"/>
                      <a:pt x="433" y="176"/>
                      <a:pt x="437" y="182"/>
                    </a:cubicBezTo>
                    <a:cubicBezTo>
                      <a:pt x="443" y="190"/>
                      <a:pt x="446" y="182"/>
                      <a:pt x="446" y="188"/>
                    </a:cubicBezTo>
                    <a:cubicBezTo>
                      <a:pt x="448" y="193"/>
                      <a:pt x="428" y="185"/>
                      <a:pt x="433" y="177"/>
                    </a:cubicBezTo>
                    <a:cubicBezTo>
                      <a:pt x="437" y="170"/>
                      <a:pt x="427" y="174"/>
                      <a:pt x="434" y="165"/>
                    </a:cubicBezTo>
                    <a:cubicBezTo>
                      <a:pt x="442" y="156"/>
                      <a:pt x="445" y="157"/>
                      <a:pt x="445" y="154"/>
                    </a:cubicBezTo>
                    <a:cubicBezTo>
                      <a:pt x="445" y="152"/>
                      <a:pt x="428" y="151"/>
                      <a:pt x="418" y="159"/>
                    </a:cubicBezTo>
                    <a:cubicBezTo>
                      <a:pt x="405" y="165"/>
                      <a:pt x="411" y="166"/>
                      <a:pt x="408" y="170"/>
                    </a:cubicBezTo>
                    <a:cubicBezTo>
                      <a:pt x="404" y="173"/>
                      <a:pt x="405" y="176"/>
                      <a:pt x="404" y="184"/>
                    </a:cubicBezTo>
                    <a:cubicBezTo>
                      <a:pt x="402" y="191"/>
                      <a:pt x="404" y="191"/>
                      <a:pt x="414" y="193"/>
                    </a:cubicBezTo>
                    <a:cubicBezTo>
                      <a:pt x="425" y="193"/>
                      <a:pt x="428" y="198"/>
                      <a:pt x="419" y="196"/>
                    </a:cubicBezTo>
                    <a:cubicBezTo>
                      <a:pt x="410" y="196"/>
                      <a:pt x="405" y="196"/>
                      <a:pt x="414" y="204"/>
                    </a:cubicBezTo>
                    <a:cubicBezTo>
                      <a:pt x="422" y="212"/>
                      <a:pt x="428" y="204"/>
                      <a:pt x="433" y="208"/>
                    </a:cubicBezTo>
                    <a:cubicBezTo>
                      <a:pt x="439" y="213"/>
                      <a:pt x="445" y="210"/>
                      <a:pt x="446" y="210"/>
                    </a:cubicBezTo>
                    <a:cubicBezTo>
                      <a:pt x="456" y="213"/>
                      <a:pt x="454" y="208"/>
                      <a:pt x="463" y="213"/>
                    </a:cubicBezTo>
                    <a:cubicBezTo>
                      <a:pt x="471" y="215"/>
                      <a:pt x="468" y="207"/>
                      <a:pt x="474" y="213"/>
                    </a:cubicBezTo>
                    <a:close/>
                    <a:moveTo>
                      <a:pt x="515" y="250"/>
                    </a:moveTo>
                    <a:cubicBezTo>
                      <a:pt x="527" y="249"/>
                      <a:pt x="521" y="244"/>
                      <a:pt x="523" y="238"/>
                    </a:cubicBezTo>
                    <a:cubicBezTo>
                      <a:pt x="524" y="233"/>
                      <a:pt x="510" y="232"/>
                      <a:pt x="507" y="240"/>
                    </a:cubicBezTo>
                    <a:cubicBezTo>
                      <a:pt x="504" y="246"/>
                      <a:pt x="503" y="250"/>
                      <a:pt x="515" y="250"/>
                    </a:cubicBezTo>
                    <a:close/>
                    <a:moveTo>
                      <a:pt x="439" y="302"/>
                    </a:moveTo>
                    <a:cubicBezTo>
                      <a:pt x="439" y="308"/>
                      <a:pt x="445" y="309"/>
                      <a:pt x="448" y="303"/>
                    </a:cubicBezTo>
                    <a:cubicBezTo>
                      <a:pt x="449" y="299"/>
                      <a:pt x="453" y="303"/>
                      <a:pt x="454" y="297"/>
                    </a:cubicBezTo>
                    <a:cubicBezTo>
                      <a:pt x="456" y="292"/>
                      <a:pt x="463" y="294"/>
                      <a:pt x="463" y="297"/>
                    </a:cubicBezTo>
                    <a:cubicBezTo>
                      <a:pt x="465" y="302"/>
                      <a:pt x="466" y="299"/>
                      <a:pt x="472" y="300"/>
                    </a:cubicBezTo>
                    <a:cubicBezTo>
                      <a:pt x="477" y="303"/>
                      <a:pt x="483" y="300"/>
                      <a:pt x="480" y="295"/>
                    </a:cubicBezTo>
                    <a:cubicBezTo>
                      <a:pt x="475" y="291"/>
                      <a:pt x="477" y="295"/>
                      <a:pt x="472" y="294"/>
                    </a:cubicBezTo>
                    <a:cubicBezTo>
                      <a:pt x="468" y="292"/>
                      <a:pt x="471" y="286"/>
                      <a:pt x="463" y="285"/>
                    </a:cubicBezTo>
                    <a:cubicBezTo>
                      <a:pt x="456" y="281"/>
                      <a:pt x="451" y="272"/>
                      <a:pt x="446" y="277"/>
                    </a:cubicBezTo>
                    <a:cubicBezTo>
                      <a:pt x="443" y="280"/>
                      <a:pt x="442" y="268"/>
                      <a:pt x="437" y="269"/>
                    </a:cubicBezTo>
                    <a:cubicBezTo>
                      <a:pt x="434" y="271"/>
                      <a:pt x="431" y="283"/>
                      <a:pt x="433" y="291"/>
                    </a:cubicBezTo>
                    <a:cubicBezTo>
                      <a:pt x="434" y="297"/>
                      <a:pt x="424" y="295"/>
                      <a:pt x="427" y="300"/>
                    </a:cubicBezTo>
                    <a:cubicBezTo>
                      <a:pt x="428" y="303"/>
                      <a:pt x="440" y="297"/>
                      <a:pt x="439" y="302"/>
                    </a:cubicBezTo>
                    <a:close/>
                    <a:moveTo>
                      <a:pt x="453" y="319"/>
                    </a:moveTo>
                    <a:cubicBezTo>
                      <a:pt x="448" y="314"/>
                      <a:pt x="463" y="306"/>
                      <a:pt x="468" y="309"/>
                    </a:cubicBezTo>
                    <a:cubicBezTo>
                      <a:pt x="472" y="311"/>
                      <a:pt x="457" y="323"/>
                      <a:pt x="453" y="319"/>
                    </a:cubicBezTo>
                    <a:close/>
                    <a:moveTo>
                      <a:pt x="480" y="162"/>
                    </a:moveTo>
                    <a:cubicBezTo>
                      <a:pt x="483" y="163"/>
                      <a:pt x="478" y="166"/>
                      <a:pt x="486" y="170"/>
                    </a:cubicBezTo>
                    <a:cubicBezTo>
                      <a:pt x="492" y="171"/>
                      <a:pt x="492" y="166"/>
                      <a:pt x="500" y="168"/>
                    </a:cubicBezTo>
                    <a:cubicBezTo>
                      <a:pt x="507" y="170"/>
                      <a:pt x="516" y="170"/>
                      <a:pt x="513" y="166"/>
                    </a:cubicBezTo>
                    <a:cubicBezTo>
                      <a:pt x="509" y="162"/>
                      <a:pt x="506" y="156"/>
                      <a:pt x="495" y="156"/>
                    </a:cubicBezTo>
                    <a:cubicBezTo>
                      <a:pt x="484" y="157"/>
                      <a:pt x="477" y="151"/>
                      <a:pt x="477" y="157"/>
                    </a:cubicBezTo>
                    <a:cubicBezTo>
                      <a:pt x="477" y="160"/>
                      <a:pt x="475" y="160"/>
                      <a:pt x="480" y="162"/>
                    </a:cubicBezTo>
                    <a:close/>
                    <a:moveTo>
                      <a:pt x="352" y="109"/>
                    </a:moveTo>
                    <a:cubicBezTo>
                      <a:pt x="357" y="114"/>
                      <a:pt x="360" y="112"/>
                      <a:pt x="361" y="115"/>
                    </a:cubicBezTo>
                    <a:cubicBezTo>
                      <a:pt x="361" y="118"/>
                      <a:pt x="369" y="117"/>
                      <a:pt x="375" y="115"/>
                    </a:cubicBezTo>
                    <a:cubicBezTo>
                      <a:pt x="383" y="114"/>
                      <a:pt x="381" y="118"/>
                      <a:pt x="387" y="121"/>
                    </a:cubicBezTo>
                    <a:cubicBezTo>
                      <a:pt x="392" y="125"/>
                      <a:pt x="381" y="129"/>
                      <a:pt x="386" y="132"/>
                    </a:cubicBezTo>
                    <a:cubicBezTo>
                      <a:pt x="390" y="134"/>
                      <a:pt x="386" y="137"/>
                      <a:pt x="390" y="140"/>
                    </a:cubicBezTo>
                    <a:cubicBezTo>
                      <a:pt x="396" y="143"/>
                      <a:pt x="393" y="138"/>
                      <a:pt x="402" y="142"/>
                    </a:cubicBezTo>
                    <a:cubicBezTo>
                      <a:pt x="411" y="146"/>
                      <a:pt x="416" y="135"/>
                      <a:pt x="416" y="140"/>
                    </a:cubicBezTo>
                    <a:cubicBezTo>
                      <a:pt x="414" y="146"/>
                      <a:pt x="421" y="143"/>
                      <a:pt x="440" y="143"/>
                    </a:cubicBezTo>
                    <a:cubicBezTo>
                      <a:pt x="462" y="145"/>
                      <a:pt x="457" y="135"/>
                      <a:pt x="459" y="140"/>
                    </a:cubicBezTo>
                    <a:cubicBezTo>
                      <a:pt x="460" y="145"/>
                      <a:pt x="483" y="145"/>
                      <a:pt x="483" y="140"/>
                    </a:cubicBezTo>
                    <a:cubicBezTo>
                      <a:pt x="483" y="135"/>
                      <a:pt x="492" y="138"/>
                      <a:pt x="486" y="135"/>
                    </a:cubicBezTo>
                    <a:cubicBezTo>
                      <a:pt x="481" y="132"/>
                      <a:pt x="489" y="132"/>
                      <a:pt x="486" y="128"/>
                    </a:cubicBezTo>
                    <a:cubicBezTo>
                      <a:pt x="483" y="123"/>
                      <a:pt x="477" y="126"/>
                      <a:pt x="475" y="123"/>
                    </a:cubicBezTo>
                    <a:cubicBezTo>
                      <a:pt x="472" y="120"/>
                      <a:pt x="463" y="123"/>
                      <a:pt x="448" y="125"/>
                    </a:cubicBezTo>
                    <a:cubicBezTo>
                      <a:pt x="431" y="126"/>
                      <a:pt x="439" y="131"/>
                      <a:pt x="430" y="128"/>
                    </a:cubicBezTo>
                    <a:cubicBezTo>
                      <a:pt x="422" y="125"/>
                      <a:pt x="422" y="131"/>
                      <a:pt x="416" y="126"/>
                    </a:cubicBezTo>
                    <a:cubicBezTo>
                      <a:pt x="411" y="121"/>
                      <a:pt x="414" y="129"/>
                      <a:pt x="411" y="128"/>
                    </a:cubicBezTo>
                    <a:cubicBezTo>
                      <a:pt x="407" y="126"/>
                      <a:pt x="411" y="125"/>
                      <a:pt x="407" y="121"/>
                    </a:cubicBezTo>
                    <a:cubicBezTo>
                      <a:pt x="404" y="117"/>
                      <a:pt x="401" y="121"/>
                      <a:pt x="401" y="118"/>
                    </a:cubicBezTo>
                    <a:cubicBezTo>
                      <a:pt x="399" y="115"/>
                      <a:pt x="411" y="120"/>
                      <a:pt x="410" y="117"/>
                    </a:cubicBezTo>
                    <a:cubicBezTo>
                      <a:pt x="410" y="114"/>
                      <a:pt x="404" y="115"/>
                      <a:pt x="399" y="112"/>
                    </a:cubicBezTo>
                    <a:cubicBezTo>
                      <a:pt x="393" y="109"/>
                      <a:pt x="392" y="109"/>
                      <a:pt x="384" y="111"/>
                    </a:cubicBezTo>
                    <a:cubicBezTo>
                      <a:pt x="378" y="112"/>
                      <a:pt x="376" y="104"/>
                      <a:pt x="372" y="104"/>
                    </a:cubicBezTo>
                    <a:cubicBezTo>
                      <a:pt x="369" y="106"/>
                      <a:pt x="360" y="103"/>
                      <a:pt x="351" y="103"/>
                    </a:cubicBezTo>
                    <a:cubicBezTo>
                      <a:pt x="347" y="103"/>
                      <a:pt x="347" y="106"/>
                      <a:pt x="352" y="109"/>
                    </a:cubicBezTo>
                    <a:close/>
                    <a:moveTo>
                      <a:pt x="357" y="137"/>
                    </a:moveTo>
                    <a:cubicBezTo>
                      <a:pt x="364" y="138"/>
                      <a:pt x="361" y="142"/>
                      <a:pt x="372" y="142"/>
                    </a:cubicBezTo>
                    <a:cubicBezTo>
                      <a:pt x="381" y="142"/>
                      <a:pt x="378" y="134"/>
                      <a:pt x="373" y="129"/>
                    </a:cubicBezTo>
                    <a:cubicBezTo>
                      <a:pt x="367" y="123"/>
                      <a:pt x="360" y="125"/>
                      <a:pt x="355" y="131"/>
                    </a:cubicBezTo>
                    <a:cubicBezTo>
                      <a:pt x="354" y="134"/>
                      <a:pt x="351" y="137"/>
                      <a:pt x="357" y="137"/>
                    </a:cubicBezTo>
                    <a:close/>
                    <a:moveTo>
                      <a:pt x="373" y="177"/>
                    </a:moveTo>
                    <a:cubicBezTo>
                      <a:pt x="373" y="174"/>
                      <a:pt x="378" y="176"/>
                      <a:pt x="375" y="171"/>
                    </a:cubicBezTo>
                    <a:cubicBezTo>
                      <a:pt x="372" y="165"/>
                      <a:pt x="387" y="174"/>
                      <a:pt x="390" y="166"/>
                    </a:cubicBezTo>
                    <a:cubicBezTo>
                      <a:pt x="395" y="159"/>
                      <a:pt x="407" y="154"/>
                      <a:pt x="398" y="151"/>
                    </a:cubicBezTo>
                    <a:cubicBezTo>
                      <a:pt x="390" y="148"/>
                      <a:pt x="390" y="152"/>
                      <a:pt x="386" y="151"/>
                    </a:cubicBezTo>
                    <a:cubicBezTo>
                      <a:pt x="381" y="148"/>
                      <a:pt x="379" y="146"/>
                      <a:pt x="367" y="149"/>
                    </a:cubicBezTo>
                    <a:cubicBezTo>
                      <a:pt x="357" y="151"/>
                      <a:pt x="364" y="154"/>
                      <a:pt x="361" y="154"/>
                    </a:cubicBezTo>
                    <a:cubicBezTo>
                      <a:pt x="358" y="154"/>
                      <a:pt x="358" y="154"/>
                      <a:pt x="358" y="163"/>
                    </a:cubicBezTo>
                    <a:cubicBezTo>
                      <a:pt x="358" y="171"/>
                      <a:pt x="363" y="171"/>
                      <a:pt x="363" y="176"/>
                    </a:cubicBezTo>
                    <a:cubicBezTo>
                      <a:pt x="361" y="182"/>
                      <a:pt x="366" y="177"/>
                      <a:pt x="370" y="180"/>
                    </a:cubicBezTo>
                    <a:cubicBezTo>
                      <a:pt x="372" y="180"/>
                      <a:pt x="372" y="180"/>
                      <a:pt x="373" y="177"/>
                    </a:cubicBezTo>
                    <a:close/>
                    <a:moveTo>
                      <a:pt x="317" y="162"/>
                    </a:moveTo>
                    <a:cubicBezTo>
                      <a:pt x="323" y="163"/>
                      <a:pt x="323" y="168"/>
                      <a:pt x="319" y="170"/>
                    </a:cubicBezTo>
                    <a:cubicBezTo>
                      <a:pt x="312" y="173"/>
                      <a:pt x="308" y="160"/>
                      <a:pt x="303" y="166"/>
                    </a:cubicBezTo>
                    <a:cubicBezTo>
                      <a:pt x="300" y="170"/>
                      <a:pt x="308" y="176"/>
                      <a:pt x="317" y="179"/>
                    </a:cubicBezTo>
                    <a:cubicBezTo>
                      <a:pt x="328" y="182"/>
                      <a:pt x="329" y="191"/>
                      <a:pt x="335" y="191"/>
                    </a:cubicBezTo>
                    <a:cubicBezTo>
                      <a:pt x="341" y="193"/>
                      <a:pt x="337" y="185"/>
                      <a:pt x="341" y="187"/>
                    </a:cubicBezTo>
                    <a:cubicBezTo>
                      <a:pt x="344" y="188"/>
                      <a:pt x="352" y="185"/>
                      <a:pt x="352" y="179"/>
                    </a:cubicBezTo>
                    <a:cubicBezTo>
                      <a:pt x="352" y="174"/>
                      <a:pt x="355" y="177"/>
                      <a:pt x="354" y="171"/>
                    </a:cubicBezTo>
                    <a:cubicBezTo>
                      <a:pt x="352" y="166"/>
                      <a:pt x="351" y="174"/>
                      <a:pt x="347" y="168"/>
                    </a:cubicBezTo>
                    <a:cubicBezTo>
                      <a:pt x="343" y="163"/>
                      <a:pt x="335" y="163"/>
                      <a:pt x="344" y="162"/>
                    </a:cubicBezTo>
                    <a:cubicBezTo>
                      <a:pt x="352" y="160"/>
                      <a:pt x="341" y="159"/>
                      <a:pt x="347" y="157"/>
                    </a:cubicBezTo>
                    <a:cubicBezTo>
                      <a:pt x="352" y="154"/>
                      <a:pt x="346" y="151"/>
                      <a:pt x="338" y="154"/>
                    </a:cubicBezTo>
                    <a:cubicBezTo>
                      <a:pt x="331" y="157"/>
                      <a:pt x="326" y="149"/>
                      <a:pt x="320" y="152"/>
                    </a:cubicBezTo>
                    <a:cubicBezTo>
                      <a:pt x="314" y="156"/>
                      <a:pt x="308" y="157"/>
                      <a:pt x="316" y="160"/>
                    </a:cubicBezTo>
                    <a:cubicBezTo>
                      <a:pt x="317" y="162"/>
                      <a:pt x="317" y="162"/>
                      <a:pt x="317" y="162"/>
                    </a:cubicBezTo>
                    <a:close/>
                    <a:moveTo>
                      <a:pt x="341" y="230"/>
                    </a:moveTo>
                    <a:cubicBezTo>
                      <a:pt x="347" y="230"/>
                      <a:pt x="351" y="235"/>
                      <a:pt x="355" y="232"/>
                    </a:cubicBezTo>
                    <a:cubicBezTo>
                      <a:pt x="360" y="227"/>
                      <a:pt x="360" y="232"/>
                      <a:pt x="363" y="229"/>
                    </a:cubicBezTo>
                    <a:cubicBezTo>
                      <a:pt x="364" y="224"/>
                      <a:pt x="360" y="229"/>
                      <a:pt x="357" y="224"/>
                    </a:cubicBezTo>
                    <a:cubicBezTo>
                      <a:pt x="354" y="218"/>
                      <a:pt x="354" y="222"/>
                      <a:pt x="347" y="216"/>
                    </a:cubicBezTo>
                    <a:cubicBezTo>
                      <a:pt x="341" y="210"/>
                      <a:pt x="340" y="212"/>
                      <a:pt x="335" y="219"/>
                    </a:cubicBezTo>
                    <a:cubicBezTo>
                      <a:pt x="331" y="226"/>
                      <a:pt x="325" y="221"/>
                      <a:pt x="329" y="226"/>
                    </a:cubicBezTo>
                    <a:cubicBezTo>
                      <a:pt x="331" y="229"/>
                      <a:pt x="335" y="229"/>
                      <a:pt x="341" y="230"/>
                    </a:cubicBezTo>
                    <a:close/>
                    <a:moveTo>
                      <a:pt x="326" y="81"/>
                    </a:moveTo>
                    <a:cubicBezTo>
                      <a:pt x="331" y="79"/>
                      <a:pt x="331" y="75"/>
                      <a:pt x="322" y="75"/>
                    </a:cubicBezTo>
                    <a:cubicBezTo>
                      <a:pt x="312" y="73"/>
                      <a:pt x="320" y="73"/>
                      <a:pt x="312" y="70"/>
                    </a:cubicBezTo>
                    <a:cubicBezTo>
                      <a:pt x="305" y="67"/>
                      <a:pt x="306" y="75"/>
                      <a:pt x="303" y="70"/>
                    </a:cubicBezTo>
                    <a:cubicBezTo>
                      <a:pt x="302" y="65"/>
                      <a:pt x="282" y="61"/>
                      <a:pt x="280" y="68"/>
                    </a:cubicBezTo>
                    <a:cubicBezTo>
                      <a:pt x="279" y="75"/>
                      <a:pt x="287" y="67"/>
                      <a:pt x="287" y="73"/>
                    </a:cubicBezTo>
                    <a:cubicBezTo>
                      <a:pt x="285" y="78"/>
                      <a:pt x="290" y="70"/>
                      <a:pt x="293" y="75"/>
                    </a:cubicBezTo>
                    <a:cubicBezTo>
                      <a:pt x="297" y="81"/>
                      <a:pt x="290" y="78"/>
                      <a:pt x="285" y="79"/>
                    </a:cubicBezTo>
                    <a:cubicBezTo>
                      <a:pt x="284" y="79"/>
                      <a:pt x="285" y="86"/>
                      <a:pt x="296" y="82"/>
                    </a:cubicBezTo>
                    <a:cubicBezTo>
                      <a:pt x="308" y="79"/>
                      <a:pt x="297" y="84"/>
                      <a:pt x="309" y="82"/>
                    </a:cubicBezTo>
                    <a:cubicBezTo>
                      <a:pt x="320" y="81"/>
                      <a:pt x="312" y="93"/>
                      <a:pt x="328" y="90"/>
                    </a:cubicBezTo>
                    <a:cubicBezTo>
                      <a:pt x="340" y="89"/>
                      <a:pt x="323" y="81"/>
                      <a:pt x="326" y="81"/>
                    </a:cubicBezTo>
                    <a:close/>
                    <a:moveTo>
                      <a:pt x="418" y="114"/>
                    </a:moveTo>
                    <a:cubicBezTo>
                      <a:pt x="421" y="117"/>
                      <a:pt x="427" y="114"/>
                      <a:pt x="430" y="112"/>
                    </a:cubicBezTo>
                    <a:cubicBezTo>
                      <a:pt x="433" y="111"/>
                      <a:pt x="434" y="115"/>
                      <a:pt x="443" y="115"/>
                    </a:cubicBezTo>
                    <a:cubicBezTo>
                      <a:pt x="453" y="115"/>
                      <a:pt x="446" y="111"/>
                      <a:pt x="456" y="114"/>
                    </a:cubicBezTo>
                    <a:cubicBezTo>
                      <a:pt x="466" y="117"/>
                      <a:pt x="478" y="107"/>
                      <a:pt x="477" y="114"/>
                    </a:cubicBezTo>
                    <a:cubicBezTo>
                      <a:pt x="474" y="120"/>
                      <a:pt x="484" y="117"/>
                      <a:pt x="491" y="114"/>
                    </a:cubicBezTo>
                    <a:cubicBezTo>
                      <a:pt x="495" y="111"/>
                      <a:pt x="500" y="115"/>
                      <a:pt x="501" y="107"/>
                    </a:cubicBezTo>
                    <a:cubicBezTo>
                      <a:pt x="501" y="101"/>
                      <a:pt x="491" y="107"/>
                      <a:pt x="491" y="103"/>
                    </a:cubicBezTo>
                    <a:cubicBezTo>
                      <a:pt x="491" y="98"/>
                      <a:pt x="494" y="100"/>
                      <a:pt x="498" y="96"/>
                    </a:cubicBezTo>
                    <a:cubicBezTo>
                      <a:pt x="504" y="93"/>
                      <a:pt x="491" y="86"/>
                      <a:pt x="504" y="89"/>
                    </a:cubicBezTo>
                    <a:cubicBezTo>
                      <a:pt x="515" y="90"/>
                      <a:pt x="524" y="84"/>
                      <a:pt x="521" y="81"/>
                    </a:cubicBezTo>
                    <a:cubicBezTo>
                      <a:pt x="518" y="78"/>
                      <a:pt x="532" y="78"/>
                      <a:pt x="519" y="73"/>
                    </a:cubicBezTo>
                    <a:cubicBezTo>
                      <a:pt x="509" y="67"/>
                      <a:pt x="529" y="75"/>
                      <a:pt x="527" y="70"/>
                    </a:cubicBezTo>
                    <a:cubicBezTo>
                      <a:pt x="524" y="65"/>
                      <a:pt x="521" y="67"/>
                      <a:pt x="516" y="67"/>
                    </a:cubicBezTo>
                    <a:cubicBezTo>
                      <a:pt x="510" y="67"/>
                      <a:pt x="501" y="68"/>
                      <a:pt x="504" y="65"/>
                    </a:cubicBezTo>
                    <a:cubicBezTo>
                      <a:pt x="507" y="64"/>
                      <a:pt x="526" y="64"/>
                      <a:pt x="533" y="62"/>
                    </a:cubicBezTo>
                    <a:cubicBezTo>
                      <a:pt x="542" y="62"/>
                      <a:pt x="535" y="56"/>
                      <a:pt x="539" y="59"/>
                    </a:cubicBezTo>
                    <a:cubicBezTo>
                      <a:pt x="544" y="61"/>
                      <a:pt x="551" y="61"/>
                      <a:pt x="556" y="56"/>
                    </a:cubicBezTo>
                    <a:cubicBezTo>
                      <a:pt x="561" y="50"/>
                      <a:pt x="571" y="45"/>
                      <a:pt x="591" y="37"/>
                    </a:cubicBezTo>
                    <a:cubicBezTo>
                      <a:pt x="611" y="30"/>
                      <a:pt x="611" y="28"/>
                      <a:pt x="594" y="30"/>
                    </a:cubicBezTo>
                    <a:cubicBezTo>
                      <a:pt x="579" y="31"/>
                      <a:pt x="591" y="28"/>
                      <a:pt x="600" y="25"/>
                    </a:cubicBezTo>
                    <a:cubicBezTo>
                      <a:pt x="611" y="23"/>
                      <a:pt x="634" y="19"/>
                      <a:pt x="634" y="16"/>
                    </a:cubicBezTo>
                    <a:cubicBezTo>
                      <a:pt x="634" y="11"/>
                      <a:pt x="617" y="14"/>
                      <a:pt x="617" y="9"/>
                    </a:cubicBezTo>
                    <a:cubicBezTo>
                      <a:pt x="618" y="6"/>
                      <a:pt x="605" y="5"/>
                      <a:pt x="602" y="5"/>
                    </a:cubicBezTo>
                    <a:cubicBezTo>
                      <a:pt x="597" y="6"/>
                      <a:pt x="597" y="5"/>
                      <a:pt x="591" y="8"/>
                    </a:cubicBezTo>
                    <a:cubicBezTo>
                      <a:pt x="583" y="11"/>
                      <a:pt x="571" y="9"/>
                      <a:pt x="579" y="8"/>
                    </a:cubicBezTo>
                    <a:cubicBezTo>
                      <a:pt x="585" y="8"/>
                      <a:pt x="594" y="5"/>
                      <a:pt x="583" y="5"/>
                    </a:cubicBezTo>
                    <a:cubicBezTo>
                      <a:pt x="571" y="5"/>
                      <a:pt x="568" y="0"/>
                      <a:pt x="559" y="2"/>
                    </a:cubicBezTo>
                    <a:cubicBezTo>
                      <a:pt x="550" y="3"/>
                      <a:pt x="548" y="0"/>
                      <a:pt x="539" y="3"/>
                    </a:cubicBezTo>
                    <a:cubicBezTo>
                      <a:pt x="532" y="6"/>
                      <a:pt x="523" y="0"/>
                      <a:pt x="503" y="5"/>
                    </a:cubicBezTo>
                    <a:cubicBezTo>
                      <a:pt x="494" y="8"/>
                      <a:pt x="488" y="2"/>
                      <a:pt x="481" y="5"/>
                    </a:cubicBezTo>
                    <a:cubicBezTo>
                      <a:pt x="475" y="8"/>
                      <a:pt x="468" y="3"/>
                      <a:pt x="474" y="8"/>
                    </a:cubicBezTo>
                    <a:cubicBezTo>
                      <a:pt x="480" y="14"/>
                      <a:pt x="466" y="6"/>
                      <a:pt x="465" y="11"/>
                    </a:cubicBezTo>
                    <a:cubicBezTo>
                      <a:pt x="463" y="16"/>
                      <a:pt x="460" y="16"/>
                      <a:pt x="451" y="14"/>
                    </a:cubicBezTo>
                    <a:cubicBezTo>
                      <a:pt x="442" y="14"/>
                      <a:pt x="453" y="13"/>
                      <a:pt x="442" y="11"/>
                    </a:cubicBezTo>
                    <a:cubicBezTo>
                      <a:pt x="431" y="11"/>
                      <a:pt x="446" y="16"/>
                      <a:pt x="434" y="16"/>
                    </a:cubicBezTo>
                    <a:cubicBezTo>
                      <a:pt x="422" y="17"/>
                      <a:pt x="445" y="19"/>
                      <a:pt x="439" y="20"/>
                    </a:cubicBezTo>
                    <a:cubicBezTo>
                      <a:pt x="433" y="22"/>
                      <a:pt x="430" y="17"/>
                      <a:pt x="419" y="19"/>
                    </a:cubicBezTo>
                    <a:cubicBezTo>
                      <a:pt x="408" y="20"/>
                      <a:pt x="413" y="23"/>
                      <a:pt x="405" y="22"/>
                    </a:cubicBezTo>
                    <a:cubicBezTo>
                      <a:pt x="398" y="20"/>
                      <a:pt x="389" y="25"/>
                      <a:pt x="390" y="28"/>
                    </a:cubicBezTo>
                    <a:cubicBezTo>
                      <a:pt x="393" y="33"/>
                      <a:pt x="395" y="28"/>
                      <a:pt x="399" y="31"/>
                    </a:cubicBezTo>
                    <a:cubicBezTo>
                      <a:pt x="402" y="33"/>
                      <a:pt x="408" y="30"/>
                      <a:pt x="405" y="33"/>
                    </a:cubicBezTo>
                    <a:cubicBezTo>
                      <a:pt x="401" y="36"/>
                      <a:pt x="401" y="39"/>
                      <a:pt x="408" y="41"/>
                    </a:cubicBezTo>
                    <a:cubicBezTo>
                      <a:pt x="416" y="42"/>
                      <a:pt x="421" y="47"/>
                      <a:pt x="428" y="42"/>
                    </a:cubicBezTo>
                    <a:cubicBezTo>
                      <a:pt x="436" y="37"/>
                      <a:pt x="445" y="37"/>
                      <a:pt x="439" y="39"/>
                    </a:cubicBezTo>
                    <a:cubicBezTo>
                      <a:pt x="433" y="41"/>
                      <a:pt x="421" y="45"/>
                      <a:pt x="440" y="47"/>
                    </a:cubicBezTo>
                    <a:cubicBezTo>
                      <a:pt x="459" y="48"/>
                      <a:pt x="453" y="41"/>
                      <a:pt x="459" y="44"/>
                    </a:cubicBezTo>
                    <a:cubicBezTo>
                      <a:pt x="463" y="47"/>
                      <a:pt x="480" y="44"/>
                      <a:pt x="492" y="36"/>
                    </a:cubicBezTo>
                    <a:cubicBezTo>
                      <a:pt x="506" y="30"/>
                      <a:pt x="488" y="39"/>
                      <a:pt x="500" y="41"/>
                    </a:cubicBezTo>
                    <a:cubicBezTo>
                      <a:pt x="512" y="41"/>
                      <a:pt x="501" y="42"/>
                      <a:pt x="478" y="47"/>
                    </a:cubicBezTo>
                    <a:cubicBezTo>
                      <a:pt x="457" y="51"/>
                      <a:pt x="457" y="48"/>
                      <a:pt x="466" y="54"/>
                    </a:cubicBezTo>
                    <a:cubicBezTo>
                      <a:pt x="474" y="61"/>
                      <a:pt x="484" y="61"/>
                      <a:pt x="475" y="62"/>
                    </a:cubicBezTo>
                    <a:cubicBezTo>
                      <a:pt x="468" y="64"/>
                      <a:pt x="468" y="58"/>
                      <a:pt x="460" y="53"/>
                    </a:cubicBezTo>
                    <a:cubicBezTo>
                      <a:pt x="453" y="50"/>
                      <a:pt x="431" y="47"/>
                      <a:pt x="431" y="53"/>
                    </a:cubicBezTo>
                    <a:cubicBezTo>
                      <a:pt x="431" y="58"/>
                      <a:pt x="431" y="58"/>
                      <a:pt x="439" y="59"/>
                    </a:cubicBezTo>
                    <a:cubicBezTo>
                      <a:pt x="446" y="62"/>
                      <a:pt x="453" y="68"/>
                      <a:pt x="448" y="68"/>
                    </a:cubicBezTo>
                    <a:cubicBezTo>
                      <a:pt x="445" y="70"/>
                      <a:pt x="445" y="72"/>
                      <a:pt x="453" y="73"/>
                    </a:cubicBezTo>
                    <a:cubicBezTo>
                      <a:pt x="462" y="73"/>
                      <a:pt x="465" y="76"/>
                      <a:pt x="457" y="75"/>
                    </a:cubicBezTo>
                    <a:cubicBezTo>
                      <a:pt x="448" y="73"/>
                      <a:pt x="430" y="75"/>
                      <a:pt x="427" y="78"/>
                    </a:cubicBezTo>
                    <a:cubicBezTo>
                      <a:pt x="422" y="81"/>
                      <a:pt x="421" y="87"/>
                      <a:pt x="428" y="86"/>
                    </a:cubicBezTo>
                    <a:cubicBezTo>
                      <a:pt x="436" y="84"/>
                      <a:pt x="431" y="87"/>
                      <a:pt x="439" y="86"/>
                    </a:cubicBezTo>
                    <a:cubicBezTo>
                      <a:pt x="445" y="84"/>
                      <a:pt x="437" y="87"/>
                      <a:pt x="442" y="93"/>
                    </a:cubicBezTo>
                    <a:cubicBezTo>
                      <a:pt x="446" y="100"/>
                      <a:pt x="457" y="93"/>
                      <a:pt x="462" y="87"/>
                    </a:cubicBezTo>
                    <a:cubicBezTo>
                      <a:pt x="466" y="82"/>
                      <a:pt x="457" y="100"/>
                      <a:pt x="446" y="100"/>
                    </a:cubicBezTo>
                    <a:cubicBezTo>
                      <a:pt x="437" y="98"/>
                      <a:pt x="437" y="89"/>
                      <a:pt x="427" y="89"/>
                    </a:cubicBezTo>
                    <a:cubicBezTo>
                      <a:pt x="418" y="89"/>
                      <a:pt x="416" y="90"/>
                      <a:pt x="419" y="95"/>
                    </a:cubicBezTo>
                    <a:cubicBezTo>
                      <a:pt x="424" y="98"/>
                      <a:pt x="431" y="103"/>
                      <a:pt x="422" y="103"/>
                    </a:cubicBezTo>
                    <a:cubicBezTo>
                      <a:pt x="411" y="103"/>
                      <a:pt x="404" y="107"/>
                      <a:pt x="408" y="112"/>
                    </a:cubicBezTo>
                    <a:cubicBezTo>
                      <a:pt x="411" y="114"/>
                      <a:pt x="413" y="111"/>
                      <a:pt x="418" y="114"/>
                    </a:cubicBezTo>
                    <a:close/>
                    <a:moveTo>
                      <a:pt x="369" y="37"/>
                    </a:moveTo>
                    <a:cubicBezTo>
                      <a:pt x="364" y="37"/>
                      <a:pt x="363" y="37"/>
                      <a:pt x="361" y="42"/>
                    </a:cubicBezTo>
                    <a:cubicBezTo>
                      <a:pt x="360" y="45"/>
                      <a:pt x="357" y="44"/>
                      <a:pt x="354" y="48"/>
                    </a:cubicBezTo>
                    <a:cubicBezTo>
                      <a:pt x="351" y="53"/>
                      <a:pt x="369" y="51"/>
                      <a:pt x="367" y="53"/>
                    </a:cubicBezTo>
                    <a:cubicBezTo>
                      <a:pt x="366" y="58"/>
                      <a:pt x="351" y="50"/>
                      <a:pt x="351" y="54"/>
                    </a:cubicBezTo>
                    <a:cubicBezTo>
                      <a:pt x="349" y="58"/>
                      <a:pt x="354" y="59"/>
                      <a:pt x="361" y="65"/>
                    </a:cubicBezTo>
                    <a:cubicBezTo>
                      <a:pt x="367" y="70"/>
                      <a:pt x="373" y="62"/>
                      <a:pt x="372" y="65"/>
                    </a:cubicBezTo>
                    <a:cubicBezTo>
                      <a:pt x="369" y="70"/>
                      <a:pt x="387" y="62"/>
                      <a:pt x="384" y="65"/>
                    </a:cubicBezTo>
                    <a:cubicBezTo>
                      <a:pt x="383" y="70"/>
                      <a:pt x="367" y="70"/>
                      <a:pt x="372" y="73"/>
                    </a:cubicBezTo>
                    <a:cubicBezTo>
                      <a:pt x="375" y="75"/>
                      <a:pt x="378" y="79"/>
                      <a:pt x="383" y="82"/>
                    </a:cubicBezTo>
                    <a:cubicBezTo>
                      <a:pt x="389" y="84"/>
                      <a:pt x="401" y="89"/>
                      <a:pt x="401" y="84"/>
                    </a:cubicBezTo>
                    <a:cubicBezTo>
                      <a:pt x="401" y="79"/>
                      <a:pt x="408" y="87"/>
                      <a:pt x="407" y="82"/>
                    </a:cubicBezTo>
                    <a:cubicBezTo>
                      <a:pt x="404" y="76"/>
                      <a:pt x="407" y="79"/>
                      <a:pt x="411" y="84"/>
                    </a:cubicBezTo>
                    <a:cubicBezTo>
                      <a:pt x="416" y="89"/>
                      <a:pt x="413" y="78"/>
                      <a:pt x="416" y="79"/>
                    </a:cubicBezTo>
                    <a:cubicBezTo>
                      <a:pt x="421" y="79"/>
                      <a:pt x="425" y="75"/>
                      <a:pt x="431" y="72"/>
                    </a:cubicBezTo>
                    <a:cubicBezTo>
                      <a:pt x="437" y="68"/>
                      <a:pt x="448" y="67"/>
                      <a:pt x="443" y="65"/>
                    </a:cubicBezTo>
                    <a:cubicBezTo>
                      <a:pt x="437" y="62"/>
                      <a:pt x="439" y="59"/>
                      <a:pt x="428" y="61"/>
                    </a:cubicBezTo>
                    <a:cubicBezTo>
                      <a:pt x="419" y="64"/>
                      <a:pt x="434" y="59"/>
                      <a:pt x="427" y="54"/>
                    </a:cubicBezTo>
                    <a:cubicBezTo>
                      <a:pt x="421" y="51"/>
                      <a:pt x="428" y="48"/>
                      <a:pt x="419" y="47"/>
                    </a:cubicBezTo>
                    <a:cubicBezTo>
                      <a:pt x="410" y="47"/>
                      <a:pt x="418" y="54"/>
                      <a:pt x="413" y="51"/>
                    </a:cubicBezTo>
                    <a:cubicBezTo>
                      <a:pt x="407" y="50"/>
                      <a:pt x="414" y="47"/>
                      <a:pt x="405" y="45"/>
                    </a:cubicBezTo>
                    <a:cubicBezTo>
                      <a:pt x="396" y="45"/>
                      <a:pt x="389" y="31"/>
                      <a:pt x="373" y="31"/>
                    </a:cubicBezTo>
                    <a:cubicBezTo>
                      <a:pt x="363" y="33"/>
                      <a:pt x="379" y="37"/>
                      <a:pt x="369" y="37"/>
                    </a:cubicBezTo>
                    <a:close/>
                    <a:moveTo>
                      <a:pt x="344" y="84"/>
                    </a:moveTo>
                    <a:cubicBezTo>
                      <a:pt x="351" y="86"/>
                      <a:pt x="338" y="87"/>
                      <a:pt x="344" y="87"/>
                    </a:cubicBezTo>
                    <a:cubicBezTo>
                      <a:pt x="351" y="89"/>
                      <a:pt x="344" y="93"/>
                      <a:pt x="351" y="90"/>
                    </a:cubicBezTo>
                    <a:cubicBezTo>
                      <a:pt x="357" y="89"/>
                      <a:pt x="366" y="89"/>
                      <a:pt x="364" y="86"/>
                    </a:cubicBezTo>
                    <a:cubicBezTo>
                      <a:pt x="361" y="82"/>
                      <a:pt x="370" y="82"/>
                      <a:pt x="364" y="81"/>
                    </a:cubicBezTo>
                    <a:cubicBezTo>
                      <a:pt x="357" y="78"/>
                      <a:pt x="358" y="81"/>
                      <a:pt x="352" y="76"/>
                    </a:cubicBezTo>
                    <a:cubicBezTo>
                      <a:pt x="346" y="73"/>
                      <a:pt x="335" y="73"/>
                      <a:pt x="338" y="76"/>
                    </a:cubicBezTo>
                    <a:cubicBezTo>
                      <a:pt x="340" y="81"/>
                      <a:pt x="332" y="79"/>
                      <a:pt x="338" y="82"/>
                    </a:cubicBezTo>
                    <a:cubicBezTo>
                      <a:pt x="341" y="82"/>
                      <a:pt x="338" y="82"/>
                      <a:pt x="344" y="84"/>
                    </a:cubicBezTo>
                    <a:close/>
                    <a:moveTo>
                      <a:pt x="329" y="58"/>
                    </a:moveTo>
                    <a:cubicBezTo>
                      <a:pt x="332" y="61"/>
                      <a:pt x="335" y="61"/>
                      <a:pt x="335" y="56"/>
                    </a:cubicBezTo>
                    <a:cubicBezTo>
                      <a:pt x="334" y="51"/>
                      <a:pt x="323" y="50"/>
                      <a:pt x="323" y="54"/>
                    </a:cubicBezTo>
                    <a:cubicBezTo>
                      <a:pt x="325" y="58"/>
                      <a:pt x="326" y="56"/>
                      <a:pt x="329" y="58"/>
                    </a:cubicBezTo>
                    <a:close/>
                    <a:moveTo>
                      <a:pt x="238" y="142"/>
                    </a:moveTo>
                    <a:cubicBezTo>
                      <a:pt x="245" y="138"/>
                      <a:pt x="250" y="134"/>
                      <a:pt x="256" y="135"/>
                    </a:cubicBezTo>
                    <a:cubicBezTo>
                      <a:pt x="262" y="138"/>
                      <a:pt x="259" y="134"/>
                      <a:pt x="265" y="135"/>
                    </a:cubicBezTo>
                    <a:cubicBezTo>
                      <a:pt x="271" y="137"/>
                      <a:pt x="276" y="135"/>
                      <a:pt x="282" y="128"/>
                    </a:cubicBezTo>
                    <a:cubicBezTo>
                      <a:pt x="288" y="120"/>
                      <a:pt x="274" y="118"/>
                      <a:pt x="270" y="120"/>
                    </a:cubicBezTo>
                    <a:cubicBezTo>
                      <a:pt x="267" y="121"/>
                      <a:pt x="262" y="125"/>
                      <a:pt x="264" y="121"/>
                    </a:cubicBezTo>
                    <a:cubicBezTo>
                      <a:pt x="265" y="117"/>
                      <a:pt x="258" y="120"/>
                      <a:pt x="261" y="117"/>
                    </a:cubicBezTo>
                    <a:cubicBezTo>
                      <a:pt x="264" y="114"/>
                      <a:pt x="258" y="117"/>
                      <a:pt x="258" y="109"/>
                    </a:cubicBezTo>
                    <a:cubicBezTo>
                      <a:pt x="258" y="103"/>
                      <a:pt x="252" y="107"/>
                      <a:pt x="244" y="112"/>
                    </a:cubicBezTo>
                    <a:cubicBezTo>
                      <a:pt x="236" y="117"/>
                      <a:pt x="255" y="117"/>
                      <a:pt x="249" y="120"/>
                    </a:cubicBezTo>
                    <a:cubicBezTo>
                      <a:pt x="242" y="125"/>
                      <a:pt x="256" y="123"/>
                      <a:pt x="255" y="126"/>
                    </a:cubicBezTo>
                    <a:cubicBezTo>
                      <a:pt x="253" y="131"/>
                      <a:pt x="249" y="125"/>
                      <a:pt x="241" y="126"/>
                    </a:cubicBezTo>
                    <a:cubicBezTo>
                      <a:pt x="232" y="128"/>
                      <a:pt x="239" y="126"/>
                      <a:pt x="229" y="118"/>
                    </a:cubicBezTo>
                    <a:cubicBezTo>
                      <a:pt x="217" y="111"/>
                      <a:pt x="217" y="121"/>
                      <a:pt x="213" y="115"/>
                    </a:cubicBezTo>
                    <a:cubicBezTo>
                      <a:pt x="210" y="109"/>
                      <a:pt x="206" y="112"/>
                      <a:pt x="197" y="117"/>
                    </a:cubicBezTo>
                    <a:cubicBezTo>
                      <a:pt x="188" y="120"/>
                      <a:pt x="198" y="117"/>
                      <a:pt x="191" y="123"/>
                    </a:cubicBezTo>
                    <a:cubicBezTo>
                      <a:pt x="185" y="128"/>
                      <a:pt x="194" y="125"/>
                      <a:pt x="188" y="128"/>
                    </a:cubicBezTo>
                    <a:cubicBezTo>
                      <a:pt x="182" y="132"/>
                      <a:pt x="188" y="132"/>
                      <a:pt x="195" y="135"/>
                    </a:cubicBezTo>
                    <a:cubicBezTo>
                      <a:pt x="203" y="137"/>
                      <a:pt x="203" y="132"/>
                      <a:pt x="204" y="134"/>
                    </a:cubicBezTo>
                    <a:cubicBezTo>
                      <a:pt x="206" y="137"/>
                      <a:pt x="209" y="138"/>
                      <a:pt x="212" y="134"/>
                    </a:cubicBezTo>
                    <a:cubicBezTo>
                      <a:pt x="215" y="129"/>
                      <a:pt x="217" y="129"/>
                      <a:pt x="215" y="132"/>
                    </a:cubicBezTo>
                    <a:cubicBezTo>
                      <a:pt x="213" y="135"/>
                      <a:pt x="218" y="135"/>
                      <a:pt x="230" y="132"/>
                    </a:cubicBezTo>
                    <a:cubicBezTo>
                      <a:pt x="242" y="131"/>
                      <a:pt x="236" y="135"/>
                      <a:pt x="227" y="135"/>
                    </a:cubicBezTo>
                    <a:cubicBezTo>
                      <a:pt x="218" y="137"/>
                      <a:pt x="204" y="140"/>
                      <a:pt x="215" y="143"/>
                    </a:cubicBezTo>
                    <a:cubicBezTo>
                      <a:pt x="221" y="146"/>
                      <a:pt x="229" y="143"/>
                      <a:pt x="238" y="142"/>
                    </a:cubicBezTo>
                    <a:close/>
                    <a:moveTo>
                      <a:pt x="288" y="96"/>
                    </a:moveTo>
                    <a:cubicBezTo>
                      <a:pt x="284" y="92"/>
                      <a:pt x="276" y="90"/>
                      <a:pt x="277" y="93"/>
                    </a:cubicBezTo>
                    <a:cubicBezTo>
                      <a:pt x="279" y="96"/>
                      <a:pt x="280" y="103"/>
                      <a:pt x="288" y="103"/>
                    </a:cubicBezTo>
                    <a:cubicBezTo>
                      <a:pt x="291" y="101"/>
                      <a:pt x="293" y="101"/>
                      <a:pt x="288" y="96"/>
                    </a:cubicBezTo>
                    <a:close/>
                    <a:moveTo>
                      <a:pt x="192" y="111"/>
                    </a:moveTo>
                    <a:cubicBezTo>
                      <a:pt x="198" y="111"/>
                      <a:pt x="204" y="107"/>
                      <a:pt x="197" y="104"/>
                    </a:cubicBezTo>
                    <a:cubicBezTo>
                      <a:pt x="191" y="100"/>
                      <a:pt x="207" y="100"/>
                      <a:pt x="198" y="96"/>
                    </a:cubicBezTo>
                    <a:cubicBezTo>
                      <a:pt x="192" y="93"/>
                      <a:pt x="191" y="95"/>
                      <a:pt x="189" y="98"/>
                    </a:cubicBezTo>
                    <a:cubicBezTo>
                      <a:pt x="188" y="101"/>
                      <a:pt x="180" y="92"/>
                      <a:pt x="168" y="103"/>
                    </a:cubicBezTo>
                    <a:cubicBezTo>
                      <a:pt x="157" y="111"/>
                      <a:pt x="162" y="106"/>
                      <a:pt x="156" y="111"/>
                    </a:cubicBezTo>
                    <a:cubicBezTo>
                      <a:pt x="150" y="117"/>
                      <a:pt x="150" y="109"/>
                      <a:pt x="145" y="115"/>
                    </a:cubicBezTo>
                    <a:cubicBezTo>
                      <a:pt x="139" y="120"/>
                      <a:pt x="147" y="117"/>
                      <a:pt x="145" y="120"/>
                    </a:cubicBezTo>
                    <a:cubicBezTo>
                      <a:pt x="143" y="121"/>
                      <a:pt x="147" y="121"/>
                      <a:pt x="150" y="120"/>
                    </a:cubicBezTo>
                    <a:cubicBezTo>
                      <a:pt x="153" y="117"/>
                      <a:pt x="153" y="121"/>
                      <a:pt x="157" y="120"/>
                    </a:cubicBezTo>
                    <a:cubicBezTo>
                      <a:pt x="160" y="120"/>
                      <a:pt x="159" y="115"/>
                      <a:pt x="162" y="120"/>
                    </a:cubicBezTo>
                    <a:cubicBezTo>
                      <a:pt x="163" y="125"/>
                      <a:pt x="169" y="125"/>
                      <a:pt x="169" y="118"/>
                    </a:cubicBezTo>
                    <a:cubicBezTo>
                      <a:pt x="169" y="112"/>
                      <a:pt x="171" y="125"/>
                      <a:pt x="177" y="114"/>
                    </a:cubicBezTo>
                    <a:cubicBezTo>
                      <a:pt x="180" y="107"/>
                      <a:pt x="175" y="111"/>
                      <a:pt x="182" y="107"/>
                    </a:cubicBezTo>
                    <a:cubicBezTo>
                      <a:pt x="188" y="104"/>
                      <a:pt x="178" y="114"/>
                      <a:pt x="186" y="115"/>
                    </a:cubicBezTo>
                    <a:cubicBezTo>
                      <a:pt x="195" y="117"/>
                      <a:pt x="188" y="111"/>
                      <a:pt x="192" y="111"/>
                    </a:cubicBezTo>
                    <a:close/>
                    <a:moveTo>
                      <a:pt x="232" y="82"/>
                    </a:moveTo>
                    <a:cubicBezTo>
                      <a:pt x="236" y="84"/>
                      <a:pt x="232" y="82"/>
                      <a:pt x="241" y="82"/>
                    </a:cubicBezTo>
                    <a:cubicBezTo>
                      <a:pt x="250" y="84"/>
                      <a:pt x="256" y="81"/>
                      <a:pt x="247" y="78"/>
                    </a:cubicBezTo>
                    <a:cubicBezTo>
                      <a:pt x="236" y="73"/>
                      <a:pt x="236" y="78"/>
                      <a:pt x="227" y="79"/>
                    </a:cubicBezTo>
                    <a:cubicBezTo>
                      <a:pt x="218" y="81"/>
                      <a:pt x="218" y="84"/>
                      <a:pt x="224" y="82"/>
                    </a:cubicBezTo>
                    <a:cubicBezTo>
                      <a:pt x="226" y="82"/>
                      <a:pt x="226" y="82"/>
                      <a:pt x="232" y="82"/>
                    </a:cubicBezTo>
                    <a:close/>
                    <a:moveTo>
                      <a:pt x="239" y="96"/>
                    </a:moveTo>
                    <a:cubicBezTo>
                      <a:pt x="247" y="95"/>
                      <a:pt x="249" y="92"/>
                      <a:pt x="241" y="90"/>
                    </a:cubicBezTo>
                    <a:cubicBezTo>
                      <a:pt x="235" y="90"/>
                      <a:pt x="247" y="90"/>
                      <a:pt x="249" y="87"/>
                    </a:cubicBezTo>
                    <a:cubicBezTo>
                      <a:pt x="250" y="84"/>
                      <a:pt x="239" y="86"/>
                      <a:pt x="229" y="87"/>
                    </a:cubicBezTo>
                    <a:cubicBezTo>
                      <a:pt x="218" y="89"/>
                      <a:pt x="218" y="90"/>
                      <a:pt x="220" y="95"/>
                    </a:cubicBezTo>
                    <a:cubicBezTo>
                      <a:pt x="223" y="100"/>
                      <a:pt x="232" y="98"/>
                      <a:pt x="239" y="96"/>
                    </a:cubicBezTo>
                    <a:close/>
                    <a:moveTo>
                      <a:pt x="335" y="135"/>
                    </a:moveTo>
                    <a:cubicBezTo>
                      <a:pt x="340" y="135"/>
                      <a:pt x="344" y="135"/>
                      <a:pt x="343" y="131"/>
                    </a:cubicBezTo>
                    <a:cubicBezTo>
                      <a:pt x="341" y="128"/>
                      <a:pt x="341" y="125"/>
                      <a:pt x="344" y="128"/>
                    </a:cubicBezTo>
                    <a:cubicBezTo>
                      <a:pt x="347" y="131"/>
                      <a:pt x="347" y="128"/>
                      <a:pt x="344" y="125"/>
                    </a:cubicBezTo>
                    <a:cubicBezTo>
                      <a:pt x="341" y="120"/>
                      <a:pt x="346" y="114"/>
                      <a:pt x="338" y="109"/>
                    </a:cubicBezTo>
                    <a:cubicBezTo>
                      <a:pt x="331" y="106"/>
                      <a:pt x="334" y="114"/>
                      <a:pt x="331" y="111"/>
                    </a:cubicBezTo>
                    <a:cubicBezTo>
                      <a:pt x="326" y="109"/>
                      <a:pt x="323" y="109"/>
                      <a:pt x="319" y="111"/>
                    </a:cubicBezTo>
                    <a:cubicBezTo>
                      <a:pt x="314" y="112"/>
                      <a:pt x="320" y="114"/>
                      <a:pt x="326" y="121"/>
                    </a:cubicBezTo>
                    <a:cubicBezTo>
                      <a:pt x="312" y="115"/>
                      <a:pt x="320" y="114"/>
                      <a:pt x="312" y="112"/>
                    </a:cubicBezTo>
                    <a:cubicBezTo>
                      <a:pt x="305" y="112"/>
                      <a:pt x="306" y="114"/>
                      <a:pt x="311" y="120"/>
                    </a:cubicBezTo>
                    <a:cubicBezTo>
                      <a:pt x="316" y="125"/>
                      <a:pt x="311" y="120"/>
                      <a:pt x="308" y="121"/>
                    </a:cubicBezTo>
                    <a:cubicBezTo>
                      <a:pt x="306" y="125"/>
                      <a:pt x="300" y="123"/>
                      <a:pt x="303" y="126"/>
                    </a:cubicBezTo>
                    <a:cubicBezTo>
                      <a:pt x="305" y="129"/>
                      <a:pt x="323" y="125"/>
                      <a:pt x="329" y="125"/>
                    </a:cubicBezTo>
                    <a:cubicBezTo>
                      <a:pt x="334" y="125"/>
                      <a:pt x="317" y="126"/>
                      <a:pt x="320" y="131"/>
                    </a:cubicBezTo>
                    <a:cubicBezTo>
                      <a:pt x="323" y="134"/>
                      <a:pt x="320" y="138"/>
                      <a:pt x="326" y="135"/>
                    </a:cubicBezTo>
                    <a:cubicBezTo>
                      <a:pt x="329" y="134"/>
                      <a:pt x="329" y="135"/>
                      <a:pt x="335" y="135"/>
                    </a:cubicBezTo>
                    <a:close/>
                    <a:moveTo>
                      <a:pt x="623" y="518"/>
                    </a:moveTo>
                    <a:cubicBezTo>
                      <a:pt x="623" y="515"/>
                      <a:pt x="626" y="515"/>
                      <a:pt x="625" y="515"/>
                    </a:cubicBezTo>
                    <a:cubicBezTo>
                      <a:pt x="625" y="513"/>
                      <a:pt x="618" y="515"/>
                      <a:pt x="612" y="513"/>
                    </a:cubicBezTo>
                    <a:cubicBezTo>
                      <a:pt x="608" y="512"/>
                      <a:pt x="611" y="505"/>
                      <a:pt x="608" y="510"/>
                    </a:cubicBezTo>
                    <a:cubicBezTo>
                      <a:pt x="605" y="515"/>
                      <a:pt x="609" y="512"/>
                      <a:pt x="608" y="515"/>
                    </a:cubicBezTo>
                    <a:cubicBezTo>
                      <a:pt x="608" y="516"/>
                      <a:pt x="611" y="515"/>
                      <a:pt x="612" y="516"/>
                    </a:cubicBezTo>
                    <a:cubicBezTo>
                      <a:pt x="614" y="518"/>
                      <a:pt x="614" y="516"/>
                      <a:pt x="622" y="519"/>
                    </a:cubicBezTo>
                    <a:cubicBezTo>
                      <a:pt x="623" y="521"/>
                      <a:pt x="623" y="521"/>
                      <a:pt x="623" y="518"/>
                    </a:cubicBezTo>
                    <a:close/>
                    <a:moveTo>
                      <a:pt x="635" y="521"/>
                    </a:moveTo>
                    <a:cubicBezTo>
                      <a:pt x="635" y="518"/>
                      <a:pt x="637" y="518"/>
                      <a:pt x="637" y="522"/>
                    </a:cubicBezTo>
                    <a:cubicBezTo>
                      <a:pt x="635" y="527"/>
                      <a:pt x="637" y="526"/>
                      <a:pt x="640" y="522"/>
                    </a:cubicBezTo>
                    <a:cubicBezTo>
                      <a:pt x="643" y="521"/>
                      <a:pt x="646" y="518"/>
                      <a:pt x="643" y="518"/>
                    </a:cubicBezTo>
                    <a:cubicBezTo>
                      <a:pt x="640" y="516"/>
                      <a:pt x="638" y="516"/>
                      <a:pt x="640" y="512"/>
                    </a:cubicBezTo>
                    <a:cubicBezTo>
                      <a:pt x="640" y="507"/>
                      <a:pt x="638" y="507"/>
                      <a:pt x="635" y="512"/>
                    </a:cubicBezTo>
                    <a:cubicBezTo>
                      <a:pt x="632" y="516"/>
                      <a:pt x="629" y="519"/>
                      <a:pt x="631" y="524"/>
                    </a:cubicBezTo>
                    <a:cubicBezTo>
                      <a:pt x="632" y="527"/>
                      <a:pt x="634" y="526"/>
                      <a:pt x="635" y="521"/>
                    </a:cubicBezTo>
                    <a:close/>
                    <a:moveTo>
                      <a:pt x="611" y="474"/>
                    </a:moveTo>
                    <a:cubicBezTo>
                      <a:pt x="600" y="473"/>
                      <a:pt x="609" y="476"/>
                      <a:pt x="612" y="479"/>
                    </a:cubicBezTo>
                    <a:cubicBezTo>
                      <a:pt x="615" y="482"/>
                      <a:pt x="626" y="487"/>
                      <a:pt x="629" y="484"/>
                    </a:cubicBezTo>
                    <a:cubicBezTo>
                      <a:pt x="629" y="480"/>
                      <a:pt x="620" y="476"/>
                      <a:pt x="611" y="474"/>
                    </a:cubicBezTo>
                    <a:close/>
                    <a:moveTo>
                      <a:pt x="655" y="501"/>
                    </a:moveTo>
                    <a:cubicBezTo>
                      <a:pt x="660" y="498"/>
                      <a:pt x="660" y="502"/>
                      <a:pt x="669" y="501"/>
                    </a:cubicBezTo>
                    <a:cubicBezTo>
                      <a:pt x="679" y="499"/>
                      <a:pt x="669" y="504"/>
                      <a:pt x="678" y="502"/>
                    </a:cubicBezTo>
                    <a:cubicBezTo>
                      <a:pt x="687" y="501"/>
                      <a:pt x="673" y="507"/>
                      <a:pt x="673" y="508"/>
                    </a:cubicBezTo>
                    <a:cubicBezTo>
                      <a:pt x="673" y="512"/>
                      <a:pt x="678" y="512"/>
                      <a:pt x="681" y="507"/>
                    </a:cubicBezTo>
                    <a:cubicBezTo>
                      <a:pt x="684" y="501"/>
                      <a:pt x="685" y="505"/>
                      <a:pt x="687" y="501"/>
                    </a:cubicBezTo>
                    <a:cubicBezTo>
                      <a:pt x="690" y="496"/>
                      <a:pt x="692" y="499"/>
                      <a:pt x="690" y="504"/>
                    </a:cubicBezTo>
                    <a:cubicBezTo>
                      <a:pt x="689" y="508"/>
                      <a:pt x="687" y="512"/>
                      <a:pt x="690" y="508"/>
                    </a:cubicBezTo>
                    <a:cubicBezTo>
                      <a:pt x="695" y="505"/>
                      <a:pt x="692" y="512"/>
                      <a:pt x="696" y="512"/>
                    </a:cubicBezTo>
                    <a:cubicBezTo>
                      <a:pt x="702" y="512"/>
                      <a:pt x="698" y="510"/>
                      <a:pt x="701" y="502"/>
                    </a:cubicBezTo>
                    <a:cubicBezTo>
                      <a:pt x="702" y="494"/>
                      <a:pt x="695" y="502"/>
                      <a:pt x="699" y="496"/>
                    </a:cubicBezTo>
                    <a:cubicBezTo>
                      <a:pt x="702" y="491"/>
                      <a:pt x="696" y="494"/>
                      <a:pt x="693" y="499"/>
                    </a:cubicBezTo>
                    <a:cubicBezTo>
                      <a:pt x="692" y="504"/>
                      <a:pt x="692" y="496"/>
                      <a:pt x="695" y="493"/>
                    </a:cubicBezTo>
                    <a:cubicBezTo>
                      <a:pt x="699" y="491"/>
                      <a:pt x="699" y="488"/>
                      <a:pt x="696" y="490"/>
                    </a:cubicBezTo>
                    <a:cubicBezTo>
                      <a:pt x="693" y="491"/>
                      <a:pt x="689" y="488"/>
                      <a:pt x="693" y="485"/>
                    </a:cubicBezTo>
                    <a:cubicBezTo>
                      <a:pt x="696" y="480"/>
                      <a:pt x="692" y="477"/>
                      <a:pt x="684" y="480"/>
                    </a:cubicBezTo>
                    <a:cubicBezTo>
                      <a:pt x="676" y="482"/>
                      <a:pt x="682" y="477"/>
                      <a:pt x="678" y="479"/>
                    </a:cubicBezTo>
                    <a:cubicBezTo>
                      <a:pt x="673" y="480"/>
                      <a:pt x="673" y="474"/>
                      <a:pt x="676" y="474"/>
                    </a:cubicBezTo>
                    <a:cubicBezTo>
                      <a:pt x="679" y="474"/>
                      <a:pt x="675" y="468"/>
                      <a:pt x="670" y="474"/>
                    </a:cubicBezTo>
                    <a:cubicBezTo>
                      <a:pt x="666" y="479"/>
                      <a:pt x="669" y="471"/>
                      <a:pt x="672" y="465"/>
                    </a:cubicBezTo>
                    <a:cubicBezTo>
                      <a:pt x="672" y="465"/>
                      <a:pt x="676" y="459"/>
                      <a:pt x="678" y="456"/>
                    </a:cubicBezTo>
                    <a:cubicBezTo>
                      <a:pt x="679" y="454"/>
                      <a:pt x="678" y="451"/>
                      <a:pt x="672" y="454"/>
                    </a:cubicBezTo>
                    <a:cubicBezTo>
                      <a:pt x="666" y="457"/>
                      <a:pt x="669" y="460"/>
                      <a:pt x="666" y="462"/>
                    </a:cubicBezTo>
                    <a:cubicBezTo>
                      <a:pt x="663" y="463"/>
                      <a:pt x="660" y="474"/>
                      <a:pt x="655" y="484"/>
                    </a:cubicBezTo>
                    <a:cubicBezTo>
                      <a:pt x="650" y="491"/>
                      <a:pt x="653" y="485"/>
                      <a:pt x="650" y="488"/>
                    </a:cubicBezTo>
                    <a:cubicBezTo>
                      <a:pt x="647" y="491"/>
                      <a:pt x="647" y="491"/>
                      <a:pt x="652" y="491"/>
                    </a:cubicBezTo>
                    <a:cubicBezTo>
                      <a:pt x="657" y="493"/>
                      <a:pt x="644" y="496"/>
                      <a:pt x="647" y="499"/>
                    </a:cubicBezTo>
                    <a:cubicBezTo>
                      <a:pt x="649" y="501"/>
                      <a:pt x="649" y="502"/>
                      <a:pt x="655" y="501"/>
                    </a:cubicBezTo>
                    <a:close/>
                    <a:moveTo>
                      <a:pt x="363" y="485"/>
                    </a:moveTo>
                    <a:cubicBezTo>
                      <a:pt x="364" y="485"/>
                      <a:pt x="363" y="479"/>
                      <a:pt x="364" y="480"/>
                    </a:cubicBezTo>
                    <a:cubicBezTo>
                      <a:pt x="366" y="480"/>
                      <a:pt x="366" y="482"/>
                      <a:pt x="367" y="485"/>
                    </a:cubicBezTo>
                    <a:cubicBezTo>
                      <a:pt x="367" y="490"/>
                      <a:pt x="372" y="487"/>
                      <a:pt x="373" y="490"/>
                    </a:cubicBezTo>
                    <a:cubicBezTo>
                      <a:pt x="375" y="491"/>
                      <a:pt x="375" y="487"/>
                      <a:pt x="381" y="490"/>
                    </a:cubicBezTo>
                    <a:cubicBezTo>
                      <a:pt x="387" y="491"/>
                      <a:pt x="384" y="494"/>
                      <a:pt x="386" y="493"/>
                    </a:cubicBezTo>
                    <a:cubicBezTo>
                      <a:pt x="389" y="491"/>
                      <a:pt x="390" y="498"/>
                      <a:pt x="393" y="494"/>
                    </a:cubicBezTo>
                    <a:cubicBezTo>
                      <a:pt x="399" y="493"/>
                      <a:pt x="396" y="496"/>
                      <a:pt x="401" y="494"/>
                    </a:cubicBezTo>
                    <a:cubicBezTo>
                      <a:pt x="405" y="494"/>
                      <a:pt x="402" y="496"/>
                      <a:pt x="407" y="496"/>
                    </a:cubicBezTo>
                    <a:cubicBezTo>
                      <a:pt x="408" y="496"/>
                      <a:pt x="408" y="496"/>
                      <a:pt x="408" y="496"/>
                    </a:cubicBezTo>
                    <a:cubicBezTo>
                      <a:pt x="410" y="494"/>
                      <a:pt x="410" y="493"/>
                      <a:pt x="410" y="491"/>
                    </a:cubicBezTo>
                    <a:cubicBezTo>
                      <a:pt x="411" y="490"/>
                      <a:pt x="414" y="488"/>
                      <a:pt x="413" y="491"/>
                    </a:cubicBezTo>
                    <a:cubicBezTo>
                      <a:pt x="411" y="493"/>
                      <a:pt x="414" y="491"/>
                      <a:pt x="416" y="488"/>
                    </a:cubicBezTo>
                    <a:cubicBezTo>
                      <a:pt x="416" y="484"/>
                      <a:pt x="418" y="487"/>
                      <a:pt x="416" y="488"/>
                    </a:cubicBezTo>
                    <a:cubicBezTo>
                      <a:pt x="414" y="491"/>
                      <a:pt x="416" y="491"/>
                      <a:pt x="418" y="490"/>
                    </a:cubicBezTo>
                    <a:cubicBezTo>
                      <a:pt x="421" y="488"/>
                      <a:pt x="418" y="485"/>
                      <a:pt x="419" y="485"/>
                    </a:cubicBezTo>
                    <a:cubicBezTo>
                      <a:pt x="421" y="484"/>
                      <a:pt x="424" y="487"/>
                      <a:pt x="427" y="487"/>
                    </a:cubicBezTo>
                    <a:cubicBezTo>
                      <a:pt x="430" y="487"/>
                      <a:pt x="428" y="488"/>
                      <a:pt x="431" y="487"/>
                    </a:cubicBezTo>
                    <a:cubicBezTo>
                      <a:pt x="434" y="487"/>
                      <a:pt x="433" y="494"/>
                      <a:pt x="437" y="496"/>
                    </a:cubicBezTo>
                    <a:cubicBezTo>
                      <a:pt x="440" y="498"/>
                      <a:pt x="446" y="494"/>
                      <a:pt x="443" y="499"/>
                    </a:cubicBezTo>
                    <a:cubicBezTo>
                      <a:pt x="443" y="501"/>
                      <a:pt x="445" y="502"/>
                      <a:pt x="446" y="504"/>
                    </a:cubicBezTo>
                    <a:cubicBezTo>
                      <a:pt x="448" y="505"/>
                      <a:pt x="445" y="507"/>
                      <a:pt x="446" y="508"/>
                    </a:cubicBezTo>
                    <a:cubicBezTo>
                      <a:pt x="448" y="510"/>
                      <a:pt x="446" y="508"/>
                      <a:pt x="448" y="508"/>
                    </a:cubicBezTo>
                    <a:cubicBezTo>
                      <a:pt x="449" y="510"/>
                      <a:pt x="446" y="508"/>
                      <a:pt x="446" y="512"/>
                    </a:cubicBezTo>
                    <a:cubicBezTo>
                      <a:pt x="446" y="515"/>
                      <a:pt x="451" y="512"/>
                      <a:pt x="451" y="515"/>
                    </a:cubicBezTo>
                    <a:cubicBezTo>
                      <a:pt x="451" y="516"/>
                      <a:pt x="453" y="515"/>
                      <a:pt x="456" y="516"/>
                    </a:cubicBezTo>
                    <a:cubicBezTo>
                      <a:pt x="459" y="518"/>
                      <a:pt x="463" y="518"/>
                      <a:pt x="466" y="518"/>
                    </a:cubicBezTo>
                    <a:cubicBezTo>
                      <a:pt x="469" y="518"/>
                      <a:pt x="471" y="518"/>
                      <a:pt x="471" y="519"/>
                    </a:cubicBezTo>
                    <a:cubicBezTo>
                      <a:pt x="471" y="521"/>
                      <a:pt x="472" y="519"/>
                      <a:pt x="475" y="519"/>
                    </a:cubicBezTo>
                    <a:cubicBezTo>
                      <a:pt x="478" y="519"/>
                      <a:pt x="480" y="527"/>
                      <a:pt x="481" y="527"/>
                    </a:cubicBezTo>
                    <a:cubicBezTo>
                      <a:pt x="483" y="526"/>
                      <a:pt x="483" y="526"/>
                      <a:pt x="483" y="529"/>
                    </a:cubicBezTo>
                    <a:cubicBezTo>
                      <a:pt x="483" y="530"/>
                      <a:pt x="486" y="532"/>
                      <a:pt x="486" y="533"/>
                    </a:cubicBezTo>
                    <a:cubicBezTo>
                      <a:pt x="486" y="535"/>
                      <a:pt x="483" y="532"/>
                      <a:pt x="483" y="533"/>
                    </a:cubicBezTo>
                    <a:cubicBezTo>
                      <a:pt x="481" y="533"/>
                      <a:pt x="484" y="536"/>
                      <a:pt x="483" y="536"/>
                    </a:cubicBezTo>
                    <a:cubicBezTo>
                      <a:pt x="481" y="538"/>
                      <a:pt x="478" y="533"/>
                      <a:pt x="477" y="535"/>
                    </a:cubicBezTo>
                    <a:cubicBezTo>
                      <a:pt x="475" y="536"/>
                      <a:pt x="477" y="533"/>
                      <a:pt x="475" y="533"/>
                    </a:cubicBezTo>
                    <a:cubicBezTo>
                      <a:pt x="474" y="533"/>
                      <a:pt x="477" y="532"/>
                      <a:pt x="474" y="532"/>
                    </a:cubicBezTo>
                    <a:cubicBezTo>
                      <a:pt x="472" y="532"/>
                      <a:pt x="474" y="529"/>
                      <a:pt x="472" y="529"/>
                    </a:cubicBezTo>
                    <a:cubicBezTo>
                      <a:pt x="471" y="529"/>
                      <a:pt x="471" y="527"/>
                      <a:pt x="469" y="527"/>
                    </a:cubicBezTo>
                    <a:cubicBezTo>
                      <a:pt x="469" y="529"/>
                      <a:pt x="472" y="530"/>
                      <a:pt x="474" y="533"/>
                    </a:cubicBezTo>
                    <a:cubicBezTo>
                      <a:pt x="474" y="538"/>
                      <a:pt x="469" y="538"/>
                      <a:pt x="469" y="544"/>
                    </a:cubicBezTo>
                    <a:cubicBezTo>
                      <a:pt x="471" y="550"/>
                      <a:pt x="469" y="550"/>
                      <a:pt x="465" y="554"/>
                    </a:cubicBezTo>
                    <a:cubicBezTo>
                      <a:pt x="465" y="555"/>
                      <a:pt x="463" y="555"/>
                      <a:pt x="463" y="557"/>
                    </a:cubicBezTo>
                    <a:cubicBezTo>
                      <a:pt x="463" y="558"/>
                      <a:pt x="463" y="558"/>
                      <a:pt x="463" y="558"/>
                    </a:cubicBezTo>
                    <a:cubicBezTo>
                      <a:pt x="466" y="560"/>
                      <a:pt x="463" y="561"/>
                      <a:pt x="460" y="561"/>
                    </a:cubicBezTo>
                    <a:cubicBezTo>
                      <a:pt x="457" y="561"/>
                      <a:pt x="459" y="564"/>
                      <a:pt x="460" y="564"/>
                    </a:cubicBezTo>
                    <a:cubicBezTo>
                      <a:pt x="463" y="564"/>
                      <a:pt x="463" y="566"/>
                      <a:pt x="463" y="564"/>
                    </a:cubicBezTo>
                    <a:cubicBezTo>
                      <a:pt x="465" y="563"/>
                      <a:pt x="466" y="563"/>
                      <a:pt x="468" y="563"/>
                    </a:cubicBezTo>
                    <a:cubicBezTo>
                      <a:pt x="469" y="561"/>
                      <a:pt x="471" y="557"/>
                      <a:pt x="477" y="558"/>
                    </a:cubicBezTo>
                    <a:cubicBezTo>
                      <a:pt x="484" y="560"/>
                      <a:pt x="480" y="558"/>
                      <a:pt x="480" y="557"/>
                    </a:cubicBezTo>
                    <a:cubicBezTo>
                      <a:pt x="481" y="557"/>
                      <a:pt x="483" y="555"/>
                      <a:pt x="486" y="555"/>
                    </a:cubicBezTo>
                    <a:cubicBezTo>
                      <a:pt x="489" y="555"/>
                      <a:pt x="491" y="555"/>
                      <a:pt x="491" y="555"/>
                    </a:cubicBezTo>
                    <a:cubicBezTo>
                      <a:pt x="491" y="554"/>
                      <a:pt x="492" y="554"/>
                      <a:pt x="492" y="554"/>
                    </a:cubicBezTo>
                    <a:cubicBezTo>
                      <a:pt x="489" y="552"/>
                      <a:pt x="489" y="552"/>
                      <a:pt x="489" y="552"/>
                    </a:cubicBezTo>
                    <a:cubicBezTo>
                      <a:pt x="488" y="552"/>
                      <a:pt x="484" y="552"/>
                      <a:pt x="486" y="549"/>
                    </a:cubicBezTo>
                    <a:cubicBezTo>
                      <a:pt x="488" y="546"/>
                      <a:pt x="489" y="547"/>
                      <a:pt x="489" y="546"/>
                    </a:cubicBezTo>
                    <a:cubicBezTo>
                      <a:pt x="491" y="544"/>
                      <a:pt x="494" y="544"/>
                      <a:pt x="498" y="543"/>
                    </a:cubicBezTo>
                    <a:cubicBezTo>
                      <a:pt x="503" y="541"/>
                      <a:pt x="501" y="541"/>
                      <a:pt x="504" y="543"/>
                    </a:cubicBezTo>
                    <a:cubicBezTo>
                      <a:pt x="509" y="546"/>
                      <a:pt x="507" y="543"/>
                      <a:pt x="509" y="541"/>
                    </a:cubicBezTo>
                    <a:cubicBezTo>
                      <a:pt x="512" y="540"/>
                      <a:pt x="513" y="538"/>
                      <a:pt x="516" y="536"/>
                    </a:cubicBezTo>
                    <a:cubicBezTo>
                      <a:pt x="519" y="533"/>
                      <a:pt x="524" y="530"/>
                      <a:pt x="526" y="530"/>
                    </a:cubicBezTo>
                    <a:cubicBezTo>
                      <a:pt x="526" y="532"/>
                      <a:pt x="527" y="530"/>
                      <a:pt x="529" y="530"/>
                    </a:cubicBezTo>
                    <a:cubicBezTo>
                      <a:pt x="551" y="530"/>
                      <a:pt x="551" y="530"/>
                      <a:pt x="551" y="530"/>
                    </a:cubicBezTo>
                    <a:cubicBezTo>
                      <a:pt x="551" y="527"/>
                      <a:pt x="551" y="527"/>
                      <a:pt x="553" y="527"/>
                    </a:cubicBezTo>
                    <a:cubicBezTo>
                      <a:pt x="555" y="529"/>
                      <a:pt x="555" y="527"/>
                      <a:pt x="555" y="527"/>
                    </a:cubicBezTo>
                    <a:cubicBezTo>
                      <a:pt x="556" y="529"/>
                      <a:pt x="556" y="526"/>
                      <a:pt x="558" y="526"/>
                    </a:cubicBezTo>
                    <a:cubicBezTo>
                      <a:pt x="559" y="526"/>
                      <a:pt x="555" y="526"/>
                      <a:pt x="558" y="524"/>
                    </a:cubicBezTo>
                    <a:cubicBezTo>
                      <a:pt x="561" y="521"/>
                      <a:pt x="558" y="522"/>
                      <a:pt x="561" y="521"/>
                    </a:cubicBezTo>
                    <a:cubicBezTo>
                      <a:pt x="562" y="519"/>
                      <a:pt x="559" y="518"/>
                      <a:pt x="562" y="515"/>
                    </a:cubicBezTo>
                    <a:cubicBezTo>
                      <a:pt x="564" y="513"/>
                      <a:pt x="561" y="513"/>
                      <a:pt x="564" y="510"/>
                    </a:cubicBezTo>
                    <a:cubicBezTo>
                      <a:pt x="565" y="507"/>
                      <a:pt x="568" y="502"/>
                      <a:pt x="568" y="502"/>
                    </a:cubicBezTo>
                    <a:cubicBezTo>
                      <a:pt x="568" y="502"/>
                      <a:pt x="570" y="502"/>
                      <a:pt x="570" y="504"/>
                    </a:cubicBezTo>
                    <a:cubicBezTo>
                      <a:pt x="570" y="505"/>
                      <a:pt x="571" y="505"/>
                      <a:pt x="573" y="505"/>
                    </a:cubicBezTo>
                    <a:cubicBezTo>
                      <a:pt x="574" y="504"/>
                      <a:pt x="576" y="502"/>
                      <a:pt x="577" y="505"/>
                    </a:cubicBezTo>
                    <a:cubicBezTo>
                      <a:pt x="580" y="507"/>
                      <a:pt x="580" y="507"/>
                      <a:pt x="580" y="510"/>
                    </a:cubicBezTo>
                    <a:cubicBezTo>
                      <a:pt x="580" y="512"/>
                      <a:pt x="580" y="519"/>
                      <a:pt x="580" y="521"/>
                    </a:cubicBezTo>
                    <a:cubicBezTo>
                      <a:pt x="580" y="522"/>
                      <a:pt x="579" y="522"/>
                      <a:pt x="580" y="522"/>
                    </a:cubicBezTo>
                    <a:cubicBezTo>
                      <a:pt x="582" y="524"/>
                      <a:pt x="582" y="524"/>
                      <a:pt x="582" y="524"/>
                    </a:cubicBezTo>
                    <a:cubicBezTo>
                      <a:pt x="583" y="524"/>
                      <a:pt x="583" y="524"/>
                      <a:pt x="583" y="526"/>
                    </a:cubicBezTo>
                    <a:cubicBezTo>
                      <a:pt x="583" y="527"/>
                      <a:pt x="583" y="529"/>
                      <a:pt x="585" y="529"/>
                    </a:cubicBezTo>
                    <a:cubicBezTo>
                      <a:pt x="591" y="532"/>
                      <a:pt x="594" y="529"/>
                      <a:pt x="600" y="526"/>
                    </a:cubicBezTo>
                    <a:cubicBezTo>
                      <a:pt x="606" y="522"/>
                      <a:pt x="599" y="527"/>
                      <a:pt x="609" y="526"/>
                    </a:cubicBezTo>
                    <a:cubicBezTo>
                      <a:pt x="617" y="526"/>
                      <a:pt x="608" y="527"/>
                      <a:pt x="602" y="530"/>
                    </a:cubicBezTo>
                    <a:cubicBezTo>
                      <a:pt x="596" y="533"/>
                      <a:pt x="591" y="540"/>
                      <a:pt x="594" y="546"/>
                    </a:cubicBezTo>
                    <a:cubicBezTo>
                      <a:pt x="597" y="552"/>
                      <a:pt x="602" y="547"/>
                      <a:pt x="606" y="540"/>
                    </a:cubicBezTo>
                    <a:cubicBezTo>
                      <a:pt x="612" y="533"/>
                      <a:pt x="612" y="540"/>
                      <a:pt x="620" y="533"/>
                    </a:cubicBezTo>
                    <a:cubicBezTo>
                      <a:pt x="626" y="529"/>
                      <a:pt x="635" y="530"/>
                      <a:pt x="632" y="527"/>
                    </a:cubicBezTo>
                    <a:cubicBezTo>
                      <a:pt x="629" y="524"/>
                      <a:pt x="628" y="521"/>
                      <a:pt x="625" y="522"/>
                    </a:cubicBezTo>
                    <a:cubicBezTo>
                      <a:pt x="622" y="524"/>
                      <a:pt x="611" y="521"/>
                      <a:pt x="611" y="519"/>
                    </a:cubicBezTo>
                    <a:cubicBezTo>
                      <a:pt x="612" y="516"/>
                      <a:pt x="606" y="519"/>
                      <a:pt x="605" y="512"/>
                    </a:cubicBezTo>
                    <a:cubicBezTo>
                      <a:pt x="602" y="502"/>
                      <a:pt x="608" y="496"/>
                      <a:pt x="602" y="498"/>
                    </a:cubicBezTo>
                    <a:cubicBezTo>
                      <a:pt x="593" y="501"/>
                      <a:pt x="599" y="498"/>
                      <a:pt x="605" y="493"/>
                    </a:cubicBezTo>
                    <a:cubicBezTo>
                      <a:pt x="609" y="490"/>
                      <a:pt x="611" y="487"/>
                      <a:pt x="605" y="484"/>
                    </a:cubicBezTo>
                    <a:cubicBezTo>
                      <a:pt x="600" y="479"/>
                      <a:pt x="574" y="487"/>
                      <a:pt x="568" y="494"/>
                    </a:cubicBezTo>
                    <a:cubicBezTo>
                      <a:pt x="561" y="508"/>
                      <a:pt x="551" y="513"/>
                      <a:pt x="556" y="508"/>
                    </a:cubicBezTo>
                    <a:cubicBezTo>
                      <a:pt x="561" y="504"/>
                      <a:pt x="568" y="487"/>
                      <a:pt x="579" y="482"/>
                    </a:cubicBezTo>
                    <a:cubicBezTo>
                      <a:pt x="593" y="477"/>
                      <a:pt x="577" y="473"/>
                      <a:pt x="599" y="470"/>
                    </a:cubicBezTo>
                    <a:cubicBezTo>
                      <a:pt x="626" y="465"/>
                      <a:pt x="631" y="480"/>
                      <a:pt x="649" y="463"/>
                    </a:cubicBezTo>
                    <a:cubicBezTo>
                      <a:pt x="666" y="448"/>
                      <a:pt x="663" y="460"/>
                      <a:pt x="667" y="454"/>
                    </a:cubicBezTo>
                    <a:cubicBezTo>
                      <a:pt x="673" y="448"/>
                      <a:pt x="679" y="449"/>
                      <a:pt x="675" y="442"/>
                    </a:cubicBezTo>
                    <a:cubicBezTo>
                      <a:pt x="672" y="434"/>
                      <a:pt x="678" y="438"/>
                      <a:pt x="675" y="432"/>
                    </a:cubicBezTo>
                    <a:cubicBezTo>
                      <a:pt x="672" y="426"/>
                      <a:pt x="669" y="431"/>
                      <a:pt x="664" y="425"/>
                    </a:cubicBezTo>
                    <a:cubicBezTo>
                      <a:pt x="660" y="418"/>
                      <a:pt x="655" y="423"/>
                      <a:pt x="647" y="429"/>
                    </a:cubicBezTo>
                    <a:cubicBezTo>
                      <a:pt x="638" y="435"/>
                      <a:pt x="637" y="428"/>
                      <a:pt x="644" y="426"/>
                    </a:cubicBezTo>
                    <a:cubicBezTo>
                      <a:pt x="652" y="425"/>
                      <a:pt x="650" y="421"/>
                      <a:pt x="658" y="420"/>
                    </a:cubicBezTo>
                    <a:cubicBezTo>
                      <a:pt x="666" y="418"/>
                      <a:pt x="663" y="415"/>
                      <a:pt x="655" y="414"/>
                    </a:cubicBezTo>
                    <a:cubicBezTo>
                      <a:pt x="647" y="414"/>
                      <a:pt x="653" y="411"/>
                      <a:pt x="644" y="409"/>
                    </a:cubicBezTo>
                    <a:cubicBezTo>
                      <a:pt x="635" y="407"/>
                      <a:pt x="643" y="404"/>
                      <a:pt x="637" y="401"/>
                    </a:cubicBezTo>
                    <a:cubicBezTo>
                      <a:pt x="631" y="398"/>
                      <a:pt x="626" y="395"/>
                      <a:pt x="631" y="389"/>
                    </a:cubicBezTo>
                    <a:cubicBezTo>
                      <a:pt x="634" y="381"/>
                      <a:pt x="622" y="384"/>
                      <a:pt x="626" y="379"/>
                    </a:cubicBezTo>
                    <a:cubicBezTo>
                      <a:pt x="629" y="375"/>
                      <a:pt x="622" y="375"/>
                      <a:pt x="620" y="367"/>
                    </a:cubicBezTo>
                    <a:cubicBezTo>
                      <a:pt x="620" y="361"/>
                      <a:pt x="618" y="365"/>
                      <a:pt x="617" y="361"/>
                    </a:cubicBezTo>
                    <a:cubicBezTo>
                      <a:pt x="615" y="355"/>
                      <a:pt x="614" y="359"/>
                      <a:pt x="609" y="350"/>
                    </a:cubicBezTo>
                    <a:cubicBezTo>
                      <a:pt x="605" y="341"/>
                      <a:pt x="605" y="344"/>
                      <a:pt x="600" y="350"/>
                    </a:cubicBezTo>
                    <a:cubicBezTo>
                      <a:pt x="596" y="355"/>
                      <a:pt x="599" y="365"/>
                      <a:pt x="593" y="364"/>
                    </a:cubicBezTo>
                    <a:cubicBezTo>
                      <a:pt x="585" y="362"/>
                      <a:pt x="593" y="365"/>
                      <a:pt x="585" y="369"/>
                    </a:cubicBezTo>
                    <a:cubicBezTo>
                      <a:pt x="576" y="372"/>
                      <a:pt x="579" y="362"/>
                      <a:pt x="570" y="362"/>
                    </a:cubicBezTo>
                    <a:cubicBezTo>
                      <a:pt x="562" y="362"/>
                      <a:pt x="571" y="359"/>
                      <a:pt x="567" y="358"/>
                    </a:cubicBezTo>
                    <a:cubicBezTo>
                      <a:pt x="562" y="355"/>
                      <a:pt x="568" y="355"/>
                      <a:pt x="565" y="348"/>
                    </a:cubicBezTo>
                    <a:cubicBezTo>
                      <a:pt x="562" y="344"/>
                      <a:pt x="570" y="337"/>
                      <a:pt x="567" y="334"/>
                    </a:cubicBezTo>
                    <a:cubicBezTo>
                      <a:pt x="564" y="331"/>
                      <a:pt x="564" y="339"/>
                      <a:pt x="562" y="336"/>
                    </a:cubicBezTo>
                    <a:cubicBezTo>
                      <a:pt x="561" y="333"/>
                      <a:pt x="550" y="333"/>
                      <a:pt x="550" y="330"/>
                    </a:cubicBezTo>
                    <a:cubicBezTo>
                      <a:pt x="551" y="325"/>
                      <a:pt x="545" y="323"/>
                      <a:pt x="538" y="317"/>
                    </a:cubicBezTo>
                    <a:cubicBezTo>
                      <a:pt x="526" y="309"/>
                      <a:pt x="536" y="327"/>
                      <a:pt x="509" y="314"/>
                    </a:cubicBezTo>
                    <a:cubicBezTo>
                      <a:pt x="497" y="309"/>
                      <a:pt x="497" y="323"/>
                      <a:pt x="500" y="325"/>
                    </a:cubicBezTo>
                    <a:cubicBezTo>
                      <a:pt x="503" y="328"/>
                      <a:pt x="501" y="333"/>
                      <a:pt x="500" y="336"/>
                    </a:cubicBezTo>
                    <a:cubicBezTo>
                      <a:pt x="497" y="339"/>
                      <a:pt x="500" y="337"/>
                      <a:pt x="503" y="345"/>
                    </a:cubicBezTo>
                    <a:cubicBezTo>
                      <a:pt x="506" y="351"/>
                      <a:pt x="503" y="351"/>
                      <a:pt x="501" y="356"/>
                    </a:cubicBezTo>
                    <a:cubicBezTo>
                      <a:pt x="500" y="361"/>
                      <a:pt x="497" y="358"/>
                      <a:pt x="495" y="364"/>
                    </a:cubicBezTo>
                    <a:cubicBezTo>
                      <a:pt x="494" y="370"/>
                      <a:pt x="506" y="367"/>
                      <a:pt x="510" y="384"/>
                    </a:cubicBezTo>
                    <a:cubicBezTo>
                      <a:pt x="515" y="401"/>
                      <a:pt x="500" y="411"/>
                      <a:pt x="491" y="414"/>
                    </a:cubicBezTo>
                    <a:cubicBezTo>
                      <a:pt x="480" y="418"/>
                      <a:pt x="491" y="418"/>
                      <a:pt x="491" y="428"/>
                    </a:cubicBezTo>
                    <a:cubicBezTo>
                      <a:pt x="491" y="435"/>
                      <a:pt x="498" y="446"/>
                      <a:pt x="494" y="448"/>
                    </a:cubicBezTo>
                    <a:cubicBezTo>
                      <a:pt x="489" y="451"/>
                      <a:pt x="497" y="459"/>
                      <a:pt x="491" y="454"/>
                    </a:cubicBezTo>
                    <a:cubicBezTo>
                      <a:pt x="483" y="449"/>
                      <a:pt x="489" y="463"/>
                      <a:pt x="483" y="459"/>
                    </a:cubicBezTo>
                    <a:cubicBezTo>
                      <a:pt x="477" y="454"/>
                      <a:pt x="481" y="452"/>
                      <a:pt x="469" y="442"/>
                    </a:cubicBezTo>
                    <a:cubicBezTo>
                      <a:pt x="462" y="435"/>
                      <a:pt x="468" y="431"/>
                      <a:pt x="465" y="425"/>
                    </a:cubicBezTo>
                    <a:cubicBezTo>
                      <a:pt x="462" y="415"/>
                      <a:pt x="471" y="412"/>
                      <a:pt x="462" y="411"/>
                    </a:cubicBezTo>
                    <a:cubicBezTo>
                      <a:pt x="446" y="406"/>
                      <a:pt x="446" y="411"/>
                      <a:pt x="443" y="409"/>
                    </a:cubicBezTo>
                    <a:cubicBezTo>
                      <a:pt x="439" y="407"/>
                      <a:pt x="442" y="404"/>
                      <a:pt x="428" y="401"/>
                    </a:cubicBezTo>
                    <a:cubicBezTo>
                      <a:pt x="414" y="397"/>
                      <a:pt x="430" y="395"/>
                      <a:pt x="408" y="387"/>
                    </a:cubicBezTo>
                    <a:cubicBezTo>
                      <a:pt x="387" y="378"/>
                      <a:pt x="384" y="395"/>
                      <a:pt x="384" y="384"/>
                    </a:cubicBezTo>
                    <a:cubicBezTo>
                      <a:pt x="384" y="373"/>
                      <a:pt x="381" y="375"/>
                      <a:pt x="379" y="367"/>
                    </a:cubicBezTo>
                    <a:cubicBezTo>
                      <a:pt x="379" y="361"/>
                      <a:pt x="367" y="370"/>
                      <a:pt x="366" y="356"/>
                    </a:cubicBezTo>
                    <a:cubicBezTo>
                      <a:pt x="364" y="341"/>
                      <a:pt x="379" y="319"/>
                      <a:pt x="383" y="320"/>
                    </a:cubicBezTo>
                    <a:cubicBezTo>
                      <a:pt x="386" y="320"/>
                      <a:pt x="383" y="311"/>
                      <a:pt x="390" y="311"/>
                    </a:cubicBezTo>
                    <a:cubicBezTo>
                      <a:pt x="396" y="311"/>
                      <a:pt x="404" y="309"/>
                      <a:pt x="396" y="303"/>
                    </a:cubicBezTo>
                    <a:cubicBezTo>
                      <a:pt x="390" y="297"/>
                      <a:pt x="404" y="303"/>
                      <a:pt x="405" y="295"/>
                    </a:cubicBezTo>
                    <a:cubicBezTo>
                      <a:pt x="407" y="288"/>
                      <a:pt x="413" y="305"/>
                      <a:pt x="421" y="291"/>
                    </a:cubicBezTo>
                    <a:cubicBezTo>
                      <a:pt x="428" y="277"/>
                      <a:pt x="431" y="281"/>
                      <a:pt x="416" y="277"/>
                    </a:cubicBezTo>
                    <a:cubicBezTo>
                      <a:pt x="405" y="275"/>
                      <a:pt x="410" y="272"/>
                      <a:pt x="402" y="269"/>
                    </a:cubicBezTo>
                    <a:cubicBezTo>
                      <a:pt x="411" y="268"/>
                      <a:pt x="421" y="283"/>
                      <a:pt x="430" y="274"/>
                    </a:cubicBezTo>
                    <a:cubicBezTo>
                      <a:pt x="437" y="264"/>
                      <a:pt x="437" y="266"/>
                      <a:pt x="431" y="261"/>
                    </a:cubicBezTo>
                    <a:cubicBezTo>
                      <a:pt x="424" y="258"/>
                      <a:pt x="439" y="258"/>
                      <a:pt x="442" y="261"/>
                    </a:cubicBezTo>
                    <a:cubicBezTo>
                      <a:pt x="445" y="264"/>
                      <a:pt x="448" y="266"/>
                      <a:pt x="449" y="269"/>
                    </a:cubicBezTo>
                    <a:cubicBezTo>
                      <a:pt x="451" y="272"/>
                      <a:pt x="453" y="274"/>
                      <a:pt x="457" y="272"/>
                    </a:cubicBezTo>
                    <a:cubicBezTo>
                      <a:pt x="460" y="271"/>
                      <a:pt x="448" y="268"/>
                      <a:pt x="453" y="264"/>
                    </a:cubicBezTo>
                    <a:cubicBezTo>
                      <a:pt x="457" y="263"/>
                      <a:pt x="459" y="258"/>
                      <a:pt x="462" y="258"/>
                    </a:cubicBezTo>
                    <a:cubicBezTo>
                      <a:pt x="466" y="260"/>
                      <a:pt x="466" y="254"/>
                      <a:pt x="471" y="254"/>
                    </a:cubicBezTo>
                    <a:cubicBezTo>
                      <a:pt x="474" y="254"/>
                      <a:pt x="475" y="247"/>
                      <a:pt x="469" y="243"/>
                    </a:cubicBezTo>
                    <a:cubicBezTo>
                      <a:pt x="463" y="238"/>
                      <a:pt x="471" y="240"/>
                      <a:pt x="466" y="235"/>
                    </a:cubicBezTo>
                    <a:cubicBezTo>
                      <a:pt x="462" y="230"/>
                      <a:pt x="472" y="235"/>
                      <a:pt x="474" y="230"/>
                    </a:cubicBezTo>
                    <a:cubicBezTo>
                      <a:pt x="475" y="224"/>
                      <a:pt x="469" y="229"/>
                      <a:pt x="472" y="224"/>
                    </a:cubicBezTo>
                    <a:cubicBezTo>
                      <a:pt x="475" y="219"/>
                      <a:pt x="466" y="224"/>
                      <a:pt x="465" y="218"/>
                    </a:cubicBezTo>
                    <a:cubicBezTo>
                      <a:pt x="465" y="213"/>
                      <a:pt x="457" y="216"/>
                      <a:pt x="451" y="213"/>
                    </a:cubicBezTo>
                    <a:cubicBezTo>
                      <a:pt x="443" y="210"/>
                      <a:pt x="448" y="213"/>
                      <a:pt x="442" y="213"/>
                    </a:cubicBezTo>
                    <a:cubicBezTo>
                      <a:pt x="436" y="213"/>
                      <a:pt x="439" y="222"/>
                      <a:pt x="442" y="224"/>
                    </a:cubicBezTo>
                    <a:cubicBezTo>
                      <a:pt x="446" y="226"/>
                      <a:pt x="443" y="229"/>
                      <a:pt x="440" y="229"/>
                    </a:cubicBezTo>
                    <a:cubicBezTo>
                      <a:pt x="437" y="227"/>
                      <a:pt x="440" y="236"/>
                      <a:pt x="434" y="241"/>
                    </a:cubicBezTo>
                    <a:cubicBezTo>
                      <a:pt x="430" y="244"/>
                      <a:pt x="434" y="247"/>
                      <a:pt x="428" y="250"/>
                    </a:cubicBezTo>
                    <a:cubicBezTo>
                      <a:pt x="422" y="252"/>
                      <a:pt x="425" y="249"/>
                      <a:pt x="419" y="244"/>
                    </a:cubicBezTo>
                    <a:cubicBezTo>
                      <a:pt x="413" y="238"/>
                      <a:pt x="422" y="240"/>
                      <a:pt x="422" y="235"/>
                    </a:cubicBezTo>
                    <a:cubicBezTo>
                      <a:pt x="422" y="232"/>
                      <a:pt x="414" y="218"/>
                      <a:pt x="408" y="222"/>
                    </a:cubicBezTo>
                    <a:cubicBezTo>
                      <a:pt x="404" y="227"/>
                      <a:pt x="407" y="240"/>
                      <a:pt x="401" y="233"/>
                    </a:cubicBezTo>
                    <a:cubicBezTo>
                      <a:pt x="396" y="229"/>
                      <a:pt x="404" y="230"/>
                      <a:pt x="399" y="224"/>
                    </a:cubicBezTo>
                    <a:cubicBezTo>
                      <a:pt x="393" y="219"/>
                      <a:pt x="405" y="221"/>
                      <a:pt x="399" y="218"/>
                    </a:cubicBezTo>
                    <a:cubicBezTo>
                      <a:pt x="392" y="213"/>
                      <a:pt x="392" y="219"/>
                      <a:pt x="387" y="216"/>
                    </a:cubicBezTo>
                    <a:cubicBezTo>
                      <a:pt x="381" y="213"/>
                      <a:pt x="395" y="208"/>
                      <a:pt x="392" y="207"/>
                    </a:cubicBezTo>
                    <a:cubicBezTo>
                      <a:pt x="389" y="204"/>
                      <a:pt x="381" y="201"/>
                      <a:pt x="381" y="194"/>
                    </a:cubicBezTo>
                    <a:cubicBezTo>
                      <a:pt x="381" y="188"/>
                      <a:pt x="370" y="182"/>
                      <a:pt x="366" y="182"/>
                    </a:cubicBezTo>
                    <a:cubicBezTo>
                      <a:pt x="360" y="180"/>
                      <a:pt x="364" y="185"/>
                      <a:pt x="360" y="185"/>
                    </a:cubicBezTo>
                    <a:cubicBezTo>
                      <a:pt x="354" y="187"/>
                      <a:pt x="360" y="188"/>
                      <a:pt x="354" y="191"/>
                    </a:cubicBezTo>
                    <a:cubicBezTo>
                      <a:pt x="347" y="194"/>
                      <a:pt x="355" y="201"/>
                      <a:pt x="354" y="204"/>
                    </a:cubicBezTo>
                    <a:cubicBezTo>
                      <a:pt x="352" y="208"/>
                      <a:pt x="352" y="212"/>
                      <a:pt x="361" y="215"/>
                    </a:cubicBezTo>
                    <a:cubicBezTo>
                      <a:pt x="370" y="218"/>
                      <a:pt x="373" y="222"/>
                      <a:pt x="369" y="226"/>
                    </a:cubicBezTo>
                    <a:cubicBezTo>
                      <a:pt x="364" y="227"/>
                      <a:pt x="367" y="230"/>
                      <a:pt x="372" y="229"/>
                    </a:cubicBezTo>
                    <a:cubicBezTo>
                      <a:pt x="376" y="226"/>
                      <a:pt x="376" y="230"/>
                      <a:pt x="370" y="236"/>
                    </a:cubicBezTo>
                    <a:cubicBezTo>
                      <a:pt x="363" y="241"/>
                      <a:pt x="363" y="235"/>
                      <a:pt x="361" y="240"/>
                    </a:cubicBezTo>
                    <a:cubicBezTo>
                      <a:pt x="358" y="244"/>
                      <a:pt x="367" y="255"/>
                      <a:pt x="360" y="250"/>
                    </a:cubicBezTo>
                    <a:cubicBezTo>
                      <a:pt x="354" y="246"/>
                      <a:pt x="354" y="246"/>
                      <a:pt x="355" y="241"/>
                    </a:cubicBezTo>
                    <a:cubicBezTo>
                      <a:pt x="357" y="238"/>
                      <a:pt x="357" y="235"/>
                      <a:pt x="352" y="235"/>
                    </a:cubicBezTo>
                    <a:cubicBezTo>
                      <a:pt x="346" y="236"/>
                      <a:pt x="344" y="230"/>
                      <a:pt x="338" y="233"/>
                    </a:cubicBezTo>
                    <a:cubicBezTo>
                      <a:pt x="332" y="236"/>
                      <a:pt x="340" y="241"/>
                      <a:pt x="334" y="243"/>
                    </a:cubicBezTo>
                    <a:cubicBezTo>
                      <a:pt x="329" y="244"/>
                      <a:pt x="331" y="240"/>
                      <a:pt x="319" y="243"/>
                    </a:cubicBezTo>
                    <a:cubicBezTo>
                      <a:pt x="302" y="246"/>
                      <a:pt x="300" y="236"/>
                      <a:pt x="296" y="238"/>
                    </a:cubicBezTo>
                    <a:cubicBezTo>
                      <a:pt x="285" y="243"/>
                      <a:pt x="282" y="226"/>
                      <a:pt x="274" y="227"/>
                    </a:cubicBezTo>
                    <a:cubicBezTo>
                      <a:pt x="268" y="227"/>
                      <a:pt x="253" y="230"/>
                      <a:pt x="256" y="236"/>
                    </a:cubicBezTo>
                    <a:cubicBezTo>
                      <a:pt x="259" y="241"/>
                      <a:pt x="268" y="232"/>
                      <a:pt x="271" y="235"/>
                    </a:cubicBezTo>
                    <a:cubicBezTo>
                      <a:pt x="276" y="236"/>
                      <a:pt x="264" y="236"/>
                      <a:pt x="262" y="241"/>
                    </a:cubicBezTo>
                    <a:cubicBezTo>
                      <a:pt x="261" y="246"/>
                      <a:pt x="273" y="258"/>
                      <a:pt x="261" y="249"/>
                    </a:cubicBezTo>
                    <a:cubicBezTo>
                      <a:pt x="249" y="241"/>
                      <a:pt x="250" y="246"/>
                      <a:pt x="245" y="241"/>
                    </a:cubicBezTo>
                    <a:cubicBezTo>
                      <a:pt x="241" y="235"/>
                      <a:pt x="245" y="243"/>
                      <a:pt x="230" y="243"/>
                    </a:cubicBezTo>
                    <a:cubicBezTo>
                      <a:pt x="217" y="244"/>
                      <a:pt x="198" y="243"/>
                      <a:pt x="204" y="238"/>
                    </a:cubicBezTo>
                    <a:cubicBezTo>
                      <a:pt x="210" y="233"/>
                      <a:pt x="218" y="238"/>
                      <a:pt x="212" y="233"/>
                    </a:cubicBezTo>
                    <a:cubicBezTo>
                      <a:pt x="207" y="229"/>
                      <a:pt x="204" y="224"/>
                      <a:pt x="195" y="226"/>
                    </a:cubicBezTo>
                    <a:cubicBezTo>
                      <a:pt x="186" y="227"/>
                      <a:pt x="177" y="222"/>
                      <a:pt x="169" y="221"/>
                    </a:cubicBezTo>
                    <a:cubicBezTo>
                      <a:pt x="160" y="218"/>
                      <a:pt x="154" y="212"/>
                      <a:pt x="147" y="213"/>
                    </a:cubicBezTo>
                    <a:cubicBezTo>
                      <a:pt x="137" y="213"/>
                      <a:pt x="143" y="221"/>
                      <a:pt x="136" y="219"/>
                    </a:cubicBezTo>
                    <a:cubicBezTo>
                      <a:pt x="128" y="218"/>
                      <a:pt x="137" y="207"/>
                      <a:pt x="127" y="208"/>
                    </a:cubicBezTo>
                    <a:cubicBezTo>
                      <a:pt x="122" y="210"/>
                      <a:pt x="128" y="224"/>
                      <a:pt x="118" y="218"/>
                    </a:cubicBezTo>
                    <a:cubicBezTo>
                      <a:pt x="112" y="215"/>
                      <a:pt x="108" y="198"/>
                      <a:pt x="102" y="202"/>
                    </a:cubicBezTo>
                    <a:cubicBezTo>
                      <a:pt x="95" y="208"/>
                      <a:pt x="112" y="204"/>
                      <a:pt x="99" y="212"/>
                    </a:cubicBezTo>
                    <a:cubicBezTo>
                      <a:pt x="90" y="216"/>
                      <a:pt x="101" y="208"/>
                      <a:pt x="86" y="215"/>
                    </a:cubicBezTo>
                    <a:cubicBezTo>
                      <a:pt x="69" y="221"/>
                      <a:pt x="77" y="216"/>
                      <a:pt x="86" y="212"/>
                    </a:cubicBezTo>
                    <a:cubicBezTo>
                      <a:pt x="95" y="207"/>
                      <a:pt x="93" y="207"/>
                      <a:pt x="89" y="208"/>
                    </a:cubicBezTo>
                    <a:cubicBezTo>
                      <a:pt x="83" y="210"/>
                      <a:pt x="84" y="205"/>
                      <a:pt x="75" y="212"/>
                    </a:cubicBezTo>
                    <a:cubicBezTo>
                      <a:pt x="67" y="216"/>
                      <a:pt x="72" y="210"/>
                      <a:pt x="63" y="218"/>
                    </a:cubicBezTo>
                    <a:cubicBezTo>
                      <a:pt x="54" y="224"/>
                      <a:pt x="49" y="224"/>
                      <a:pt x="52" y="227"/>
                    </a:cubicBezTo>
                    <a:cubicBezTo>
                      <a:pt x="54" y="230"/>
                      <a:pt x="48" y="226"/>
                      <a:pt x="43" y="229"/>
                    </a:cubicBezTo>
                    <a:cubicBezTo>
                      <a:pt x="38" y="230"/>
                      <a:pt x="42" y="226"/>
                      <a:pt x="32" y="226"/>
                    </a:cubicBezTo>
                    <a:cubicBezTo>
                      <a:pt x="22" y="226"/>
                      <a:pt x="14" y="215"/>
                      <a:pt x="0" y="216"/>
                    </a:cubicBezTo>
                    <a:cubicBezTo>
                      <a:pt x="0" y="344"/>
                      <a:pt x="0" y="344"/>
                      <a:pt x="0" y="344"/>
                    </a:cubicBezTo>
                    <a:cubicBezTo>
                      <a:pt x="6" y="347"/>
                      <a:pt x="3" y="342"/>
                      <a:pt x="5" y="344"/>
                    </a:cubicBezTo>
                    <a:cubicBezTo>
                      <a:pt x="8" y="345"/>
                      <a:pt x="8" y="345"/>
                      <a:pt x="10" y="345"/>
                    </a:cubicBezTo>
                    <a:cubicBezTo>
                      <a:pt x="11" y="344"/>
                      <a:pt x="16" y="342"/>
                      <a:pt x="16" y="345"/>
                    </a:cubicBezTo>
                    <a:cubicBezTo>
                      <a:pt x="14" y="347"/>
                      <a:pt x="13" y="347"/>
                      <a:pt x="16" y="348"/>
                    </a:cubicBezTo>
                    <a:cubicBezTo>
                      <a:pt x="20" y="350"/>
                      <a:pt x="16" y="351"/>
                      <a:pt x="23" y="355"/>
                    </a:cubicBezTo>
                    <a:cubicBezTo>
                      <a:pt x="29" y="359"/>
                      <a:pt x="26" y="361"/>
                      <a:pt x="28" y="361"/>
                    </a:cubicBezTo>
                    <a:cubicBezTo>
                      <a:pt x="29" y="362"/>
                      <a:pt x="29" y="359"/>
                      <a:pt x="34" y="359"/>
                    </a:cubicBezTo>
                    <a:cubicBezTo>
                      <a:pt x="38" y="358"/>
                      <a:pt x="34" y="356"/>
                      <a:pt x="37" y="355"/>
                    </a:cubicBezTo>
                    <a:cubicBezTo>
                      <a:pt x="40" y="355"/>
                      <a:pt x="35" y="353"/>
                      <a:pt x="38" y="353"/>
                    </a:cubicBezTo>
                    <a:cubicBezTo>
                      <a:pt x="45" y="350"/>
                      <a:pt x="45" y="350"/>
                      <a:pt x="46" y="353"/>
                    </a:cubicBezTo>
                    <a:cubicBezTo>
                      <a:pt x="49" y="356"/>
                      <a:pt x="46" y="355"/>
                      <a:pt x="48" y="356"/>
                    </a:cubicBezTo>
                    <a:cubicBezTo>
                      <a:pt x="49" y="359"/>
                      <a:pt x="51" y="358"/>
                      <a:pt x="52" y="361"/>
                    </a:cubicBezTo>
                    <a:cubicBezTo>
                      <a:pt x="54" y="365"/>
                      <a:pt x="57" y="362"/>
                      <a:pt x="58" y="367"/>
                    </a:cubicBezTo>
                    <a:cubicBezTo>
                      <a:pt x="61" y="370"/>
                      <a:pt x="67" y="381"/>
                      <a:pt x="69" y="383"/>
                    </a:cubicBezTo>
                    <a:cubicBezTo>
                      <a:pt x="70" y="386"/>
                      <a:pt x="67" y="386"/>
                      <a:pt x="70" y="386"/>
                    </a:cubicBezTo>
                    <a:cubicBezTo>
                      <a:pt x="72" y="386"/>
                      <a:pt x="69" y="389"/>
                      <a:pt x="72" y="389"/>
                    </a:cubicBezTo>
                    <a:cubicBezTo>
                      <a:pt x="73" y="389"/>
                      <a:pt x="70" y="392"/>
                      <a:pt x="73" y="392"/>
                    </a:cubicBezTo>
                    <a:cubicBezTo>
                      <a:pt x="77" y="390"/>
                      <a:pt x="75" y="393"/>
                      <a:pt x="81" y="395"/>
                    </a:cubicBezTo>
                    <a:cubicBezTo>
                      <a:pt x="86" y="397"/>
                      <a:pt x="83" y="398"/>
                      <a:pt x="86" y="398"/>
                    </a:cubicBezTo>
                    <a:cubicBezTo>
                      <a:pt x="87" y="398"/>
                      <a:pt x="87" y="400"/>
                      <a:pt x="87" y="400"/>
                    </a:cubicBezTo>
                    <a:cubicBezTo>
                      <a:pt x="86" y="404"/>
                      <a:pt x="89" y="407"/>
                      <a:pt x="87" y="411"/>
                    </a:cubicBezTo>
                    <a:cubicBezTo>
                      <a:pt x="84" y="412"/>
                      <a:pt x="87" y="414"/>
                      <a:pt x="86" y="415"/>
                    </a:cubicBezTo>
                    <a:cubicBezTo>
                      <a:pt x="81" y="420"/>
                      <a:pt x="84" y="420"/>
                      <a:pt x="86" y="421"/>
                    </a:cubicBezTo>
                    <a:cubicBezTo>
                      <a:pt x="86" y="425"/>
                      <a:pt x="89" y="428"/>
                      <a:pt x="92" y="431"/>
                    </a:cubicBezTo>
                    <a:cubicBezTo>
                      <a:pt x="93" y="434"/>
                      <a:pt x="90" y="426"/>
                      <a:pt x="98" y="426"/>
                    </a:cubicBezTo>
                    <a:cubicBezTo>
                      <a:pt x="102" y="425"/>
                      <a:pt x="93" y="428"/>
                      <a:pt x="96" y="432"/>
                    </a:cubicBezTo>
                    <a:cubicBezTo>
                      <a:pt x="98" y="435"/>
                      <a:pt x="98" y="432"/>
                      <a:pt x="98" y="437"/>
                    </a:cubicBezTo>
                    <a:cubicBezTo>
                      <a:pt x="99" y="442"/>
                      <a:pt x="104" y="434"/>
                      <a:pt x="101" y="440"/>
                    </a:cubicBezTo>
                    <a:cubicBezTo>
                      <a:pt x="99" y="446"/>
                      <a:pt x="99" y="448"/>
                      <a:pt x="101" y="446"/>
                    </a:cubicBezTo>
                    <a:cubicBezTo>
                      <a:pt x="101" y="446"/>
                      <a:pt x="99" y="449"/>
                      <a:pt x="102" y="451"/>
                    </a:cubicBezTo>
                    <a:cubicBezTo>
                      <a:pt x="104" y="451"/>
                      <a:pt x="102" y="446"/>
                      <a:pt x="105" y="445"/>
                    </a:cubicBezTo>
                    <a:cubicBezTo>
                      <a:pt x="107" y="445"/>
                      <a:pt x="108" y="442"/>
                      <a:pt x="108" y="443"/>
                    </a:cubicBezTo>
                    <a:cubicBezTo>
                      <a:pt x="110" y="445"/>
                      <a:pt x="113" y="443"/>
                      <a:pt x="113" y="445"/>
                    </a:cubicBezTo>
                    <a:cubicBezTo>
                      <a:pt x="112" y="448"/>
                      <a:pt x="112" y="443"/>
                      <a:pt x="107" y="446"/>
                    </a:cubicBezTo>
                    <a:cubicBezTo>
                      <a:pt x="102" y="449"/>
                      <a:pt x="104" y="449"/>
                      <a:pt x="104" y="452"/>
                    </a:cubicBezTo>
                    <a:cubicBezTo>
                      <a:pt x="104" y="456"/>
                      <a:pt x="107" y="454"/>
                      <a:pt x="105" y="456"/>
                    </a:cubicBezTo>
                    <a:cubicBezTo>
                      <a:pt x="104" y="457"/>
                      <a:pt x="107" y="457"/>
                      <a:pt x="105" y="457"/>
                    </a:cubicBezTo>
                    <a:cubicBezTo>
                      <a:pt x="102" y="459"/>
                      <a:pt x="105" y="460"/>
                      <a:pt x="108" y="462"/>
                    </a:cubicBezTo>
                    <a:cubicBezTo>
                      <a:pt x="112" y="463"/>
                      <a:pt x="112" y="460"/>
                      <a:pt x="115" y="462"/>
                    </a:cubicBezTo>
                    <a:cubicBezTo>
                      <a:pt x="118" y="462"/>
                      <a:pt x="113" y="463"/>
                      <a:pt x="116" y="463"/>
                    </a:cubicBezTo>
                    <a:cubicBezTo>
                      <a:pt x="121" y="462"/>
                      <a:pt x="115" y="468"/>
                      <a:pt x="119" y="466"/>
                    </a:cubicBezTo>
                    <a:cubicBezTo>
                      <a:pt x="121" y="466"/>
                      <a:pt x="119" y="468"/>
                      <a:pt x="122" y="466"/>
                    </a:cubicBezTo>
                    <a:cubicBezTo>
                      <a:pt x="125" y="466"/>
                      <a:pt x="127" y="470"/>
                      <a:pt x="128" y="468"/>
                    </a:cubicBezTo>
                    <a:cubicBezTo>
                      <a:pt x="130" y="466"/>
                      <a:pt x="131" y="471"/>
                      <a:pt x="128" y="471"/>
                    </a:cubicBezTo>
                    <a:cubicBezTo>
                      <a:pt x="127" y="473"/>
                      <a:pt x="131" y="476"/>
                      <a:pt x="133" y="476"/>
                    </a:cubicBezTo>
                    <a:cubicBezTo>
                      <a:pt x="136" y="474"/>
                      <a:pt x="136" y="471"/>
                      <a:pt x="136" y="474"/>
                    </a:cubicBezTo>
                    <a:cubicBezTo>
                      <a:pt x="136" y="477"/>
                      <a:pt x="137" y="476"/>
                      <a:pt x="137" y="477"/>
                    </a:cubicBezTo>
                    <a:cubicBezTo>
                      <a:pt x="136" y="479"/>
                      <a:pt x="136" y="474"/>
                      <a:pt x="134" y="476"/>
                    </a:cubicBezTo>
                    <a:cubicBezTo>
                      <a:pt x="133" y="477"/>
                      <a:pt x="139" y="480"/>
                      <a:pt x="139" y="479"/>
                    </a:cubicBezTo>
                    <a:cubicBezTo>
                      <a:pt x="139" y="477"/>
                      <a:pt x="140" y="476"/>
                      <a:pt x="140" y="479"/>
                    </a:cubicBezTo>
                    <a:cubicBezTo>
                      <a:pt x="140" y="480"/>
                      <a:pt x="142" y="482"/>
                      <a:pt x="142" y="484"/>
                    </a:cubicBezTo>
                    <a:cubicBezTo>
                      <a:pt x="140" y="485"/>
                      <a:pt x="142" y="485"/>
                      <a:pt x="143" y="484"/>
                    </a:cubicBezTo>
                    <a:cubicBezTo>
                      <a:pt x="143" y="482"/>
                      <a:pt x="143" y="484"/>
                      <a:pt x="143" y="485"/>
                    </a:cubicBezTo>
                    <a:cubicBezTo>
                      <a:pt x="363" y="485"/>
                      <a:pt x="363" y="485"/>
                      <a:pt x="363" y="485"/>
                    </a:cubicBezTo>
                    <a:close/>
                    <a:moveTo>
                      <a:pt x="484" y="328"/>
                    </a:moveTo>
                    <a:cubicBezTo>
                      <a:pt x="488" y="327"/>
                      <a:pt x="491" y="316"/>
                      <a:pt x="484" y="317"/>
                    </a:cubicBezTo>
                    <a:cubicBezTo>
                      <a:pt x="478" y="319"/>
                      <a:pt x="483" y="328"/>
                      <a:pt x="484" y="328"/>
                    </a:cubicBezTo>
                    <a:close/>
                    <a:moveTo>
                      <a:pt x="600" y="325"/>
                    </a:moveTo>
                    <a:cubicBezTo>
                      <a:pt x="603" y="325"/>
                      <a:pt x="606" y="327"/>
                      <a:pt x="605" y="330"/>
                    </a:cubicBezTo>
                    <a:cubicBezTo>
                      <a:pt x="603" y="333"/>
                      <a:pt x="596" y="327"/>
                      <a:pt x="600" y="325"/>
                    </a:cubicBezTo>
                    <a:close/>
                    <a:moveTo>
                      <a:pt x="431" y="235"/>
                    </a:moveTo>
                    <a:cubicBezTo>
                      <a:pt x="431" y="233"/>
                      <a:pt x="425" y="236"/>
                      <a:pt x="428" y="241"/>
                    </a:cubicBezTo>
                    <a:cubicBezTo>
                      <a:pt x="433" y="247"/>
                      <a:pt x="433" y="236"/>
                      <a:pt x="431" y="235"/>
                    </a:cubicBezTo>
                    <a:close/>
                    <a:moveTo>
                      <a:pt x="372" y="96"/>
                    </a:moveTo>
                    <a:cubicBezTo>
                      <a:pt x="383" y="96"/>
                      <a:pt x="379" y="92"/>
                      <a:pt x="370" y="92"/>
                    </a:cubicBezTo>
                    <a:cubicBezTo>
                      <a:pt x="360" y="90"/>
                      <a:pt x="354" y="92"/>
                      <a:pt x="354" y="95"/>
                    </a:cubicBezTo>
                    <a:cubicBezTo>
                      <a:pt x="354" y="98"/>
                      <a:pt x="361" y="96"/>
                      <a:pt x="372" y="96"/>
                    </a:cubicBezTo>
                    <a:close/>
                    <a:moveTo>
                      <a:pt x="296" y="132"/>
                    </a:moveTo>
                    <a:cubicBezTo>
                      <a:pt x="294" y="129"/>
                      <a:pt x="287" y="126"/>
                      <a:pt x="287" y="132"/>
                    </a:cubicBezTo>
                    <a:cubicBezTo>
                      <a:pt x="287" y="137"/>
                      <a:pt x="297" y="135"/>
                      <a:pt x="296" y="132"/>
                    </a:cubicBezTo>
                    <a:close/>
                    <a:moveTo>
                      <a:pt x="183" y="120"/>
                    </a:moveTo>
                    <a:cubicBezTo>
                      <a:pt x="177" y="121"/>
                      <a:pt x="166" y="126"/>
                      <a:pt x="175" y="128"/>
                    </a:cubicBezTo>
                    <a:cubicBezTo>
                      <a:pt x="182" y="128"/>
                      <a:pt x="188" y="117"/>
                      <a:pt x="183" y="120"/>
                    </a:cubicBezTo>
                    <a:close/>
                    <a:moveTo>
                      <a:pt x="207" y="107"/>
                    </a:moveTo>
                    <a:cubicBezTo>
                      <a:pt x="209" y="104"/>
                      <a:pt x="221" y="106"/>
                      <a:pt x="218" y="107"/>
                    </a:cubicBezTo>
                    <a:cubicBezTo>
                      <a:pt x="215" y="109"/>
                      <a:pt x="206" y="109"/>
                      <a:pt x="207" y="107"/>
                    </a:cubicBezTo>
                    <a:close/>
                    <a:moveTo>
                      <a:pt x="213" y="89"/>
                    </a:moveTo>
                    <a:cubicBezTo>
                      <a:pt x="210" y="86"/>
                      <a:pt x="207" y="87"/>
                      <a:pt x="206" y="89"/>
                    </a:cubicBezTo>
                    <a:cubicBezTo>
                      <a:pt x="204" y="89"/>
                      <a:pt x="209" y="92"/>
                      <a:pt x="215" y="92"/>
                    </a:cubicBezTo>
                    <a:cubicBezTo>
                      <a:pt x="218" y="92"/>
                      <a:pt x="218" y="92"/>
                      <a:pt x="213" y="89"/>
                    </a:cubicBezTo>
                    <a:close/>
                    <a:moveTo>
                      <a:pt x="290" y="114"/>
                    </a:moveTo>
                    <a:cubicBezTo>
                      <a:pt x="293" y="117"/>
                      <a:pt x="306" y="112"/>
                      <a:pt x="300" y="112"/>
                    </a:cubicBezTo>
                    <a:cubicBezTo>
                      <a:pt x="294" y="111"/>
                      <a:pt x="296" y="106"/>
                      <a:pt x="290" y="109"/>
                    </a:cubicBezTo>
                    <a:cubicBezTo>
                      <a:pt x="288" y="111"/>
                      <a:pt x="287" y="111"/>
                      <a:pt x="290" y="114"/>
                    </a:cubicBezTo>
                    <a:close/>
                    <a:moveTo>
                      <a:pt x="290" y="118"/>
                    </a:moveTo>
                    <a:cubicBezTo>
                      <a:pt x="288" y="117"/>
                      <a:pt x="302" y="114"/>
                      <a:pt x="305" y="115"/>
                    </a:cubicBezTo>
                    <a:cubicBezTo>
                      <a:pt x="306" y="117"/>
                      <a:pt x="293" y="120"/>
                      <a:pt x="290" y="118"/>
                    </a:cubicBezTo>
                    <a:close/>
                    <a:moveTo>
                      <a:pt x="296" y="121"/>
                    </a:moveTo>
                    <a:cubicBezTo>
                      <a:pt x="293" y="120"/>
                      <a:pt x="303" y="118"/>
                      <a:pt x="305" y="118"/>
                    </a:cubicBezTo>
                    <a:cubicBezTo>
                      <a:pt x="308" y="120"/>
                      <a:pt x="297" y="123"/>
                      <a:pt x="296" y="121"/>
                    </a:cubicBezTo>
                    <a:close/>
                    <a:moveTo>
                      <a:pt x="299" y="125"/>
                    </a:moveTo>
                    <a:cubicBezTo>
                      <a:pt x="297" y="123"/>
                      <a:pt x="306" y="120"/>
                      <a:pt x="308" y="120"/>
                    </a:cubicBezTo>
                    <a:cubicBezTo>
                      <a:pt x="309" y="120"/>
                      <a:pt x="302" y="125"/>
                      <a:pt x="299" y="125"/>
                    </a:cubicBezTo>
                    <a:close/>
                    <a:moveTo>
                      <a:pt x="433" y="73"/>
                    </a:moveTo>
                    <a:cubicBezTo>
                      <a:pt x="436" y="70"/>
                      <a:pt x="443" y="68"/>
                      <a:pt x="443" y="72"/>
                    </a:cubicBezTo>
                    <a:cubicBezTo>
                      <a:pt x="442" y="73"/>
                      <a:pt x="430" y="75"/>
                      <a:pt x="433" y="73"/>
                    </a:cubicBezTo>
                    <a:close/>
                    <a:moveTo>
                      <a:pt x="471" y="437"/>
                    </a:moveTo>
                    <a:cubicBezTo>
                      <a:pt x="474" y="438"/>
                      <a:pt x="477" y="440"/>
                      <a:pt x="478" y="440"/>
                    </a:cubicBezTo>
                    <a:cubicBezTo>
                      <a:pt x="480" y="438"/>
                      <a:pt x="475" y="435"/>
                      <a:pt x="475" y="434"/>
                    </a:cubicBezTo>
                    <a:cubicBezTo>
                      <a:pt x="474" y="432"/>
                      <a:pt x="469" y="432"/>
                      <a:pt x="468" y="435"/>
                    </a:cubicBezTo>
                    <a:cubicBezTo>
                      <a:pt x="466" y="435"/>
                      <a:pt x="468" y="435"/>
                      <a:pt x="471" y="437"/>
                    </a:cubicBezTo>
                    <a:close/>
                    <a:moveTo>
                      <a:pt x="486" y="400"/>
                    </a:moveTo>
                    <a:cubicBezTo>
                      <a:pt x="486" y="398"/>
                      <a:pt x="488" y="397"/>
                      <a:pt x="486" y="400"/>
                    </a:cubicBezTo>
                    <a:cubicBezTo>
                      <a:pt x="484" y="403"/>
                      <a:pt x="484" y="401"/>
                      <a:pt x="486" y="401"/>
                    </a:cubicBezTo>
                    <a:cubicBezTo>
                      <a:pt x="488" y="401"/>
                      <a:pt x="489" y="397"/>
                      <a:pt x="489" y="397"/>
                    </a:cubicBezTo>
                    <a:cubicBezTo>
                      <a:pt x="491" y="397"/>
                      <a:pt x="488" y="401"/>
                      <a:pt x="489" y="401"/>
                    </a:cubicBezTo>
                    <a:cubicBezTo>
                      <a:pt x="491" y="401"/>
                      <a:pt x="491" y="400"/>
                      <a:pt x="491" y="397"/>
                    </a:cubicBezTo>
                    <a:cubicBezTo>
                      <a:pt x="492" y="393"/>
                      <a:pt x="492" y="395"/>
                      <a:pt x="491" y="393"/>
                    </a:cubicBezTo>
                    <a:cubicBezTo>
                      <a:pt x="489" y="392"/>
                      <a:pt x="489" y="392"/>
                      <a:pt x="489" y="393"/>
                    </a:cubicBezTo>
                    <a:cubicBezTo>
                      <a:pt x="488" y="395"/>
                      <a:pt x="488" y="397"/>
                      <a:pt x="488" y="395"/>
                    </a:cubicBezTo>
                    <a:cubicBezTo>
                      <a:pt x="488" y="393"/>
                      <a:pt x="488" y="392"/>
                      <a:pt x="488" y="393"/>
                    </a:cubicBezTo>
                    <a:cubicBezTo>
                      <a:pt x="486" y="393"/>
                      <a:pt x="488" y="393"/>
                      <a:pt x="488" y="395"/>
                    </a:cubicBezTo>
                    <a:cubicBezTo>
                      <a:pt x="486" y="397"/>
                      <a:pt x="486" y="397"/>
                      <a:pt x="484" y="398"/>
                    </a:cubicBezTo>
                    <a:cubicBezTo>
                      <a:pt x="483" y="400"/>
                      <a:pt x="483" y="400"/>
                      <a:pt x="483" y="401"/>
                    </a:cubicBezTo>
                    <a:cubicBezTo>
                      <a:pt x="484" y="403"/>
                      <a:pt x="484" y="401"/>
                      <a:pt x="486" y="400"/>
                    </a:cubicBezTo>
                    <a:close/>
                    <a:moveTo>
                      <a:pt x="494" y="398"/>
                    </a:moveTo>
                    <a:cubicBezTo>
                      <a:pt x="494" y="397"/>
                      <a:pt x="494" y="393"/>
                      <a:pt x="494" y="393"/>
                    </a:cubicBezTo>
                    <a:cubicBezTo>
                      <a:pt x="492" y="393"/>
                      <a:pt x="492" y="395"/>
                      <a:pt x="492" y="398"/>
                    </a:cubicBezTo>
                    <a:cubicBezTo>
                      <a:pt x="491" y="398"/>
                      <a:pt x="492" y="398"/>
                      <a:pt x="494" y="398"/>
                    </a:cubicBezTo>
                    <a:close/>
                    <a:moveTo>
                      <a:pt x="484" y="397"/>
                    </a:moveTo>
                    <a:cubicBezTo>
                      <a:pt x="486" y="395"/>
                      <a:pt x="486" y="393"/>
                      <a:pt x="486" y="393"/>
                    </a:cubicBezTo>
                    <a:cubicBezTo>
                      <a:pt x="484" y="395"/>
                      <a:pt x="483" y="395"/>
                      <a:pt x="483" y="397"/>
                    </a:cubicBezTo>
                    <a:cubicBezTo>
                      <a:pt x="481" y="398"/>
                      <a:pt x="483" y="398"/>
                      <a:pt x="484" y="397"/>
                    </a:cubicBezTo>
                    <a:close/>
                    <a:moveTo>
                      <a:pt x="577" y="345"/>
                    </a:moveTo>
                    <a:cubicBezTo>
                      <a:pt x="574" y="345"/>
                      <a:pt x="577" y="339"/>
                      <a:pt x="579" y="341"/>
                    </a:cubicBezTo>
                    <a:cubicBezTo>
                      <a:pt x="582" y="342"/>
                      <a:pt x="579" y="345"/>
                      <a:pt x="577" y="345"/>
                    </a:cubicBezTo>
                    <a:close/>
                  </a:path>
                </a:pathLst>
              </a:custGeom>
              <a:solidFill>
                <a:srgbClr val="00567C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75" name="Freeform 270"/>
              <p:cNvSpPr>
                <a:spLocks/>
              </p:cNvSpPr>
              <p:nvPr>
                <p:custDataLst>
                  <p:tags r:id="rId295"/>
                </p:custDataLst>
              </p:nvPr>
            </p:nvSpPr>
            <p:spPr bwMode="auto">
              <a:xfrm>
                <a:off x="3893194" y="2887179"/>
                <a:ext cx="17545" cy="818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6" y="2"/>
                  </a:cxn>
                  <a:cxn ang="0">
                    <a:pos x="0" y="2"/>
                  </a:cxn>
                </a:cxnLst>
                <a:rect l="0" t="0" r="r" b="b"/>
                <a:pathLst>
                  <a:path w="8" h="4">
                    <a:moveTo>
                      <a:pt x="0" y="2"/>
                    </a:moveTo>
                    <a:cubicBezTo>
                      <a:pt x="2" y="0"/>
                      <a:pt x="8" y="2"/>
                      <a:pt x="6" y="2"/>
                    </a:cubicBezTo>
                    <a:cubicBezTo>
                      <a:pt x="5" y="4"/>
                      <a:pt x="0" y="4"/>
                      <a:pt x="0" y="2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76" name="Freeform 271"/>
              <p:cNvSpPr>
                <a:spLocks/>
              </p:cNvSpPr>
              <p:nvPr>
                <p:custDataLst>
                  <p:tags r:id="rId296"/>
                </p:custDataLst>
              </p:nvPr>
            </p:nvSpPr>
            <p:spPr bwMode="auto">
              <a:xfrm>
                <a:off x="3866291" y="2866126"/>
                <a:ext cx="10527" cy="701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" y="2"/>
                  </a:cxn>
                  <a:cxn ang="0">
                    <a:pos x="0" y="2"/>
                  </a:cxn>
                </a:cxnLst>
                <a:rect l="0" t="0" r="r" b="b"/>
                <a:pathLst>
                  <a:path w="5" h="3">
                    <a:moveTo>
                      <a:pt x="0" y="2"/>
                    </a:moveTo>
                    <a:cubicBezTo>
                      <a:pt x="0" y="0"/>
                      <a:pt x="5" y="0"/>
                      <a:pt x="3" y="2"/>
                    </a:cubicBezTo>
                    <a:cubicBezTo>
                      <a:pt x="3" y="3"/>
                      <a:pt x="0" y="2"/>
                      <a:pt x="0" y="2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77" name="Freeform 272"/>
              <p:cNvSpPr>
                <a:spLocks/>
              </p:cNvSpPr>
              <p:nvPr>
                <p:custDataLst>
                  <p:tags r:id="rId297"/>
                </p:custDataLst>
              </p:nvPr>
            </p:nvSpPr>
            <p:spPr bwMode="auto">
              <a:xfrm>
                <a:off x="3845237" y="2868465"/>
                <a:ext cx="14036" cy="9357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4" y="4"/>
                  </a:cxn>
                  <a:cxn ang="0">
                    <a:pos x="0" y="2"/>
                  </a:cxn>
                </a:cxnLst>
                <a:rect l="0" t="0" r="r" b="b"/>
                <a:pathLst>
                  <a:path w="6" h="4">
                    <a:moveTo>
                      <a:pt x="0" y="2"/>
                    </a:moveTo>
                    <a:cubicBezTo>
                      <a:pt x="1" y="0"/>
                      <a:pt x="6" y="4"/>
                      <a:pt x="4" y="4"/>
                    </a:cubicBezTo>
                    <a:cubicBezTo>
                      <a:pt x="1" y="4"/>
                      <a:pt x="0" y="4"/>
                      <a:pt x="0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78" name="Freeform 273"/>
              <p:cNvSpPr>
                <a:spLocks/>
              </p:cNvSpPr>
              <p:nvPr>
                <p:custDataLst>
                  <p:tags r:id="rId298"/>
                </p:custDataLst>
              </p:nvPr>
            </p:nvSpPr>
            <p:spPr bwMode="auto">
              <a:xfrm>
                <a:off x="4049928" y="3011161"/>
                <a:ext cx="12866" cy="7018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0" y="0"/>
                  </a:cxn>
                  <a:cxn ang="0">
                    <a:pos x="3" y="1"/>
                  </a:cxn>
                  <a:cxn ang="0">
                    <a:pos x="4" y="1"/>
                  </a:cxn>
                  <a:cxn ang="0">
                    <a:pos x="3" y="3"/>
                  </a:cxn>
                </a:cxnLst>
                <a:rect l="0" t="0" r="r" b="b"/>
                <a:pathLst>
                  <a:path w="6" h="3">
                    <a:moveTo>
                      <a:pt x="3" y="3"/>
                    </a:moveTo>
                    <a:cubicBezTo>
                      <a:pt x="0" y="1"/>
                      <a:pt x="0" y="1"/>
                      <a:pt x="0" y="0"/>
                    </a:cubicBezTo>
                    <a:cubicBezTo>
                      <a:pt x="1" y="0"/>
                      <a:pt x="1" y="1"/>
                      <a:pt x="3" y="1"/>
                    </a:cubicBezTo>
                    <a:cubicBezTo>
                      <a:pt x="3" y="1"/>
                      <a:pt x="6" y="1"/>
                      <a:pt x="4" y="1"/>
                    </a:cubicBezTo>
                    <a:cubicBezTo>
                      <a:pt x="3" y="3"/>
                      <a:pt x="3" y="3"/>
                      <a:pt x="3" y="3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79" name="Freeform 274"/>
              <p:cNvSpPr>
                <a:spLocks/>
              </p:cNvSpPr>
              <p:nvPr>
                <p:custDataLst>
                  <p:tags r:id="rId299"/>
                </p:custDataLst>
              </p:nvPr>
            </p:nvSpPr>
            <p:spPr bwMode="auto">
              <a:xfrm>
                <a:off x="5136541" y="4012371"/>
                <a:ext cx="9358" cy="15205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2" y="7"/>
                  </a:cxn>
                  <a:cxn ang="0">
                    <a:pos x="2" y="2"/>
                  </a:cxn>
                </a:cxnLst>
                <a:rect l="0" t="0" r="r" b="b"/>
                <a:pathLst>
                  <a:path w="4" h="7">
                    <a:moveTo>
                      <a:pt x="2" y="2"/>
                    </a:moveTo>
                    <a:cubicBezTo>
                      <a:pt x="2" y="0"/>
                      <a:pt x="4" y="7"/>
                      <a:pt x="2" y="7"/>
                    </a:cubicBezTo>
                    <a:cubicBezTo>
                      <a:pt x="0" y="7"/>
                      <a:pt x="0" y="2"/>
                      <a:pt x="2" y="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80" name="Freeform 275"/>
              <p:cNvSpPr>
                <a:spLocks/>
              </p:cNvSpPr>
              <p:nvPr>
                <p:custDataLst>
                  <p:tags r:id="rId300"/>
                </p:custDataLst>
              </p:nvPr>
            </p:nvSpPr>
            <p:spPr bwMode="auto">
              <a:xfrm>
                <a:off x="5168122" y="4041612"/>
                <a:ext cx="7018" cy="11696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2" y="2"/>
                  </a:cxn>
                  <a:cxn ang="0">
                    <a:pos x="2" y="3"/>
                  </a:cxn>
                </a:cxnLst>
                <a:rect l="0" t="0" r="r" b="b"/>
                <a:pathLst>
                  <a:path w="3" h="5">
                    <a:moveTo>
                      <a:pt x="2" y="3"/>
                    </a:moveTo>
                    <a:cubicBezTo>
                      <a:pt x="0" y="2"/>
                      <a:pt x="0" y="0"/>
                      <a:pt x="2" y="2"/>
                    </a:cubicBezTo>
                    <a:cubicBezTo>
                      <a:pt x="3" y="2"/>
                      <a:pt x="3" y="5"/>
                      <a:pt x="2" y="3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81" name="Freeform 276"/>
              <p:cNvSpPr>
                <a:spLocks/>
              </p:cNvSpPr>
              <p:nvPr>
                <p:custDataLst>
                  <p:tags r:id="rId301"/>
                </p:custDataLst>
              </p:nvPr>
            </p:nvSpPr>
            <p:spPr bwMode="auto">
              <a:xfrm>
                <a:off x="5154086" y="4029915"/>
                <a:ext cx="7018" cy="7018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3" y="3"/>
                  </a:cxn>
                  <a:cxn ang="0">
                    <a:pos x="2" y="0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cubicBezTo>
                      <a:pt x="0" y="2"/>
                      <a:pt x="3" y="3"/>
                      <a:pt x="3" y="3"/>
                    </a:cubicBezTo>
                    <a:cubicBezTo>
                      <a:pt x="3" y="2"/>
                      <a:pt x="3" y="0"/>
                      <a:pt x="2" y="0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82" name="Freeform 277"/>
              <p:cNvSpPr>
                <a:spLocks/>
              </p:cNvSpPr>
              <p:nvPr>
                <p:custDataLst>
                  <p:tags r:id="rId302"/>
                </p:custDataLst>
              </p:nvPr>
            </p:nvSpPr>
            <p:spPr bwMode="auto">
              <a:xfrm>
                <a:off x="4888573" y="3783121"/>
                <a:ext cx="200012" cy="244454"/>
              </a:xfrm>
              <a:custGeom>
                <a:avLst/>
                <a:gdLst/>
                <a:ahLst/>
                <a:cxnLst>
                  <a:cxn ang="0">
                    <a:pos x="2" y="35"/>
                  </a:cxn>
                  <a:cxn ang="0">
                    <a:pos x="11" y="24"/>
                  </a:cxn>
                  <a:cxn ang="0">
                    <a:pos x="9" y="17"/>
                  </a:cxn>
                  <a:cxn ang="0">
                    <a:pos x="11" y="14"/>
                  </a:cxn>
                  <a:cxn ang="0">
                    <a:pos x="12" y="8"/>
                  </a:cxn>
                  <a:cxn ang="0">
                    <a:pos x="9" y="0"/>
                  </a:cxn>
                  <a:cxn ang="0">
                    <a:pos x="37" y="0"/>
                  </a:cxn>
                  <a:cxn ang="0">
                    <a:pos x="64" y="19"/>
                  </a:cxn>
                  <a:cxn ang="0">
                    <a:pos x="67" y="27"/>
                  </a:cxn>
                  <a:cxn ang="0">
                    <a:pos x="79" y="36"/>
                  </a:cxn>
                  <a:cxn ang="0">
                    <a:pos x="76" y="44"/>
                  </a:cxn>
                  <a:cxn ang="0">
                    <a:pos x="81" y="58"/>
                  </a:cxn>
                  <a:cxn ang="0">
                    <a:pos x="81" y="66"/>
                  </a:cxn>
                  <a:cxn ang="0">
                    <a:pos x="81" y="77"/>
                  </a:cxn>
                  <a:cxn ang="0">
                    <a:pos x="82" y="89"/>
                  </a:cxn>
                  <a:cxn ang="0">
                    <a:pos x="88" y="94"/>
                  </a:cxn>
                  <a:cxn ang="0">
                    <a:pos x="76" y="102"/>
                  </a:cxn>
                  <a:cxn ang="0">
                    <a:pos x="69" y="102"/>
                  </a:cxn>
                  <a:cxn ang="0">
                    <a:pos x="61" y="105"/>
                  </a:cxn>
                  <a:cxn ang="0">
                    <a:pos x="53" y="105"/>
                  </a:cxn>
                  <a:cxn ang="0">
                    <a:pos x="43" y="103"/>
                  </a:cxn>
                  <a:cxn ang="0">
                    <a:pos x="41" y="94"/>
                  </a:cxn>
                  <a:cxn ang="0">
                    <a:pos x="37" y="84"/>
                  </a:cxn>
                  <a:cxn ang="0">
                    <a:pos x="29" y="83"/>
                  </a:cxn>
                  <a:cxn ang="0">
                    <a:pos x="21" y="78"/>
                  </a:cxn>
                  <a:cxn ang="0">
                    <a:pos x="18" y="77"/>
                  </a:cxn>
                  <a:cxn ang="0">
                    <a:pos x="12" y="70"/>
                  </a:cxn>
                  <a:cxn ang="0">
                    <a:pos x="9" y="63"/>
                  </a:cxn>
                  <a:cxn ang="0">
                    <a:pos x="2" y="49"/>
                  </a:cxn>
                  <a:cxn ang="0">
                    <a:pos x="2" y="35"/>
                  </a:cxn>
                </a:cxnLst>
                <a:rect l="0" t="0" r="r" b="b"/>
                <a:pathLst>
                  <a:path w="88" h="108">
                    <a:moveTo>
                      <a:pt x="2" y="35"/>
                    </a:moveTo>
                    <a:cubicBezTo>
                      <a:pt x="8" y="33"/>
                      <a:pt x="6" y="28"/>
                      <a:pt x="11" y="24"/>
                    </a:cubicBezTo>
                    <a:cubicBezTo>
                      <a:pt x="15" y="19"/>
                      <a:pt x="9" y="19"/>
                      <a:pt x="9" y="17"/>
                    </a:cubicBezTo>
                    <a:cubicBezTo>
                      <a:pt x="9" y="16"/>
                      <a:pt x="11" y="16"/>
                      <a:pt x="11" y="14"/>
                    </a:cubicBezTo>
                    <a:cubicBezTo>
                      <a:pt x="12" y="14"/>
                      <a:pt x="12" y="13"/>
                      <a:pt x="12" y="8"/>
                    </a:cubicBezTo>
                    <a:cubicBezTo>
                      <a:pt x="11" y="2"/>
                      <a:pt x="9" y="3"/>
                      <a:pt x="9" y="0"/>
                    </a:cubicBezTo>
                    <a:cubicBezTo>
                      <a:pt x="12" y="0"/>
                      <a:pt x="32" y="0"/>
                      <a:pt x="37" y="0"/>
                    </a:cubicBezTo>
                    <a:cubicBezTo>
                      <a:pt x="53" y="11"/>
                      <a:pt x="60" y="16"/>
                      <a:pt x="64" y="19"/>
                    </a:cubicBezTo>
                    <a:cubicBezTo>
                      <a:pt x="70" y="22"/>
                      <a:pt x="64" y="22"/>
                      <a:pt x="67" y="27"/>
                    </a:cubicBezTo>
                    <a:cubicBezTo>
                      <a:pt x="72" y="30"/>
                      <a:pt x="78" y="36"/>
                      <a:pt x="79" y="36"/>
                    </a:cubicBezTo>
                    <a:cubicBezTo>
                      <a:pt x="76" y="41"/>
                      <a:pt x="78" y="41"/>
                      <a:pt x="76" y="44"/>
                    </a:cubicBezTo>
                    <a:cubicBezTo>
                      <a:pt x="73" y="52"/>
                      <a:pt x="78" y="55"/>
                      <a:pt x="81" y="58"/>
                    </a:cubicBezTo>
                    <a:cubicBezTo>
                      <a:pt x="82" y="63"/>
                      <a:pt x="78" y="59"/>
                      <a:pt x="81" y="66"/>
                    </a:cubicBezTo>
                    <a:cubicBezTo>
                      <a:pt x="82" y="72"/>
                      <a:pt x="78" y="69"/>
                      <a:pt x="81" y="77"/>
                    </a:cubicBezTo>
                    <a:cubicBezTo>
                      <a:pt x="84" y="84"/>
                      <a:pt x="81" y="84"/>
                      <a:pt x="82" y="89"/>
                    </a:cubicBezTo>
                    <a:cubicBezTo>
                      <a:pt x="85" y="92"/>
                      <a:pt x="85" y="89"/>
                      <a:pt x="88" y="94"/>
                    </a:cubicBezTo>
                    <a:cubicBezTo>
                      <a:pt x="85" y="97"/>
                      <a:pt x="82" y="98"/>
                      <a:pt x="76" y="102"/>
                    </a:cubicBezTo>
                    <a:cubicBezTo>
                      <a:pt x="70" y="105"/>
                      <a:pt x="69" y="97"/>
                      <a:pt x="69" y="102"/>
                    </a:cubicBezTo>
                    <a:cubicBezTo>
                      <a:pt x="67" y="106"/>
                      <a:pt x="63" y="106"/>
                      <a:pt x="61" y="105"/>
                    </a:cubicBezTo>
                    <a:cubicBezTo>
                      <a:pt x="60" y="103"/>
                      <a:pt x="56" y="108"/>
                      <a:pt x="53" y="105"/>
                    </a:cubicBezTo>
                    <a:cubicBezTo>
                      <a:pt x="50" y="100"/>
                      <a:pt x="50" y="106"/>
                      <a:pt x="43" y="103"/>
                    </a:cubicBezTo>
                    <a:cubicBezTo>
                      <a:pt x="40" y="98"/>
                      <a:pt x="43" y="98"/>
                      <a:pt x="41" y="94"/>
                    </a:cubicBezTo>
                    <a:cubicBezTo>
                      <a:pt x="40" y="89"/>
                      <a:pt x="38" y="86"/>
                      <a:pt x="37" y="84"/>
                    </a:cubicBezTo>
                    <a:cubicBezTo>
                      <a:pt x="34" y="84"/>
                      <a:pt x="31" y="84"/>
                      <a:pt x="29" y="83"/>
                    </a:cubicBezTo>
                    <a:cubicBezTo>
                      <a:pt x="21" y="78"/>
                      <a:pt x="23" y="81"/>
                      <a:pt x="21" y="78"/>
                    </a:cubicBezTo>
                    <a:cubicBezTo>
                      <a:pt x="20" y="75"/>
                      <a:pt x="20" y="80"/>
                      <a:pt x="18" y="77"/>
                    </a:cubicBezTo>
                    <a:cubicBezTo>
                      <a:pt x="17" y="74"/>
                      <a:pt x="14" y="75"/>
                      <a:pt x="12" y="70"/>
                    </a:cubicBezTo>
                    <a:cubicBezTo>
                      <a:pt x="11" y="69"/>
                      <a:pt x="9" y="67"/>
                      <a:pt x="9" y="63"/>
                    </a:cubicBezTo>
                    <a:cubicBezTo>
                      <a:pt x="8" y="59"/>
                      <a:pt x="0" y="53"/>
                      <a:pt x="2" y="49"/>
                    </a:cubicBezTo>
                    <a:cubicBezTo>
                      <a:pt x="3" y="44"/>
                      <a:pt x="0" y="41"/>
                      <a:pt x="2" y="35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83" name="Freeform 278"/>
              <p:cNvSpPr>
                <a:spLocks/>
              </p:cNvSpPr>
              <p:nvPr>
                <p:custDataLst>
                  <p:tags r:id="rId303"/>
                </p:custDataLst>
              </p:nvPr>
            </p:nvSpPr>
            <p:spPr bwMode="auto">
              <a:xfrm>
                <a:off x="5064022" y="3884880"/>
                <a:ext cx="10527" cy="22223"/>
              </a:xfrm>
              <a:custGeom>
                <a:avLst/>
                <a:gdLst/>
                <a:ahLst/>
                <a:cxnLst>
                  <a:cxn ang="0">
                    <a:pos x="2" y="9"/>
                  </a:cxn>
                  <a:cxn ang="0">
                    <a:pos x="2" y="4"/>
                  </a:cxn>
                  <a:cxn ang="0">
                    <a:pos x="3" y="4"/>
                  </a:cxn>
                  <a:cxn ang="0">
                    <a:pos x="3" y="7"/>
                  </a:cxn>
                  <a:cxn ang="0">
                    <a:pos x="2" y="9"/>
                  </a:cxn>
                </a:cxnLst>
                <a:rect l="0" t="0" r="r" b="b"/>
                <a:pathLst>
                  <a:path w="5" h="10">
                    <a:moveTo>
                      <a:pt x="2" y="9"/>
                    </a:moveTo>
                    <a:cubicBezTo>
                      <a:pt x="2" y="7"/>
                      <a:pt x="0" y="4"/>
                      <a:pt x="2" y="4"/>
                    </a:cubicBezTo>
                    <a:cubicBezTo>
                      <a:pt x="2" y="2"/>
                      <a:pt x="2" y="0"/>
                      <a:pt x="3" y="4"/>
                    </a:cubicBezTo>
                    <a:cubicBezTo>
                      <a:pt x="3" y="7"/>
                      <a:pt x="3" y="5"/>
                      <a:pt x="3" y="7"/>
                    </a:cubicBezTo>
                    <a:cubicBezTo>
                      <a:pt x="5" y="9"/>
                      <a:pt x="5" y="10"/>
                      <a:pt x="2" y="9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84" name="Freeform 279"/>
              <p:cNvSpPr>
                <a:spLocks/>
              </p:cNvSpPr>
              <p:nvPr>
                <p:custDataLst>
                  <p:tags r:id="rId304"/>
                </p:custDataLst>
              </p:nvPr>
            </p:nvSpPr>
            <p:spPr bwMode="auto">
              <a:xfrm>
                <a:off x="5071040" y="3869675"/>
                <a:ext cx="5848" cy="12866"/>
              </a:xfrm>
              <a:custGeom>
                <a:avLst/>
                <a:gdLst/>
                <a:ahLst/>
                <a:cxnLst>
                  <a:cxn ang="0">
                    <a:pos x="2" y="6"/>
                  </a:cxn>
                  <a:cxn ang="0">
                    <a:pos x="2" y="3"/>
                  </a:cxn>
                  <a:cxn ang="0">
                    <a:pos x="3" y="1"/>
                  </a:cxn>
                  <a:cxn ang="0">
                    <a:pos x="3" y="4"/>
                  </a:cxn>
                  <a:cxn ang="0">
                    <a:pos x="2" y="6"/>
                  </a:cxn>
                </a:cxnLst>
                <a:rect l="0" t="0" r="r" b="b"/>
                <a:pathLst>
                  <a:path w="3" h="6">
                    <a:moveTo>
                      <a:pt x="2" y="6"/>
                    </a:moveTo>
                    <a:cubicBezTo>
                      <a:pt x="0" y="4"/>
                      <a:pt x="2" y="4"/>
                      <a:pt x="2" y="3"/>
                    </a:cubicBezTo>
                    <a:cubicBezTo>
                      <a:pt x="2" y="1"/>
                      <a:pt x="2" y="0"/>
                      <a:pt x="3" y="1"/>
                    </a:cubicBezTo>
                    <a:cubicBezTo>
                      <a:pt x="3" y="1"/>
                      <a:pt x="3" y="1"/>
                      <a:pt x="3" y="4"/>
                    </a:cubicBezTo>
                    <a:cubicBezTo>
                      <a:pt x="3" y="6"/>
                      <a:pt x="3" y="6"/>
                      <a:pt x="2" y="6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85" name="Freeform 280"/>
              <p:cNvSpPr>
                <a:spLocks/>
              </p:cNvSpPr>
              <p:nvPr>
                <p:custDataLst>
                  <p:tags r:id="rId305"/>
                </p:custDataLst>
              </p:nvPr>
            </p:nvSpPr>
            <p:spPr bwMode="auto">
              <a:xfrm>
                <a:off x="5071040" y="3928157"/>
                <a:ext cx="10527" cy="11696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3" y="2"/>
                  </a:cxn>
                  <a:cxn ang="0">
                    <a:pos x="2" y="5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0" y="5"/>
                      <a:pt x="5" y="0"/>
                      <a:pt x="3" y="2"/>
                    </a:cubicBezTo>
                    <a:cubicBezTo>
                      <a:pt x="3" y="3"/>
                      <a:pt x="3" y="5"/>
                      <a:pt x="2" y="5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86" name="Freeform 281"/>
              <p:cNvSpPr>
                <a:spLocks/>
              </p:cNvSpPr>
              <p:nvPr>
                <p:custDataLst>
                  <p:tags r:id="rId306"/>
                </p:custDataLst>
              </p:nvPr>
            </p:nvSpPr>
            <p:spPr bwMode="auto">
              <a:xfrm>
                <a:off x="5351758" y="4227584"/>
                <a:ext cx="18714" cy="17544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6" y="5"/>
                  </a:cxn>
                  <a:cxn ang="0">
                    <a:pos x="1" y="2"/>
                  </a:cxn>
                </a:cxnLst>
                <a:rect l="0" t="0" r="r" b="b"/>
                <a:pathLst>
                  <a:path w="8" h="8">
                    <a:moveTo>
                      <a:pt x="1" y="2"/>
                    </a:moveTo>
                    <a:cubicBezTo>
                      <a:pt x="3" y="0"/>
                      <a:pt x="8" y="4"/>
                      <a:pt x="6" y="5"/>
                    </a:cubicBezTo>
                    <a:cubicBezTo>
                      <a:pt x="5" y="8"/>
                      <a:pt x="0" y="5"/>
                      <a:pt x="1" y="2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87" name="Freeform 282"/>
              <p:cNvSpPr>
                <a:spLocks/>
              </p:cNvSpPr>
              <p:nvPr>
                <p:custDataLst>
                  <p:tags r:id="rId307"/>
                </p:custDataLst>
              </p:nvPr>
            </p:nvSpPr>
            <p:spPr bwMode="auto">
              <a:xfrm>
                <a:off x="5385679" y="4205361"/>
                <a:ext cx="18714" cy="19884"/>
              </a:xfrm>
              <a:custGeom>
                <a:avLst/>
                <a:gdLst/>
                <a:ahLst/>
                <a:cxnLst>
                  <a:cxn ang="0">
                    <a:pos x="5" y="7"/>
                  </a:cxn>
                  <a:cxn ang="0">
                    <a:pos x="6" y="3"/>
                  </a:cxn>
                  <a:cxn ang="0">
                    <a:pos x="5" y="7"/>
                  </a:cxn>
                </a:cxnLst>
                <a:rect l="0" t="0" r="r" b="b"/>
                <a:pathLst>
                  <a:path w="8" h="9">
                    <a:moveTo>
                      <a:pt x="5" y="7"/>
                    </a:moveTo>
                    <a:cubicBezTo>
                      <a:pt x="0" y="9"/>
                      <a:pt x="5" y="0"/>
                      <a:pt x="6" y="3"/>
                    </a:cubicBezTo>
                    <a:cubicBezTo>
                      <a:pt x="6" y="6"/>
                      <a:pt x="8" y="7"/>
                      <a:pt x="5" y="7"/>
                    </a:cubicBezTo>
                  </a:path>
                </a:pathLst>
              </a:custGeom>
              <a:solidFill>
                <a:srgbClr val="6CC049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88" name="Freeform 283"/>
              <p:cNvSpPr>
                <a:spLocks/>
              </p:cNvSpPr>
              <p:nvPr>
                <p:custDataLst>
                  <p:tags r:id="rId308"/>
                </p:custDataLst>
              </p:nvPr>
            </p:nvSpPr>
            <p:spPr bwMode="auto">
              <a:xfrm>
                <a:off x="4655811" y="2752671"/>
                <a:ext cx="15206" cy="4679"/>
              </a:xfrm>
              <a:custGeom>
                <a:avLst/>
                <a:gdLst/>
                <a:ahLst/>
                <a:cxnLst>
                  <a:cxn ang="0">
                    <a:pos x="6" y="2"/>
                  </a:cxn>
                  <a:cxn ang="0">
                    <a:pos x="3" y="2"/>
                  </a:cxn>
                  <a:cxn ang="0">
                    <a:pos x="1" y="2"/>
                  </a:cxn>
                  <a:cxn ang="0">
                    <a:pos x="6" y="2"/>
                  </a:cxn>
                </a:cxnLst>
                <a:rect l="0" t="0" r="r" b="b"/>
                <a:pathLst>
                  <a:path w="7" h="2">
                    <a:moveTo>
                      <a:pt x="6" y="2"/>
                    </a:moveTo>
                    <a:cubicBezTo>
                      <a:pt x="7" y="2"/>
                      <a:pt x="4" y="2"/>
                      <a:pt x="3" y="2"/>
                    </a:cubicBezTo>
                    <a:cubicBezTo>
                      <a:pt x="0" y="2"/>
                      <a:pt x="0" y="2"/>
                      <a:pt x="1" y="2"/>
                    </a:cubicBezTo>
                    <a:cubicBezTo>
                      <a:pt x="3" y="0"/>
                      <a:pt x="4" y="2"/>
                      <a:pt x="6" y="2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89" name="Freeform 284"/>
              <p:cNvSpPr>
                <a:spLocks/>
              </p:cNvSpPr>
              <p:nvPr>
                <p:custDataLst>
                  <p:tags r:id="rId309"/>
                </p:custDataLst>
              </p:nvPr>
            </p:nvSpPr>
            <p:spPr bwMode="auto">
              <a:xfrm>
                <a:off x="4655811" y="2750332"/>
                <a:ext cx="12866" cy="2339"/>
              </a:xfrm>
              <a:custGeom>
                <a:avLst/>
                <a:gdLst/>
                <a:ahLst/>
                <a:cxnLst>
                  <a:cxn ang="0">
                    <a:pos x="1" y="1"/>
                  </a:cxn>
                  <a:cxn ang="0">
                    <a:pos x="4" y="1"/>
                  </a:cxn>
                  <a:cxn ang="0">
                    <a:pos x="1" y="1"/>
                  </a:cxn>
                </a:cxnLst>
                <a:rect l="0" t="0" r="r" b="b"/>
                <a:pathLst>
                  <a:path w="6" h="1">
                    <a:moveTo>
                      <a:pt x="1" y="1"/>
                    </a:moveTo>
                    <a:cubicBezTo>
                      <a:pt x="0" y="0"/>
                      <a:pt x="6" y="1"/>
                      <a:pt x="4" y="1"/>
                    </a:cubicBezTo>
                    <a:cubicBezTo>
                      <a:pt x="3" y="1"/>
                      <a:pt x="1" y="1"/>
                      <a:pt x="1" y="1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90" name="Freeform 285"/>
              <p:cNvSpPr>
                <a:spLocks/>
              </p:cNvSpPr>
              <p:nvPr>
                <p:custDataLst>
                  <p:tags r:id="rId310"/>
                </p:custDataLst>
              </p:nvPr>
            </p:nvSpPr>
            <p:spPr bwMode="auto">
              <a:xfrm>
                <a:off x="4658150" y="2762028"/>
                <a:ext cx="10527" cy="2339"/>
              </a:xfrm>
              <a:custGeom>
                <a:avLst/>
                <a:gdLst/>
                <a:ahLst/>
                <a:cxnLst>
                  <a:cxn ang="0">
                    <a:pos x="2" y="1"/>
                  </a:cxn>
                  <a:cxn ang="0">
                    <a:pos x="5" y="1"/>
                  </a:cxn>
                  <a:cxn ang="0">
                    <a:pos x="3" y="1"/>
                  </a:cxn>
                  <a:cxn ang="0">
                    <a:pos x="2" y="1"/>
                  </a:cxn>
                </a:cxnLst>
                <a:rect l="0" t="0" r="r" b="b"/>
                <a:pathLst>
                  <a:path w="5" h="1">
                    <a:moveTo>
                      <a:pt x="2" y="1"/>
                    </a:moveTo>
                    <a:cubicBezTo>
                      <a:pt x="0" y="0"/>
                      <a:pt x="5" y="0"/>
                      <a:pt x="5" y="1"/>
                    </a:cubicBezTo>
                    <a:cubicBezTo>
                      <a:pt x="5" y="1"/>
                      <a:pt x="5" y="1"/>
                      <a:pt x="3" y="1"/>
                    </a:cubicBezTo>
                    <a:cubicBezTo>
                      <a:pt x="2" y="1"/>
                      <a:pt x="2" y="1"/>
                      <a:pt x="2" y="1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91" name="Freeform 286"/>
              <p:cNvSpPr>
                <a:spLocks/>
              </p:cNvSpPr>
              <p:nvPr>
                <p:custDataLst>
                  <p:tags r:id="rId311"/>
                </p:custDataLst>
              </p:nvPr>
            </p:nvSpPr>
            <p:spPr bwMode="auto">
              <a:xfrm>
                <a:off x="4619552" y="2704716"/>
                <a:ext cx="5848" cy="7018"/>
              </a:xfrm>
              <a:custGeom>
                <a:avLst/>
                <a:gdLst/>
                <a:ahLst/>
                <a:cxnLst>
                  <a:cxn ang="0">
                    <a:pos x="3" y="3"/>
                  </a:cxn>
                  <a:cxn ang="0">
                    <a:pos x="0" y="1"/>
                  </a:cxn>
                  <a:cxn ang="0">
                    <a:pos x="2" y="0"/>
                  </a:cxn>
                  <a:cxn ang="0">
                    <a:pos x="3" y="1"/>
                  </a:cxn>
                  <a:cxn ang="0">
                    <a:pos x="3" y="3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cubicBezTo>
                      <a:pt x="2" y="3"/>
                      <a:pt x="0" y="1"/>
                      <a:pt x="0" y="1"/>
                    </a:cubicBezTo>
                    <a:cubicBezTo>
                      <a:pt x="2" y="0"/>
                      <a:pt x="0" y="0"/>
                      <a:pt x="2" y="0"/>
                    </a:cubicBezTo>
                    <a:cubicBezTo>
                      <a:pt x="2" y="0"/>
                      <a:pt x="2" y="0"/>
                      <a:pt x="3" y="1"/>
                    </a:cubicBezTo>
                    <a:cubicBezTo>
                      <a:pt x="3" y="3"/>
                      <a:pt x="3" y="3"/>
                      <a:pt x="3" y="3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92" name="Freeform 287"/>
              <p:cNvSpPr>
                <a:spLocks/>
              </p:cNvSpPr>
              <p:nvPr>
                <p:custDataLst>
                  <p:tags r:id="rId312"/>
                </p:custDataLst>
              </p:nvPr>
            </p:nvSpPr>
            <p:spPr bwMode="auto">
              <a:xfrm>
                <a:off x="4617213" y="2704716"/>
                <a:ext cx="5848" cy="16375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1" y="3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" y="6"/>
                  </a:cxn>
                </a:cxnLst>
                <a:rect l="0" t="0" r="r" b="b"/>
                <a:pathLst>
                  <a:path w="3" h="7">
                    <a:moveTo>
                      <a:pt x="3" y="6"/>
                    </a:moveTo>
                    <a:cubicBezTo>
                      <a:pt x="1" y="4"/>
                      <a:pt x="0" y="3"/>
                      <a:pt x="1" y="3"/>
                    </a:cubicBezTo>
                    <a:cubicBezTo>
                      <a:pt x="1" y="3"/>
                      <a:pt x="1" y="4"/>
                      <a:pt x="1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1" y="1"/>
                      <a:pt x="3" y="7"/>
                      <a:pt x="3" y="6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93" name="Freeform 288"/>
              <p:cNvSpPr>
                <a:spLocks/>
              </p:cNvSpPr>
              <p:nvPr>
                <p:custDataLst>
                  <p:tags r:id="rId313"/>
                </p:custDataLst>
              </p:nvPr>
            </p:nvSpPr>
            <p:spPr bwMode="auto">
              <a:xfrm>
                <a:off x="4623061" y="2714073"/>
                <a:ext cx="9358" cy="14036"/>
              </a:xfrm>
              <a:custGeom>
                <a:avLst/>
                <a:gdLst/>
                <a:ahLst/>
                <a:cxnLst>
                  <a:cxn ang="0">
                    <a:pos x="4" y="5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4" y="5"/>
                  </a:cxn>
                </a:cxnLst>
                <a:rect l="0" t="0" r="r" b="b"/>
                <a:pathLst>
                  <a:path w="4" h="6">
                    <a:moveTo>
                      <a:pt x="4" y="5"/>
                    </a:moveTo>
                    <a:cubicBezTo>
                      <a:pt x="1" y="3"/>
                      <a:pt x="1" y="3"/>
                      <a:pt x="1" y="2"/>
                    </a:cubicBezTo>
                    <a:cubicBezTo>
                      <a:pt x="0" y="0"/>
                      <a:pt x="1" y="2"/>
                      <a:pt x="1" y="3"/>
                    </a:cubicBezTo>
                    <a:cubicBezTo>
                      <a:pt x="3" y="3"/>
                      <a:pt x="4" y="6"/>
                      <a:pt x="4" y="5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94" name="Freeform 289"/>
              <p:cNvSpPr>
                <a:spLocks noEditPoints="1"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1331640" y="1931585"/>
                <a:ext cx="1853910" cy="1429297"/>
              </a:xfrm>
              <a:custGeom>
                <a:avLst/>
                <a:gdLst/>
                <a:ahLst/>
                <a:cxnLst>
                  <a:cxn ang="0">
                    <a:pos x="124" y="195"/>
                  </a:cxn>
                  <a:cxn ang="0">
                    <a:pos x="127" y="181"/>
                  </a:cxn>
                  <a:cxn ang="0">
                    <a:pos x="161" y="164"/>
                  </a:cxn>
                  <a:cxn ang="0">
                    <a:pos x="271" y="185"/>
                  </a:cxn>
                  <a:cxn ang="0">
                    <a:pos x="262" y="193"/>
                  </a:cxn>
                  <a:cxn ang="0">
                    <a:pos x="257" y="198"/>
                  </a:cxn>
                  <a:cxn ang="0">
                    <a:pos x="255" y="193"/>
                  </a:cxn>
                  <a:cxn ang="0">
                    <a:pos x="271" y="209"/>
                  </a:cxn>
                  <a:cxn ang="0">
                    <a:pos x="300" y="227"/>
                  </a:cxn>
                  <a:cxn ang="0">
                    <a:pos x="277" y="212"/>
                  </a:cxn>
                  <a:cxn ang="0">
                    <a:pos x="278" y="216"/>
                  </a:cxn>
                  <a:cxn ang="0">
                    <a:pos x="287" y="224"/>
                  </a:cxn>
                  <a:cxn ang="0">
                    <a:pos x="278" y="207"/>
                  </a:cxn>
                  <a:cxn ang="0">
                    <a:pos x="278" y="221"/>
                  </a:cxn>
                  <a:cxn ang="0">
                    <a:pos x="100" y="6"/>
                  </a:cxn>
                  <a:cxn ang="0">
                    <a:pos x="56" y="76"/>
                  </a:cxn>
                  <a:cxn ang="0">
                    <a:pos x="59" y="97"/>
                  </a:cxn>
                  <a:cxn ang="0">
                    <a:pos x="50" y="168"/>
                  </a:cxn>
                  <a:cxn ang="0">
                    <a:pos x="53" y="212"/>
                  </a:cxn>
                  <a:cxn ang="0">
                    <a:pos x="100" y="192"/>
                  </a:cxn>
                  <a:cxn ang="0">
                    <a:pos x="143" y="167"/>
                  </a:cxn>
                  <a:cxn ang="0">
                    <a:pos x="227" y="165"/>
                  </a:cxn>
                  <a:cxn ang="0">
                    <a:pos x="278" y="198"/>
                  </a:cxn>
                  <a:cxn ang="0">
                    <a:pos x="304" y="212"/>
                  </a:cxn>
                  <a:cxn ang="0">
                    <a:pos x="265" y="168"/>
                  </a:cxn>
                  <a:cxn ang="0">
                    <a:pos x="227" y="157"/>
                  </a:cxn>
                  <a:cxn ang="0">
                    <a:pos x="727" y="361"/>
                  </a:cxn>
                  <a:cxn ang="0">
                    <a:pos x="679" y="381"/>
                  </a:cxn>
                  <a:cxn ang="0">
                    <a:pos x="671" y="355"/>
                  </a:cxn>
                  <a:cxn ang="0">
                    <a:pos x="651" y="349"/>
                  </a:cxn>
                  <a:cxn ang="0">
                    <a:pos x="638" y="349"/>
                  </a:cxn>
                  <a:cxn ang="0">
                    <a:pos x="667" y="327"/>
                  </a:cxn>
                  <a:cxn ang="0">
                    <a:pos x="615" y="325"/>
                  </a:cxn>
                  <a:cxn ang="0">
                    <a:pos x="590" y="302"/>
                  </a:cxn>
                  <a:cxn ang="0">
                    <a:pos x="348" y="305"/>
                  </a:cxn>
                  <a:cxn ang="0">
                    <a:pos x="374" y="448"/>
                  </a:cxn>
                  <a:cxn ang="0">
                    <a:pos x="478" y="489"/>
                  </a:cxn>
                  <a:cxn ang="0">
                    <a:pos x="563" y="535"/>
                  </a:cxn>
                  <a:cxn ang="0">
                    <a:pos x="607" y="512"/>
                  </a:cxn>
                  <a:cxn ang="0">
                    <a:pos x="625" y="512"/>
                  </a:cxn>
                  <a:cxn ang="0">
                    <a:pos x="639" y="504"/>
                  </a:cxn>
                  <a:cxn ang="0">
                    <a:pos x="680" y="532"/>
                  </a:cxn>
                  <a:cxn ang="0">
                    <a:pos x="700" y="543"/>
                  </a:cxn>
                  <a:cxn ang="0">
                    <a:pos x="730" y="453"/>
                  </a:cxn>
                  <a:cxn ang="0">
                    <a:pos x="730" y="442"/>
                  </a:cxn>
                  <a:cxn ang="0">
                    <a:pos x="729" y="411"/>
                  </a:cxn>
                  <a:cxn ang="0">
                    <a:pos x="738" y="420"/>
                  </a:cxn>
                  <a:cxn ang="0">
                    <a:pos x="758" y="386"/>
                  </a:cxn>
                  <a:cxn ang="0">
                    <a:pos x="773" y="374"/>
                  </a:cxn>
                  <a:cxn ang="0">
                    <a:pos x="802" y="347"/>
                  </a:cxn>
                  <a:cxn ang="0">
                    <a:pos x="787" y="316"/>
                  </a:cxn>
                  <a:cxn ang="0">
                    <a:pos x="769" y="342"/>
                  </a:cxn>
                  <a:cxn ang="0">
                    <a:pos x="100" y="619"/>
                  </a:cxn>
                  <a:cxn ang="0">
                    <a:pos x="99" y="610"/>
                  </a:cxn>
                  <a:cxn ang="0">
                    <a:pos x="92" y="599"/>
                  </a:cxn>
                  <a:cxn ang="0">
                    <a:pos x="82" y="596"/>
                  </a:cxn>
                  <a:cxn ang="0">
                    <a:pos x="67" y="590"/>
                  </a:cxn>
                  <a:cxn ang="0">
                    <a:pos x="89" y="597"/>
                  </a:cxn>
                  <a:cxn ang="0">
                    <a:pos x="64" y="591"/>
                  </a:cxn>
                </a:cxnLst>
                <a:rect l="0" t="0" r="r" b="b"/>
                <a:pathLst>
                  <a:path w="817" h="630">
                    <a:moveTo>
                      <a:pt x="108" y="199"/>
                    </a:moveTo>
                    <a:cubicBezTo>
                      <a:pt x="108" y="196"/>
                      <a:pt x="105" y="195"/>
                      <a:pt x="108" y="192"/>
                    </a:cubicBezTo>
                    <a:cubicBezTo>
                      <a:pt x="112" y="190"/>
                      <a:pt x="114" y="193"/>
                      <a:pt x="114" y="190"/>
                    </a:cubicBezTo>
                    <a:cubicBezTo>
                      <a:pt x="114" y="188"/>
                      <a:pt x="114" y="187"/>
                      <a:pt x="115" y="188"/>
                    </a:cubicBezTo>
                    <a:cubicBezTo>
                      <a:pt x="117" y="190"/>
                      <a:pt x="120" y="188"/>
                      <a:pt x="118" y="187"/>
                    </a:cubicBezTo>
                    <a:cubicBezTo>
                      <a:pt x="118" y="185"/>
                      <a:pt x="120" y="187"/>
                      <a:pt x="121" y="187"/>
                    </a:cubicBezTo>
                    <a:cubicBezTo>
                      <a:pt x="123" y="188"/>
                      <a:pt x="124" y="187"/>
                      <a:pt x="124" y="188"/>
                    </a:cubicBezTo>
                    <a:cubicBezTo>
                      <a:pt x="126" y="190"/>
                      <a:pt x="124" y="190"/>
                      <a:pt x="126" y="190"/>
                    </a:cubicBezTo>
                    <a:cubicBezTo>
                      <a:pt x="127" y="192"/>
                      <a:pt x="126" y="193"/>
                      <a:pt x="124" y="195"/>
                    </a:cubicBezTo>
                    <a:cubicBezTo>
                      <a:pt x="123" y="196"/>
                      <a:pt x="123" y="196"/>
                      <a:pt x="120" y="196"/>
                    </a:cubicBezTo>
                    <a:cubicBezTo>
                      <a:pt x="117" y="196"/>
                      <a:pt x="115" y="198"/>
                      <a:pt x="115" y="199"/>
                    </a:cubicBezTo>
                    <a:cubicBezTo>
                      <a:pt x="115" y="201"/>
                      <a:pt x="115" y="199"/>
                      <a:pt x="114" y="201"/>
                    </a:cubicBezTo>
                    <a:cubicBezTo>
                      <a:pt x="112" y="202"/>
                      <a:pt x="111" y="202"/>
                      <a:pt x="112" y="201"/>
                    </a:cubicBezTo>
                    <a:cubicBezTo>
                      <a:pt x="115" y="198"/>
                      <a:pt x="111" y="199"/>
                      <a:pt x="111" y="199"/>
                    </a:cubicBezTo>
                    <a:cubicBezTo>
                      <a:pt x="111" y="201"/>
                      <a:pt x="109" y="201"/>
                      <a:pt x="108" y="199"/>
                    </a:cubicBezTo>
                    <a:close/>
                    <a:moveTo>
                      <a:pt x="123" y="185"/>
                    </a:moveTo>
                    <a:cubicBezTo>
                      <a:pt x="124" y="184"/>
                      <a:pt x="124" y="184"/>
                      <a:pt x="126" y="184"/>
                    </a:cubicBezTo>
                    <a:cubicBezTo>
                      <a:pt x="127" y="184"/>
                      <a:pt x="129" y="184"/>
                      <a:pt x="127" y="181"/>
                    </a:cubicBezTo>
                    <a:cubicBezTo>
                      <a:pt x="126" y="179"/>
                      <a:pt x="126" y="182"/>
                      <a:pt x="124" y="181"/>
                    </a:cubicBezTo>
                    <a:cubicBezTo>
                      <a:pt x="124" y="181"/>
                      <a:pt x="121" y="179"/>
                      <a:pt x="121" y="182"/>
                    </a:cubicBezTo>
                    <a:cubicBezTo>
                      <a:pt x="123" y="184"/>
                      <a:pt x="121" y="182"/>
                      <a:pt x="120" y="182"/>
                    </a:cubicBezTo>
                    <a:cubicBezTo>
                      <a:pt x="118" y="184"/>
                      <a:pt x="118" y="185"/>
                      <a:pt x="120" y="185"/>
                    </a:cubicBezTo>
                    <a:cubicBezTo>
                      <a:pt x="121" y="187"/>
                      <a:pt x="121" y="187"/>
                      <a:pt x="123" y="185"/>
                    </a:cubicBezTo>
                    <a:close/>
                    <a:moveTo>
                      <a:pt x="164" y="164"/>
                    </a:moveTo>
                    <a:cubicBezTo>
                      <a:pt x="166" y="162"/>
                      <a:pt x="164" y="162"/>
                      <a:pt x="167" y="159"/>
                    </a:cubicBezTo>
                    <a:cubicBezTo>
                      <a:pt x="169" y="156"/>
                      <a:pt x="167" y="156"/>
                      <a:pt x="166" y="157"/>
                    </a:cubicBezTo>
                    <a:cubicBezTo>
                      <a:pt x="166" y="159"/>
                      <a:pt x="163" y="160"/>
                      <a:pt x="161" y="164"/>
                    </a:cubicBezTo>
                    <a:cubicBezTo>
                      <a:pt x="159" y="164"/>
                      <a:pt x="163" y="164"/>
                      <a:pt x="164" y="164"/>
                    </a:cubicBezTo>
                    <a:close/>
                    <a:moveTo>
                      <a:pt x="173" y="156"/>
                    </a:moveTo>
                    <a:cubicBezTo>
                      <a:pt x="175" y="156"/>
                      <a:pt x="175" y="156"/>
                      <a:pt x="173" y="154"/>
                    </a:cubicBezTo>
                    <a:cubicBezTo>
                      <a:pt x="170" y="154"/>
                      <a:pt x="170" y="156"/>
                      <a:pt x="170" y="157"/>
                    </a:cubicBezTo>
                    <a:cubicBezTo>
                      <a:pt x="170" y="159"/>
                      <a:pt x="172" y="157"/>
                      <a:pt x="173" y="156"/>
                    </a:cubicBezTo>
                    <a:close/>
                    <a:moveTo>
                      <a:pt x="269" y="198"/>
                    </a:moveTo>
                    <a:cubicBezTo>
                      <a:pt x="272" y="196"/>
                      <a:pt x="269" y="195"/>
                      <a:pt x="272" y="195"/>
                    </a:cubicBezTo>
                    <a:cubicBezTo>
                      <a:pt x="274" y="195"/>
                      <a:pt x="271" y="192"/>
                      <a:pt x="272" y="192"/>
                    </a:cubicBezTo>
                    <a:cubicBezTo>
                      <a:pt x="274" y="192"/>
                      <a:pt x="272" y="187"/>
                      <a:pt x="271" y="185"/>
                    </a:cubicBezTo>
                    <a:cubicBezTo>
                      <a:pt x="269" y="182"/>
                      <a:pt x="268" y="185"/>
                      <a:pt x="266" y="182"/>
                    </a:cubicBezTo>
                    <a:cubicBezTo>
                      <a:pt x="263" y="181"/>
                      <a:pt x="265" y="182"/>
                      <a:pt x="265" y="185"/>
                    </a:cubicBezTo>
                    <a:cubicBezTo>
                      <a:pt x="266" y="188"/>
                      <a:pt x="266" y="190"/>
                      <a:pt x="268" y="193"/>
                    </a:cubicBezTo>
                    <a:cubicBezTo>
                      <a:pt x="269" y="196"/>
                      <a:pt x="266" y="193"/>
                      <a:pt x="266" y="198"/>
                    </a:cubicBezTo>
                    <a:cubicBezTo>
                      <a:pt x="266" y="199"/>
                      <a:pt x="268" y="198"/>
                      <a:pt x="269" y="198"/>
                    </a:cubicBezTo>
                    <a:close/>
                    <a:moveTo>
                      <a:pt x="265" y="207"/>
                    </a:moveTo>
                    <a:cubicBezTo>
                      <a:pt x="268" y="212"/>
                      <a:pt x="266" y="209"/>
                      <a:pt x="266" y="206"/>
                    </a:cubicBezTo>
                    <a:cubicBezTo>
                      <a:pt x="266" y="204"/>
                      <a:pt x="268" y="206"/>
                      <a:pt x="266" y="201"/>
                    </a:cubicBezTo>
                    <a:cubicBezTo>
                      <a:pt x="265" y="196"/>
                      <a:pt x="265" y="195"/>
                      <a:pt x="262" y="193"/>
                    </a:cubicBezTo>
                    <a:cubicBezTo>
                      <a:pt x="258" y="190"/>
                      <a:pt x="258" y="195"/>
                      <a:pt x="258" y="196"/>
                    </a:cubicBezTo>
                    <a:cubicBezTo>
                      <a:pt x="260" y="196"/>
                      <a:pt x="262" y="198"/>
                      <a:pt x="260" y="199"/>
                    </a:cubicBezTo>
                    <a:cubicBezTo>
                      <a:pt x="260" y="202"/>
                      <a:pt x="263" y="201"/>
                      <a:pt x="263" y="202"/>
                    </a:cubicBezTo>
                    <a:cubicBezTo>
                      <a:pt x="262" y="206"/>
                      <a:pt x="263" y="202"/>
                      <a:pt x="263" y="206"/>
                    </a:cubicBezTo>
                    <a:cubicBezTo>
                      <a:pt x="263" y="207"/>
                      <a:pt x="265" y="207"/>
                      <a:pt x="265" y="207"/>
                    </a:cubicBezTo>
                    <a:close/>
                    <a:moveTo>
                      <a:pt x="257" y="198"/>
                    </a:moveTo>
                    <a:cubicBezTo>
                      <a:pt x="257" y="198"/>
                      <a:pt x="257" y="199"/>
                      <a:pt x="258" y="199"/>
                    </a:cubicBezTo>
                    <a:cubicBezTo>
                      <a:pt x="258" y="198"/>
                      <a:pt x="257" y="193"/>
                      <a:pt x="257" y="195"/>
                    </a:cubicBezTo>
                    <a:cubicBezTo>
                      <a:pt x="257" y="195"/>
                      <a:pt x="257" y="196"/>
                      <a:pt x="257" y="198"/>
                    </a:cubicBezTo>
                    <a:close/>
                    <a:moveTo>
                      <a:pt x="258" y="190"/>
                    </a:moveTo>
                    <a:cubicBezTo>
                      <a:pt x="257" y="188"/>
                      <a:pt x="258" y="188"/>
                      <a:pt x="262" y="192"/>
                    </a:cubicBezTo>
                    <a:cubicBezTo>
                      <a:pt x="265" y="193"/>
                      <a:pt x="266" y="193"/>
                      <a:pt x="265" y="190"/>
                    </a:cubicBezTo>
                    <a:cubicBezTo>
                      <a:pt x="265" y="188"/>
                      <a:pt x="263" y="188"/>
                      <a:pt x="265" y="187"/>
                    </a:cubicBezTo>
                    <a:cubicBezTo>
                      <a:pt x="265" y="185"/>
                      <a:pt x="260" y="184"/>
                      <a:pt x="258" y="182"/>
                    </a:cubicBezTo>
                    <a:cubicBezTo>
                      <a:pt x="257" y="182"/>
                      <a:pt x="255" y="184"/>
                      <a:pt x="254" y="184"/>
                    </a:cubicBezTo>
                    <a:cubicBezTo>
                      <a:pt x="252" y="182"/>
                      <a:pt x="252" y="184"/>
                      <a:pt x="252" y="185"/>
                    </a:cubicBezTo>
                    <a:cubicBezTo>
                      <a:pt x="251" y="187"/>
                      <a:pt x="251" y="187"/>
                      <a:pt x="254" y="188"/>
                    </a:cubicBezTo>
                    <a:cubicBezTo>
                      <a:pt x="255" y="190"/>
                      <a:pt x="252" y="190"/>
                      <a:pt x="255" y="193"/>
                    </a:cubicBezTo>
                    <a:cubicBezTo>
                      <a:pt x="257" y="193"/>
                      <a:pt x="260" y="192"/>
                      <a:pt x="258" y="190"/>
                    </a:cubicBezTo>
                    <a:close/>
                    <a:moveTo>
                      <a:pt x="278" y="204"/>
                    </a:moveTo>
                    <a:cubicBezTo>
                      <a:pt x="280" y="202"/>
                      <a:pt x="280" y="201"/>
                      <a:pt x="280" y="199"/>
                    </a:cubicBezTo>
                    <a:cubicBezTo>
                      <a:pt x="278" y="198"/>
                      <a:pt x="278" y="199"/>
                      <a:pt x="275" y="198"/>
                    </a:cubicBezTo>
                    <a:cubicBezTo>
                      <a:pt x="274" y="198"/>
                      <a:pt x="272" y="198"/>
                      <a:pt x="272" y="199"/>
                    </a:cubicBezTo>
                    <a:cubicBezTo>
                      <a:pt x="272" y="202"/>
                      <a:pt x="275" y="199"/>
                      <a:pt x="275" y="202"/>
                    </a:cubicBezTo>
                    <a:cubicBezTo>
                      <a:pt x="274" y="207"/>
                      <a:pt x="275" y="206"/>
                      <a:pt x="278" y="206"/>
                    </a:cubicBezTo>
                    <a:cubicBezTo>
                      <a:pt x="280" y="207"/>
                      <a:pt x="278" y="204"/>
                      <a:pt x="278" y="204"/>
                    </a:cubicBezTo>
                    <a:close/>
                    <a:moveTo>
                      <a:pt x="271" y="209"/>
                    </a:moveTo>
                    <a:cubicBezTo>
                      <a:pt x="272" y="212"/>
                      <a:pt x="272" y="210"/>
                      <a:pt x="272" y="209"/>
                    </a:cubicBezTo>
                    <a:cubicBezTo>
                      <a:pt x="274" y="207"/>
                      <a:pt x="272" y="207"/>
                      <a:pt x="274" y="204"/>
                    </a:cubicBezTo>
                    <a:cubicBezTo>
                      <a:pt x="274" y="201"/>
                      <a:pt x="272" y="202"/>
                      <a:pt x="272" y="201"/>
                    </a:cubicBezTo>
                    <a:cubicBezTo>
                      <a:pt x="271" y="199"/>
                      <a:pt x="271" y="199"/>
                      <a:pt x="269" y="199"/>
                    </a:cubicBezTo>
                    <a:cubicBezTo>
                      <a:pt x="268" y="201"/>
                      <a:pt x="268" y="201"/>
                      <a:pt x="269" y="204"/>
                    </a:cubicBezTo>
                    <a:cubicBezTo>
                      <a:pt x="271" y="206"/>
                      <a:pt x="272" y="207"/>
                      <a:pt x="271" y="207"/>
                    </a:cubicBezTo>
                    <a:cubicBezTo>
                      <a:pt x="269" y="206"/>
                      <a:pt x="269" y="207"/>
                      <a:pt x="269" y="210"/>
                    </a:cubicBezTo>
                    <a:cubicBezTo>
                      <a:pt x="271" y="213"/>
                      <a:pt x="271" y="207"/>
                      <a:pt x="271" y="209"/>
                    </a:cubicBezTo>
                    <a:close/>
                    <a:moveTo>
                      <a:pt x="300" y="227"/>
                    </a:moveTo>
                    <a:cubicBezTo>
                      <a:pt x="301" y="226"/>
                      <a:pt x="301" y="226"/>
                      <a:pt x="303" y="224"/>
                    </a:cubicBezTo>
                    <a:cubicBezTo>
                      <a:pt x="303" y="224"/>
                      <a:pt x="301" y="224"/>
                      <a:pt x="301" y="226"/>
                    </a:cubicBezTo>
                    <a:cubicBezTo>
                      <a:pt x="300" y="226"/>
                      <a:pt x="298" y="227"/>
                      <a:pt x="300" y="227"/>
                    </a:cubicBezTo>
                    <a:cubicBezTo>
                      <a:pt x="300" y="227"/>
                      <a:pt x="300" y="227"/>
                      <a:pt x="300" y="227"/>
                    </a:cubicBezTo>
                    <a:close/>
                    <a:moveTo>
                      <a:pt x="293" y="224"/>
                    </a:moveTo>
                    <a:cubicBezTo>
                      <a:pt x="293" y="224"/>
                      <a:pt x="293" y="224"/>
                      <a:pt x="292" y="224"/>
                    </a:cubicBezTo>
                    <a:cubicBezTo>
                      <a:pt x="292" y="224"/>
                      <a:pt x="292" y="224"/>
                      <a:pt x="292" y="226"/>
                    </a:cubicBezTo>
                    <a:cubicBezTo>
                      <a:pt x="293" y="226"/>
                      <a:pt x="293" y="226"/>
                      <a:pt x="293" y="224"/>
                    </a:cubicBezTo>
                    <a:close/>
                    <a:moveTo>
                      <a:pt x="277" y="212"/>
                    </a:moveTo>
                    <a:cubicBezTo>
                      <a:pt x="278" y="212"/>
                      <a:pt x="278" y="210"/>
                      <a:pt x="277" y="210"/>
                    </a:cubicBezTo>
                    <a:cubicBezTo>
                      <a:pt x="275" y="209"/>
                      <a:pt x="274" y="210"/>
                      <a:pt x="275" y="210"/>
                    </a:cubicBezTo>
                    <a:cubicBezTo>
                      <a:pt x="275" y="210"/>
                      <a:pt x="274" y="210"/>
                      <a:pt x="274" y="212"/>
                    </a:cubicBezTo>
                    <a:cubicBezTo>
                      <a:pt x="274" y="212"/>
                      <a:pt x="272" y="213"/>
                      <a:pt x="275" y="212"/>
                    </a:cubicBezTo>
                    <a:cubicBezTo>
                      <a:pt x="275" y="212"/>
                      <a:pt x="275" y="212"/>
                      <a:pt x="277" y="212"/>
                    </a:cubicBezTo>
                    <a:close/>
                    <a:moveTo>
                      <a:pt x="278" y="212"/>
                    </a:moveTo>
                    <a:cubicBezTo>
                      <a:pt x="277" y="213"/>
                      <a:pt x="278" y="212"/>
                      <a:pt x="278" y="213"/>
                    </a:cubicBezTo>
                    <a:cubicBezTo>
                      <a:pt x="278" y="215"/>
                      <a:pt x="277" y="213"/>
                      <a:pt x="277" y="215"/>
                    </a:cubicBezTo>
                    <a:cubicBezTo>
                      <a:pt x="277" y="216"/>
                      <a:pt x="277" y="216"/>
                      <a:pt x="278" y="216"/>
                    </a:cubicBezTo>
                    <a:cubicBezTo>
                      <a:pt x="280" y="216"/>
                      <a:pt x="278" y="216"/>
                      <a:pt x="280" y="218"/>
                    </a:cubicBezTo>
                    <a:cubicBezTo>
                      <a:pt x="280" y="220"/>
                      <a:pt x="277" y="220"/>
                      <a:pt x="277" y="220"/>
                    </a:cubicBezTo>
                    <a:cubicBezTo>
                      <a:pt x="278" y="221"/>
                      <a:pt x="278" y="221"/>
                      <a:pt x="280" y="221"/>
                    </a:cubicBezTo>
                    <a:cubicBezTo>
                      <a:pt x="280" y="220"/>
                      <a:pt x="280" y="221"/>
                      <a:pt x="280" y="221"/>
                    </a:cubicBezTo>
                    <a:cubicBezTo>
                      <a:pt x="281" y="221"/>
                      <a:pt x="281" y="221"/>
                      <a:pt x="283" y="223"/>
                    </a:cubicBezTo>
                    <a:cubicBezTo>
                      <a:pt x="284" y="224"/>
                      <a:pt x="283" y="224"/>
                      <a:pt x="283" y="224"/>
                    </a:cubicBezTo>
                    <a:cubicBezTo>
                      <a:pt x="284" y="226"/>
                      <a:pt x="284" y="223"/>
                      <a:pt x="284" y="226"/>
                    </a:cubicBezTo>
                    <a:cubicBezTo>
                      <a:pt x="284" y="227"/>
                      <a:pt x="287" y="229"/>
                      <a:pt x="287" y="227"/>
                    </a:cubicBezTo>
                    <a:cubicBezTo>
                      <a:pt x="289" y="226"/>
                      <a:pt x="287" y="226"/>
                      <a:pt x="287" y="224"/>
                    </a:cubicBezTo>
                    <a:cubicBezTo>
                      <a:pt x="287" y="223"/>
                      <a:pt x="287" y="224"/>
                      <a:pt x="287" y="221"/>
                    </a:cubicBezTo>
                    <a:cubicBezTo>
                      <a:pt x="289" y="220"/>
                      <a:pt x="287" y="221"/>
                      <a:pt x="286" y="220"/>
                    </a:cubicBezTo>
                    <a:cubicBezTo>
                      <a:pt x="286" y="218"/>
                      <a:pt x="286" y="220"/>
                      <a:pt x="284" y="218"/>
                    </a:cubicBezTo>
                    <a:cubicBezTo>
                      <a:pt x="284" y="218"/>
                      <a:pt x="283" y="220"/>
                      <a:pt x="283" y="218"/>
                    </a:cubicBezTo>
                    <a:cubicBezTo>
                      <a:pt x="281" y="218"/>
                      <a:pt x="283" y="216"/>
                      <a:pt x="284" y="218"/>
                    </a:cubicBezTo>
                    <a:cubicBezTo>
                      <a:pt x="287" y="220"/>
                      <a:pt x="286" y="218"/>
                      <a:pt x="284" y="216"/>
                    </a:cubicBezTo>
                    <a:cubicBezTo>
                      <a:pt x="283" y="215"/>
                      <a:pt x="283" y="213"/>
                      <a:pt x="283" y="212"/>
                    </a:cubicBezTo>
                    <a:cubicBezTo>
                      <a:pt x="281" y="210"/>
                      <a:pt x="280" y="212"/>
                      <a:pt x="278" y="210"/>
                    </a:cubicBezTo>
                    <a:cubicBezTo>
                      <a:pt x="278" y="210"/>
                      <a:pt x="280" y="209"/>
                      <a:pt x="278" y="207"/>
                    </a:cubicBezTo>
                    <a:cubicBezTo>
                      <a:pt x="278" y="206"/>
                      <a:pt x="278" y="207"/>
                      <a:pt x="277" y="207"/>
                    </a:cubicBezTo>
                    <a:cubicBezTo>
                      <a:pt x="274" y="207"/>
                      <a:pt x="275" y="207"/>
                      <a:pt x="275" y="207"/>
                    </a:cubicBezTo>
                    <a:cubicBezTo>
                      <a:pt x="274" y="209"/>
                      <a:pt x="274" y="209"/>
                      <a:pt x="275" y="209"/>
                    </a:cubicBezTo>
                    <a:cubicBezTo>
                      <a:pt x="277" y="209"/>
                      <a:pt x="278" y="209"/>
                      <a:pt x="278" y="212"/>
                    </a:cubicBezTo>
                    <a:close/>
                    <a:moveTo>
                      <a:pt x="280" y="227"/>
                    </a:moveTo>
                    <a:cubicBezTo>
                      <a:pt x="281" y="229"/>
                      <a:pt x="283" y="229"/>
                      <a:pt x="281" y="227"/>
                    </a:cubicBezTo>
                    <a:cubicBezTo>
                      <a:pt x="281" y="226"/>
                      <a:pt x="281" y="226"/>
                      <a:pt x="280" y="224"/>
                    </a:cubicBezTo>
                    <a:cubicBezTo>
                      <a:pt x="278" y="223"/>
                      <a:pt x="280" y="223"/>
                      <a:pt x="280" y="223"/>
                    </a:cubicBezTo>
                    <a:cubicBezTo>
                      <a:pt x="278" y="221"/>
                      <a:pt x="278" y="221"/>
                      <a:pt x="278" y="221"/>
                    </a:cubicBezTo>
                    <a:cubicBezTo>
                      <a:pt x="277" y="223"/>
                      <a:pt x="278" y="223"/>
                      <a:pt x="278" y="224"/>
                    </a:cubicBezTo>
                    <a:cubicBezTo>
                      <a:pt x="278" y="224"/>
                      <a:pt x="278" y="224"/>
                      <a:pt x="280" y="227"/>
                    </a:cubicBezTo>
                    <a:close/>
                    <a:moveTo>
                      <a:pt x="199" y="22"/>
                    </a:moveTo>
                    <a:cubicBezTo>
                      <a:pt x="190" y="20"/>
                      <a:pt x="188" y="25"/>
                      <a:pt x="182" y="22"/>
                    </a:cubicBezTo>
                    <a:cubicBezTo>
                      <a:pt x="176" y="19"/>
                      <a:pt x="166" y="20"/>
                      <a:pt x="155" y="16"/>
                    </a:cubicBezTo>
                    <a:cubicBezTo>
                      <a:pt x="144" y="13"/>
                      <a:pt x="144" y="19"/>
                      <a:pt x="134" y="16"/>
                    </a:cubicBezTo>
                    <a:cubicBezTo>
                      <a:pt x="123" y="13"/>
                      <a:pt x="134" y="10"/>
                      <a:pt x="121" y="10"/>
                    </a:cubicBezTo>
                    <a:cubicBezTo>
                      <a:pt x="109" y="10"/>
                      <a:pt x="112" y="11"/>
                      <a:pt x="109" y="8"/>
                    </a:cubicBezTo>
                    <a:cubicBezTo>
                      <a:pt x="105" y="5"/>
                      <a:pt x="105" y="10"/>
                      <a:pt x="100" y="6"/>
                    </a:cubicBezTo>
                    <a:cubicBezTo>
                      <a:pt x="97" y="5"/>
                      <a:pt x="96" y="0"/>
                      <a:pt x="88" y="6"/>
                    </a:cubicBezTo>
                    <a:cubicBezTo>
                      <a:pt x="80" y="14"/>
                      <a:pt x="76" y="5"/>
                      <a:pt x="64" y="14"/>
                    </a:cubicBezTo>
                    <a:cubicBezTo>
                      <a:pt x="51" y="24"/>
                      <a:pt x="50" y="11"/>
                      <a:pt x="44" y="24"/>
                    </a:cubicBezTo>
                    <a:cubicBezTo>
                      <a:pt x="39" y="36"/>
                      <a:pt x="36" y="39"/>
                      <a:pt x="21" y="39"/>
                    </a:cubicBezTo>
                    <a:cubicBezTo>
                      <a:pt x="13" y="39"/>
                      <a:pt x="21" y="44"/>
                      <a:pt x="13" y="45"/>
                    </a:cubicBezTo>
                    <a:cubicBezTo>
                      <a:pt x="7" y="47"/>
                      <a:pt x="32" y="52"/>
                      <a:pt x="36" y="61"/>
                    </a:cubicBezTo>
                    <a:cubicBezTo>
                      <a:pt x="41" y="69"/>
                      <a:pt x="47" y="61"/>
                      <a:pt x="45" y="67"/>
                    </a:cubicBezTo>
                    <a:cubicBezTo>
                      <a:pt x="45" y="72"/>
                      <a:pt x="50" y="67"/>
                      <a:pt x="50" y="72"/>
                    </a:cubicBezTo>
                    <a:cubicBezTo>
                      <a:pt x="51" y="76"/>
                      <a:pt x="57" y="72"/>
                      <a:pt x="56" y="76"/>
                    </a:cubicBezTo>
                    <a:cubicBezTo>
                      <a:pt x="56" y="80"/>
                      <a:pt x="56" y="75"/>
                      <a:pt x="51" y="78"/>
                    </a:cubicBezTo>
                    <a:cubicBezTo>
                      <a:pt x="51" y="80"/>
                      <a:pt x="51" y="76"/>
                      <a:pt x="41" y="78"/>
                    </a:cubicBezTo>
                    <a:cubicBezTo>
                      <a:pt x="30" y="80"/>
                      <a:pt x="44" y="67"/>
                      <a:pt x="30" y="72"/>
                    </a:cubicBezTo>
                    <a:cubicBezTo>
                      <a:pt x="16" y="76"/>
                      <a:pt x="9" y="83"/>
                      <a:pt x="4" y="83"/>
                    </a:cubicBezTo>
                    <a:cubicBezTo>
                      <a:pt x="0" y="84"/>
                      <a:pt x="3" y="89"/>
                      <a:pt x="10" y="89"/>
                    </a:cubicBezTo>
                    <a:cubicBezTo>
                      <a:pt x="19" y="89"/>
                      <a:pt x="9" y="92"/>
                      <a:pt x="13" y="94"/>
                    </a:cubicBezTo>
                    <a:cubicBezTo>
                      <a:pt x="18" y="97"/>
                      <a:pt x="12" y="100"/>
                      <a:pt x="21" y="101"/>
                    </a:cubicBezTo>
                    <a:cubicBezTo>
                      <a:pt x="30" y="101"/>
                      <a:pt x="33" y="97"/>
                      <a:pt x="39" y="100"/>
                    </a:cubicBezTo>
                    <a:cubicBezTo>
                      <a:pt x="47" y="104"/>
                      <a:pt x="54" y="90"/>
                      <a:pt x="59" y="97"/>
                    </a:cubicBezTo>
                    <a:cubicBezTo>
                      <a:pt x="64" y="101"/>
                      <a:pt x="48" y="98"/>
                      <a:pt x="56" y="103"/>
                    </a:cubicBezTo>
                    <a:cubicBezTo>
                      <a:pt x="65" y="108"/>
                      <a:pt x="57" y="115"/>
                      <a:pt x="51" y="114"/>
                    </a:cubicBezTo>
                    <a:cubicBezTo>
                      <a:pt x="44" y="112"/>
                      <a:pt x="45" y="123"/>
                      <a:pt x="38" y="118"/>
                    </a:cubicBezTo>
                    <a:cubicBezTo>
                      <a:pt x="30" y="114"/>
                      <a:pt x="29" y="126"/>
                      <a:pt x="24" y="128"/>
                    </a:cubicBezTo>
                    <a:cubicBezTo>
                      <a:pt x="21" y="129"/>
                      <a:pt x="22" y="134"/>
                      <a:pt x="18" y="137"/>
                    </a:cubicBezTo>
                    <a:cubicBezTo>
                      <a:pt x="15" y="139"/>
                      <a:pt x="18" y="140"/>
                      <a:pt x="24" y="145"/>
                    </a:cubicBezTo>
                    <a:cubicBezTo>
                      <a:pt x="30" y="150"/>
                      <a:pt x="22" y="153"/>
                      <a:pt x="25" y="154"/>
                    </a:cubicBezTo>
                    <a:cubicBezTo>
                      <a:pt x="29" y="157"/>
                      <a:pt x="33" y="165"/>
                      <a:pt x="41" y="162"/>
                    </a:cubicBezTo>
                    <a:cubicBezTo>
                      <a:pt x="48" y="159"/>
                      <a:pt x="51" y="162"/>
                      <a:pt x="50" y="168"/>
                    </a:cubicBezTo>
                    <a:cubicBezTo>
                      <a:pt x="47" y="174"/>
                      <a:pt x="53" y="170"/>
                      <a:pt x="50" y="176"/>
                    </a:cubicBezTo>
                    <a:cubicBezTo>
                      <a:pt x="48" y="181"/>
                      <a:pt x="56" y="179"/>
                      <a:pt x="59" y="174"/>
                    </a:cubicBezTo>
                    <a:cubicBezTo>
                      <a:pt x="62" y="171"/>
                      <a:pt x="68" y="176"/>
                      <a:pt x="71" y="179"/>
                    </a:cubicBezTo>
                    <a:cubicBezTo>
                      <a:pt x="76" y="184"/>
                      <a:pt x="76" y="176"/>
                      <a:pt x="79" y="178"/>
                    </a:cubicBezTo>
                    <a:cubicBezTo>
                      <a:pt x="82" y="181"/>
                      <a:pt x="91" y="173"/>
                      <a:pt x="86" y="178"/>
                    </a:cubicBezTo>
                    <a:cubicBezTo>
                      <a:pt x="83" y="182"/>
                      <a:pt x="83" y="185"/>
                      <a:pt x="83" y="190"/>
                    </a:cubicBezTo>
                    <a:cubicBezTo>
                      <a:pt x="83" y="195"/>
                      <a:pt x="79" y="192"/>
                      <a:pt x="76" y="198"/>
                    </a:cubicBezTo>
                    <a:cubicBezTo>
                      <a:pt x="73" y="204"/>
                      <a:pt x="67" y="202"/>
                      <a:pt x="64" y="209"/>
                    </a:cubicBezTo>
                    <a:cubicBezTo>
                      <a:pt x="59" y="216"/>
                      <a:pt x="61" y="210"/>
                      <a:pt x="53" y="212"/>
                    </a:cubicBezTo>
                    <a:cubicBezTo>
                      <a:pt x="45" y="215"/>
                      <a:pt x="50" y="218"/>
                      <a:pt x="44" y="220"/>
                    </a:cubicBezTo>
                    <a:cubicBezTo>
                      <a:pt x="39" y="223"/>
                      <a:pt x="38" y="227"/>
                      <a:pt x="44" y="224"/>
                    </a:cubicBezTo>
                    <a:cubicBezTo>
                      <a:pt x="51" y="221"/>
                      <a:pt x="53" y="215"/>
                      <a:pt x="54" y="218"/>
                    </a:cubicBezTo>
                    <a:cubicBezTo>
                      <a:pt x="56" y="221"/>
                      <a:pt x="59" y="216"/>
                      <a:pt x="59" y="220"/>
                    </a:cubicBezTo>
                    <a:cubicBezTo>
                      <a:pt x="61" y="224"/>
                      <a:pt x="64" y="221"/>
                      <a:pt x="64" y="218"/>
                    </a:cubicBezTo>
                    <a:cubicBezTo>
                      <a:pt x="62" y="215"/>
                      <a:pt x="68" y="213"/>
                      <a:pt x="68" y="216"/>
                    </a:cubicBezTo>
                    <a:cubicBezTo>
                      <a:pt x="68" y="220"/>
                      <a:pt x="74" y="210"/>
                      <a:pt x="79" y="210"/>
                    </a:cubicBezTo>
                    <a:cubicBezTo>
                      <a:pt x="83" y="210"/>
                      <a:pt x="76" y="209"/>
                      <a:pt x="86" y="202"/>
                    </a:cubicBezTo>
                    <a:cubicBezTo>
                      <a:pt x="96" y="198"/>
                      <a:pt x="94" y="195"/>
                      <a:pt x="100" y="192"/>
                    </a:cubicBezTo>
                    <a:cubicBezTo>
                      <a:pt x="105" y="188"/>
                      <a:pt x="112" y="185"/>
                      <a:pt x="114" y="181"/>
                    </a:cubicBezTo>
                    <a:cubicBezTo>
                      <a:pt x="115" y="176"/>
                      <a:pt x="118" y="178"/>
                      <a:pt x="120" y="174"/>
                    </a:cubicBezTo>
                    <a:cubicBezTo>
                      <a:pt x="120" y="170"/>
                      <a:pt x="105" y="176"/>
                      <a:pt x="114" y="168"/>
                    </a:cubicBezTo>
                    <a:cubicBezTo>
                      <a:pt x="124" y="160"/>
                      <a:pt x="126" y="159"/>
                      <a:pt x="129" y="151"/>
                    </a:cubicBezTo>
                    <a:cubicBezTo>
                      <a:pt x="134" y="145"/>
                      <a:pt x="144" y="140"/>
                      <a:pt x="152" y="148"/>
                    </a:cubicBezTo>
                    <a:cubicBezTo>
                      <a:pt x="159" y="156"/>
                      <a:pt x="146" y="143"/>
                      <a:pt x="138" y="148"/>
                    </a:cubicBezTo>
                    <a:cubicBezTo>
                      <a:pt x="132" y="153"/>
                      <a:pt x="138" y="154"/>
                      <a:pt x="132" y="159"/>
                    </a:cubicBezTo>
                    <a:cubicBezTo>
                      <a:pt x="126" y="165"/>
                      <a:pt x="137" y="165"/>
                      <a:pt x="132" y="167"/>
                    </a:cubicBezTo>
                    <a:cubicBezTo>
                      <a:pt x="124" y="171"/>
                      <a:pt x="137" y="173"/>
                      <a:pt x="143" y="167"/>
                    </a:cubicBezTo>
                    <a:cubicBezTo>
                      <a:pt x="149" y="162"/>
                      <a:pt x="150" y="160"/>
                      <a:pt x="155" y="160"/>
                    </a:cubicBezTo>
                    <a:cubicBezTo>
                      <a:pt x="161" y="160"/>
                      <a:pt x="155" y="157"/>
                      <a:pt x="159" y="156"/>
                    </a:cubicBezTo>
                    <a:cubicBezTo>
                      <a:pt x="164" y="154"/>
                      <a:pt x="156" y="150"/>
                      <a:pt x="163" y="150"/>
                    </a:cubicBezTo>
                    <a:cubicBezTo>
                      <a:pt x="169" y="148"/>
                      <a:pt x="172" y="145"/>
                      <a:pt x="172" y="148"/>
                    </a:cubicBezTo>
                    <a:cubicBezTo>
                      <a:pt x="172" y="153"/>
                      <a:pt x="176" y="151"/>
                      <a:pt x="181" y="154"/>
                    </a:cubicBezTo>
                    <a:cubicBezTo>
                      <a:pt x="185" y="157"/>
                      <a:pt x="184" y="151"/>
                      <a:pt x="187" y="156"/>
                    </a:cubicBezTo>
                    <a:cubicBezTo>
                      <a:pt x="191" y="162"/>
                      <a:pt x="199" y="159"/>
                      <a:pt x="204" y="159"/>
                    </a:cubicBezTo>
                    <a:cubicBezTo>
                      <a:pt x="210" y="159"/>
                      <a:pt x="219" y="167"/>
                      <a:pt x="223" y="164"/>
                    </a:cubicBezTo>
                    <a:cubicBezTo>
                      <a:pt x="230" y="160"/>
                      <a:pt x="230" y="164"/>
                      <a:pt x="227" y="165"/>
                    </a:cubicBezTo>
                    <a:cubicBezTo>
                      <a:pt x="223" y="167"/>
                      <a:pt x="233" y="170"/>
                      <a:pt x="237" y="173"/>
                    </a:cubicBezTo>
                    <a:cubicBezTo>
                      <a:pt x="242" y="174"/>
                      <a:pt x="242" y="178"/>
                      <a:pt x="248" y="181"/>
                    </a:cubicBezTo>
                    <a:cubicBezTo>
                      <a:pt x="252" y="184"/>
                      <a:pt x="257" y="182"/>
                      <a:pt x="254" y="179"/>
                    </a:cubicBezTo>
                    <a:cubicBezTo>
                      <a:pt x="251" y="176"/>
                      <a:pt x="251" y="173"/>
                      <a:pt x="255" y="176"/>
                    </a:cubicBezTo>
                    <a:cubicBezTo>
                      <a:pt x="258" y="181"/>
                      <a:pt x="265" y="185"/>
                      <a:pt x="263" y="181"/>
                    </a:cubicBezTo>
                    <a:cubicBezTo>
                      <a:pt x="263" y="176"/>
                      <a:pt x="262" y="173"/>
                      <a:pt x="265" y="179"/>
                    </a:cubicBezTo>
                    <a:cubicBezTo>
                      <a:pt x="268" y="184"/>
                      <a:pt x="271" y="179"/>
                      <a:pt x="272" y="184"/>
                    </a:cubicBezTo>
                    <a:cubicBezTo>
                      <a:pt x="275" y="190"/>
                      <a:pt x="274" y="190"/>
                      <a:pt x="277" y="192"/>
                    </a:cubicBezTo>
                    <a:cubicBezTo>
                      <a:pt x="278" y="193"/>
                      <a:pt x="274" y="196"/>
                      <a:pt x="278" y="198"/>
                    </a:cubicBezTo>
                    <a:cubicBezTo>
                      <a:pt x="283" y="199"/>
                      <a:pt x="280" y="199"/>
                      <a:pt x="284" y="204"/>
                    </a:cubicBezTo>
                    <a:cubicBezTo>
                      <a:pt x="290" y="210"/>
                      <a:pt x="293" y="209"/>
                      <a:pt x="290" y="210"/>
                    </a:cubicBezTo>
                    <a:cubicBezTo>
                      <a:pt x="287" y="210"/>
                      <a:pt x="289" y="212"/>
                      <a:pt x="286" y="215"/>
                    </a:cubicBezTo>
                    <a:cubicBezTo>
                      <a:pt x="284" y="216"/>
                      <a:pt x="287" y="220"/>
                      <a:pt x="289" y="215"/>
                    </a:cubicBezTo>
                    <a:cubicBezTo>
                      <a:pt x="290" y="212"/>
                      <a:pt x="293" y="209"/>
                      <a:pt x="295" y="213"/>
                    </a:cubicBezTo>
                    <a:cubicBezTo>
                      <a:pt x="298" y="218"/>
                      <a:pt x="295" y="221"/>
                      <a:pt x="295" y="223"/>
                    </a:cubicBezTo>
                    <a:cubicBezTo>
                      <a:pt x="297" y="226"/>
                      <a:pt x="297" y="229"/>
                      <a:pt x="300" y="226"/>
                    </a:cubicBezTo>
                    <a:cubicBezTo>
                      <a:pt x="301" y="223"/>
                      <a:pt x="304" y="223"/>
                      <a:pt x="303" y="218"/>
                    </a:cubicBezTo>
                    <a:cubicBezTo>
                      <a:pt x="301" y="213"/>
                      <a:pt x="303" y="213"/>
                      <a:pt x="304" y="212"/>
                    </a:cubicBezTo>
                    <a:cubicBezTo>
                      <a:pt x="304" y="212"/>
                      <a:pt x="304" y="210"/>
                      <a:pt x="303" y="210"/>
                    </a:cubicBezTo>
                    <a:cubicBezTo>
                      <a:pt x="300" y="210"/>
                      <a:pt x="303" y="209"/>
                      <a:pt x="298" y="207"/>
                    </a:cubicBezTo>
                    <a:cubicBezTo>
                      <a:pt x="292" y="206"/>
                      <a:pt x="293" y="202"/>
                      <a:pt x="290" y="204"/>
                    </a:cubicBezTo>
                    <a:cubicBezTo>
                      <a:pt x="287" y="204"/>
                      <a:pt x="290" y="201"/>
                      <a:pt x="289" y="201"/>
                    </a:cubicBezTo>
                    <a:cubicBezTo>
                      <a:pt x="286" y="201"/>
                      <a:pt x="289" y="198"/>
                      <a:pt x="287" y="198"/>
                    </a:cubicBezTo>
                    <a:cubicBezTo>
                      <a:pt x="284" y="198"/>
                      <a:pt x="287" y="198"/>
                      <a:pt x="286" y="195"/>
                    </a:cubicBezTo>
                    <a:cubicBezTo>
                      <a:pt x="284" y="193"/>
                      <a:pt x="278" y="182"/>
                      <a:pt x="275" y="179"/>
                    </a:cubicBezTo>
                    <a:cubicBezTo>
                      <a:pt x="274" y="174"/>
                      <a:pt x="271" y="178"/>
                      <a:pt x="269" y="173"/>
                    </a:cubicBezTo>
                    <a:cubicBezTo>
                      <a:pt x="268" y="170"/>
                      <a:pt x="266" y="171"/>
                      <a:pt x="265" y="168"/>
                    </a:cubicBezTo>
                    <a:cubicBezTo>
                      <a:pt x="263" y="167"/>
                      <a:pt x="266" y="168"/>
                      <a:pt x="263" y="165"/>
                    </a:cubicBezTo>
                    <a:cubicBezTo>
                      <a:pt x="262" y="162"/>
                      <a:pt x="262" y="162"/>
                      <a:pt x="255" y="165"/>
                    </a:cubicBezTo>
                    <a:cubicBezTo>
                      <a:pt x="252" y="165"/>
                      <a:pt x="257" y="167"/>
                      <a:pt x="254" y="167"/>
                    </a:cubicBezTo>
                    <a:cubicBezTo>
                      <a:pt x="251" y="168"/>
                      <a:pt x="255" y="170"/>
                      <a:pt x="251" y="171"/>
                    </a:cubicBezTo>
                    <a:cubicBezTo>
                      <a:pt x="246" y="171"/>
                      <a:pt x="246" y="174"/>
                      <a:pt x="245" y="173"/>
                    </a:cubicBezTo>
                    <a:cubicBezTo>
                      <a:pt x="243" y="173"/>
                      <a:pt x="246" y="171"/>
                      <a:pt x="240" y="167"/>
                    </a:cubicBezTo>
                    <a:cubicBezTo>
                      <a:pt x="233" y="164"/>
                      <a:pt x="237" y="162"/>
                      <a:pt x="233" y="160"/>
                    </a:cubicBezTo>
                    <a:cubicBezTo>
                      <a:pt x="230" y="159"/>
                      <a:pt x="231" y="159"/>
                      <a:pt x="233" y="157"/>
                    </a:cubicBezTo>
                    <a:cubicBezTo>
                      <a:pt x="233" y="154"/>
                      <a:pt x="228" y="156"/>
                      <a:pt x="227" y="157"/>
                    </a:cubicBezTo>
                    <a:cubicBezTo>
                      <a:pt x="225" y="157"/>
                      <a:pt x="225" y="157"/>
                      <a:pt x="222" y="156"/>
                    </a:cubicBezTo>
                    <a:cubicBezTo>
                      <a:pt x="220" y="154"/>
                      <a:pt x="223" y="159"/>
                      <a:pt x="217" y="156"/>
                    </a:cubicBezTo>
                    <a:cubicBezTo>
                      <a:pt x="217" y="28"/>
                      <a:pt x="217" y="28"/>
                      <a:pt x="217" y="28"/>
                    </a:cubicBezTo>
                    <a:cubicBezTo>
                      <a:pt x="208" y="28"/>
                      <a:pt x="208" y="22"/>
                      <a:pt x="199" y="22"/>
                    </a:cubicBezTo>
                    <a:close/>
                    <a:moveTo>
                      <a:pt x="734" y="349"/>
                    </a:moveTo>
                    <a:cubicBezTo>
                      <a:pt x="734" y="350"/>
                      <a:pt x="732" y="352"/>
                      <a:pt x="730" y="352"/>
                    </a:cubicBezTo>
                    <a:cubicBezTo>
                      <a:pt x="729" y="352"/>
                      <a:pt x="729" y="353"/>
                      <a:pt x="730" y="355"/>
                    </a:cubicBezTo>
                    <a:cubicBezTo>
                      <a:pt x="732" y="355"/>
                      <a:pt x="730" y="355"/>
                      <a:pt x="730" y="358"/>
                    </a:cubicBezTo>
                    <a:cubicBezTo>
                      <a:pt x="730" y="360"/>
                      <a:pt x="729" y="360"/>
                      <a:pt x="727" y="361"/>
                    </a:cubicBezTo>
                    <a:cubicBezTo>
                      <a:pt x="726" y="363"/>
                      <a:pt x="721" y="363"/>
                      <a:pt x="718" y="363"/>
                    </a:cubicBezTo>
                    <a:cubicBezTo>
                      <a:pt x="717" y="361"/>
                      <a:pt x="711" y="361"/>
                      <a:pt x="711" y="363"/>
                    </a:cubicBezTo>
                    <a:cubicBezTo>
                      <a:pt x="709" y="363"/>
                      <a:pt x="706" y="364"/>
                      <a:pt x="706" y="364"/>
                    </a:cubicBezTo>
                    <a:cubicBezTo>
                      <a:pt x="709" y="366"/>
                      <a:pt x="709" y="366"/>
                      <a:pt x="709" y="366"/>
                    </a:cubicBezTo>
                    <a:cubicBezTo>
                      <a:pt x="711" y="366"/>
                      <a:pt x="709" y="369"/>
                      <a:pt x="709" y="369"/>
                    </a:cubicBezTo>
                    <a:cubicBezTo>
                      <a:pt x="708" y="370"/>
                      <a:pt x="703" y="375"/>
                      <a:pt x="700" y="375"/>
                    </a:cubicBezTo>
                    <a:cubicBezTo>
                      <a:pt x="699" y="375"/>
                      <a:pt x="695" y="378"/>
                      <a:pt x="689" y="381"/>
                    </a:cubicBezTo>
                    <a:cubicBezTo>
                      <a:pt x="683" y="384"/>
                      <a:pt x="677" y="384"/>
                      <a:pt x="677" y="383"/>
                    </a:cubicBezTo>
                    <a:cubicBezTo>
                      <a:pt x="676" y="383"/>
                      <a:pt x="679" y="383"/>
                      <a:pt x="679" y="381"/>
                    </a:cubicBezTo>
                    <a:cubicBezTo>
                      <a:pt x="677" y="381"/>
                      <a:pt x="673" y="381"/>
                      <a:pt x="673" y="380"/>
                    </a:cubicBezTo>
                    <a:cubicBezTo>
                      <a:pt x="673" y="378"/>
                      <a:pt x="674" y="378"/>
                      <a:pt x="674" y="375"/>
                    </a:cubicBezTo>
                    <a:cubicBezTo>
                      <a:pt x="676" y="372"/>
                      <a:pt x="677" y="374"/>
                      <a:pt x="677" y="370"/>
                    </a:cubicBezTo>
                    <a:cubicBezTo>
                      <a:pt x="679" y="369"/>
                      <a:pt x="679" y="369"/>
                      <a:pt x="680" y="370"/>
                    </a:cubicBezTo>
                    <a:cubicBezTo>
                      <a:pt x="680" y="369"/>
                      <a:pt x="680" y="369"/>
                      <a:pt x="680" y="369"/>
                    </a:cubicBezTo>
                    <a:cubicBezTo>
                      <a:pt x="680" y="367"/>
                      <a:pt x="682" y="367"/>
                      <a:pt x="682" y="366"/>
                    </a:cubicBezTo>
                    <a:cubicBezTo>
                      <a:pt x="680" y="363"/>
                      <a:pt x="680" y="353"/>
                      <a:pt x="676" y="355"/>
                    </a:cubicBezTo>
                    <a:cubicBezTo>
                      <a:pt x="673" y="355"/>
                      <a:pt x="673" y="358"/>
                      <a:pt x="671" y="360"/>
                    </a:cubicBezTo>
                    <a:cubicBezTo>
                      <a:pt x="670" y="360"/>
                      <a:pt x="668" y="355"/>
                      <a:pt x="671" y="355"/>
                    </a:cubicBezTo>
                    <a:cubicBezTo>
                      <a:pt x="673" y="353"/>
                      <a:pt x="674" y="352"/>
                      <a:pt x="674" y="349"/>
                    </a:cubicBezTo>
                    <a:cubicBezTo>
                      <a:pt x="674" y="344"/>
                      <a:pt x="671" y="342"/>
                      <a:pt x="674" y="342"/>
                    </a:cubicBezTo>
                    <a:cubicBezTo>
                      <a:pt x="676" y="342"/>
                      <a:pt x="673" y="339"/>
                      <a:pt x="670" y="338"/>
                    </a:cubicBezTo>
                    <a:cubicBezTo>
                      <a:pt x="667" y="338"/>
                      <a:pt x="668" y="336"/>
                      <a:pt x="667" y="336"/>
                    </a:cubicBezTo>
                    <a:cubicBezTo>
                      <a:pt x="663" y="336"/>
                      <a:pt x="663" y="333"/>
                      <a:pt x="660" y="335"/>
                    </a:cubicBezTo>
                    <a:cubicBezTo>
                      <a:pt x="657" y="338"/>
                      <a:pt x="663" y="338"/>
                      <a:pt x="659" y="339"/>
                    </a:cubicBezTo>
                    <a:cubicBezTo>
                      <a:pt x="656" y="339"/>
                      <a:pt x="657" y="345"/>
                      <a:pt x="656" y="345"/>
                    </a:cubicBezTo>
                    <a:cubicBezTo>
                      <a:pt x="654" y="345"/>
                      <a:pt x="657" y="338"/>
                      <a:pt x="653" y="344"/>
                    </a:cubicBezTo>
                    <a:cubicBezTo>
                      <a:pt x="651" y="347"/>
                      <a:pt x="650" y="344"/>
                      <a:pt x="651" y="349"/>
                    </a:cubicBezTo>
                    <a:cubicBezTo>
                      <a:pt x="651" y="352"/>
                      <a:pt x="648" y="353"/>
                      <a:pt x="650" y="355"/>
                    </a:cubicBezTo>
                    <a:cubicBezTo>
                      <a:pt x="650" y="358"/>
                      <a:pt x="648" y="356"/>
                      <a:pt x="650" y="361"/>
                    </a:cubicBezTo>
                    <a:cubicBezTo>
                      <a:pt x="651" y="367"/>
                      <a:pt x="651" y="372"/>
                      <a:pt x="648" y="377"/>
                    </a:cubicBezTo>
                    <a:cubicBezTo>
                      <a:pt x="645" y="381"/>
                      <a:pt x="642" y="383"/>
                      <a:pt x="639" y="378"/>
                    </a:cubicBezTo>
                    <a:cubicBezTo>
                      <a:pt x="636" y="374"/>
                      <a:pt x="639" y="370"/>
                      <a:pt x="638" y="366"/>
                    </a:cubicBezTo>
                    <a:cubicBezTo>
                      <a:pt x="638" y="361"/>
                      <a:pt x="639" y="363"/>
                      <a:pt x="639" y="356"/>
                    </a:cubicBezTo>
                    <a:cubicBezTo>
                      <a:pt x="639" y="352"/>
                      <a:pt x="642" y="355"/>
                      <a:pt x="641" y="352"/>
                    </a:cubicBezTo>
                    <a:cubicBezTo>
                      <a:pt x="639" y="350"/>
                      <a:pt x="644" y="345"/>
                      <a:pt x="641" y="345"/>
                    </a:cubicBezTo>
                    <a:cubicBezTo>
                      <a:pt x="639" y="344"/>
                      <a:pt x="641" y="345"/>
                      <a:pt x="638" y="349"/>
                    </a:cubicBezTo>
                    <a:cubicBezTo>
                      <a:pt x="636" y="350"/>
                      <a:pt x="638" y="344"/>
                      <a:pt x="639" y="344"/>
                    </a:cubicBezTo>
                    <a:cubicBezTo>
                      <a:pt x="641" y="342"/>
                      <a:pt x="639" y="342"/>
                      <a:pt x="641" y="341"/>
                    </a:cubicBezTo>
                    <a:cubicBezTo>
                      <a:pt x="642" y="338"/>
                      <a:pt x="645" y="331"/>
                      <a:pt x="645" y="333"/>
                    </a:cubicBezTo>
                    <a:cubicBezTo>
                      <a:pt x="645" y="336"/>
                      <a:pt x="648" y="331"/>
                      <a:pt x="648" y="335"/>
                    </a:cubicBezTo>
                    <a:cubicBezTo>
                      <a:pt x="647" y="338"/>
                      <a:pt x="650" y="331"/>
                      <a:pt x="651" y="331"/>
                    </a:cubicBezTo>
                    <a:cubicBezTo>
                      <a:pt x="657" y="333"/>
                      <a:pt x="654" y="328"/>
                      <a:pt x="660" y="331"/>
                    </a:cubicBezTo>
                    <a:cubicBezTo>
                      <a:pt x="665" y="335"/>
                      <a:pt x="662" y="330"/>
                      <a:pt x="663" y="331"/>
                    </a:cubicBezTo>
                    <a:cubicBezTo>
                      <a:pt x="667" y="331"/>
                      <a:pt x="670" y="333"/>
                      <a:pt x="670" y="330"/>
                    </a:cubicBezTo>
                    <a:cubicBezTo>
                      <a:pt x="668" y="328"/>
                      <a:pt x="667" y="330"/>
                      <a:pt x="667" y="327"/>
                    </a:cubicBezTo>
                    <a:cubicBezTo>
                      <a:pt x="667" y="325"/>
                      <a:pt x="665" y="327"/>
                      <a:pt x="662" y="325"/>
                    </a:cubicBezTo>
                    <a:cubicBezTo>
                      <a:pt x="659" y="325"/>
                      <a:pt x="662" y="322"/>
                      <a:pt x="660" y="322"/>
                    </a:cubicBezTo>
                    <a:cubicBezTo>
                      <a:pt x="657" y="324"/>
                      <a:pt x="651" y="324"/>
                      <a:pt x="650" y="325"/>
                    </a:cubicBezTo>
                    <a:cubicBezTo>
                      <a:pt x="647" y="327"/>
                      <a:pt x="647" y="325"/>
                      <a:pt x="644" y="325"/>
                    </a:cubicBezTo>
                    <a:cubicBezTo>
                      <a:pt x="641" y="325"/>
                      <a:pt x="641" y="322"/>
                      <a:pt x="638" y="321"/>
                    </a:cubicBezTo>
                    <a:cubicBezTo>
                      <a:pt x="635" y="319"/>
                      <a:pt x="633" y="324"/>
                      <a:pt x="633" y="321"/>
                    </a:cubicBezTo>
                    <a:cubicBezTo>
                      <a:pt x="633" y="317"/>
                      <a:pt x="632" y="317"/>
                      <a:pt x="628" y="321"/>
                    </a:cubicBezTo>
                    <a:cubicBezTo>
                      <a:pt x="625" y="324"/>
                      <a:pt x="625" y="321"/>
                      <a:pt x="621" y="324"/>
                    </a:cubicBezTo>
                    <a:cubicBezTo>
                      <a:pt x="618" y="327"/>
                      <a:pt x="618" y="324"/>
                      <a:pt x="615" y="325"/>
                    </a:cubicBezTo>
                    <a:cubicBezTo>
                      <a:pt x="612" y="325"/>
                      <a:pt x="616" y="321"/>
                      <a:pt x="615" y="321"/>
                    </a:cubicBezTo>
                    <a:cubicBezTo>
                      <a:pt x="612" y="321"/>
                      <a:pt x="609" y="324"/>
                      <a:pt x="606" y="324"/>
                    </a:cubicBezTo>
                    <a:cubicBezTo>
                      <a:pt x="603" y="322"/>
                      <a:pt x="607" y="321"/>
                      <a:pt x="610" y="316"/>
                    </a:cubicBezTo>
                    <a:cubicBezTo>
                      <a:pt x="615" y="311"/>
                      <a:pt x="616" y="311"/>
                      <a:pt x="624" y="308"/>
                    </a:cubicBezTo>
                    <a:cubicBezTo>
                      <a:pt x="619" y="308"/>
                      <a:pt x="622" y="307"/>
                      <a:pt x="618" y="307"/>
                    </a:cubicBezTo>
                    <a:cubicBezTo>
                      <a:pt x="613" y="308"/>
                      <a:pt x="616" y="305"/>
                      <a:pt x="610" y="307"/>
                    </a:cubicBezTo>
                    <a:cubicBezTo>
                      <a:pt x="607" y="310"/>
                      <a:pt x="606" y="304"/>
                      <a:pt x="603" y="305"/>
                    </a:cubicBezTo>
                    <a:cubicBezTo>
                      <a:pt x="601" y="307"/>
                      <a:pt x="604" y="304"/>
                      <a:pt x="598" y="302"/>
                    </a:cubicBezTo>
                    <a:cubicBezTo>
                      <a:pt x="592" y="299"/>
                      <a:pt x="592" y="304"/>
                      <a:pt x="590" y="302"/>
                    </a:cubicBezTo>
                    <a:cubicBezTo>
                      <a:pt x="589" y="299"/>
                      <a:pt x="584" y="302"/>
                      <a:pt x="584" y="297"/>
                    </a:cubicBezTo>
                    <a:cubicBezTo>
                      <a:pt x="583" y="294"/>
                      <a:pt x="583" y="293"/>
                      <a:pt x="581" y="293"/>
                    </a:cubicBezTo>
                    <a:cubicBezTo>
                      <a:pt x="580" y="291"/>
                      <a:pt x="581" y="297"/>
                      <a:pt x="580" y="297"/>
                    </a:cubicBezTo>
                    <a:cubicBezTo>
                      <a:pt x="360" y="297"/>
                      <a:pt x="360" y="297"/>
                      <a:pt x="360" y="297"/>
                    </a:cubicBezTo>
                    <a:cubicBezTo>
                      <a:pt x="360" y="300"/>
                      <a:pt x="364" y="299"/>
                      <a:pt x="364" y="302"/>
                    </a:cubicBezTo>
                    <a:cubicBezTo>
                      <a:pt x="364" y="304"/>
                      <a:pt x="360" y="302"/>
                      <a:pt x="362" y="305"/>
                    </a:cubicBezTo>
                    <a:cubicBezTo>
                      <a:pt x="365" y="308"/>
                      <a:pt x="365" y="308"/>
                      <a:pt x="365" y="314"/>
                    </a:cubicBezTo>
                    <a:cubicBezTo>
                      <a:pt x="364" y="321"/>
                      <a:pt x="364" y="313"/>
                      <a:pt x="362" y="308"/>
                    </a:cubicBezTo>
                    <a:cubicBezTo>
                      <a:pt x="360" y="305"/>
                      <a:pt x="353" y="307"/>
                      <a:pt x="348" y="305"/>
                    </a:cubicBezTo>
                    <a:cubicBezTo>
                      <a:pt x="345" y="302"/>
                      <a:pt x="345" y="307"/>
                      <a:pt x="348" y="310"/>
                    </a:cubicBezTo>
                    <a:cubicBezTo>
                      <a:pt x="350" y="314"/>
                      <a:pt x="351" y="325"/>
                      <a:pt x="351" y="333"/>
                    </a:cubicBezTo>
                    <a:cubicBezTo>
                      <a:pt x="351" y="341"/>
                      <a:pt x="351" y="356"/>
                      <a:pt x="348" y="364"/>
                    </a:cubicBezTo>
                    <a:cubicBezTo>
                      <a:pt x="345" y="370"/>
                      <a:pt x="353" y="381"/>
                      <a:pt x="350" y="389"/>
                    </a:cubicBezTo>
                    <a:cubicBezTo>
                      <a:pt x="347" y="398"/>
                      <a:pt x="353" y="397"/>
                      <a:pt x="353" y="406"/>
                    </a:cubicBezTo>
                    <a:cubicBezTo>
                      <a:pt x="354" y="415"/>
                      <a:pt x="359" y="414"/>
                      <a:pt x="359" y="419"/>
                    </a:cubicBezTo>
                    <a:cubicBezTo>
                      <a:pt x="360" y="423"/>
                      <a:pt x="364" y="420"/>
                      <a:pt x="364" y="426"/>
                    </a:cubicBezTo>
                    <a:cubicBezTo>
                      <a:pt x="365" y="434"/>
                      <a:pt x="370" y="431"/>
                      <a:pt x="368" y="436"/>
                    </a:cubicBezTo>
                    <a:cubicBezTo>
                      <a:pt x="367" y="439"/>
                      <a:pt x="370" y="440"/>
                      <a:pt x="374" y="448"/>
                    </a:cubicBezTo>
                    <a:cubicBezTo>
                      <a:pt x="380" y="454"/>
                      <a:pt x="377" y="458"/>
                      <a:pt x="379" y="459"/>
                    </a:cubicBezTo>
                    <a:cubicBezTo>
                      <a:pt x="382" y="461"/>
                      <a:pt x="386" y="459"/>
                      <a:pt x="392" y="465"/>
                    </a:cubicBezTo>
                    <a:cubicBezTo>
                      <a:pt x="397" y="470"/>
                      <a:pt x="397" y="465"/>
                      <a:pt x="402" y="470"/>
                    </a:cubicBezTo>
                    <a:cubicBezTo>
                      <a:pt x="406" y="475"/>
                      <a:pt x="405" y="476"/>
                      <a:pt x="406" y="481"/>
                    </a:cubicBezTo>
                    <a:cubicBezTo>
                      <a:pt x="411" y="479"/>
                      <a:pt x="421" y="479"/>
                      <a:pt x="424" y="478"/>
                    </a:cubicBezTo>
                    <a:cubicBezTo>
                      <a:pt x="424" y="481"/>
                      <a:pt x="424" y="481"/>
                      <a:pt x="424" y="481"/>
                    </a:cubicBezTo>
                    <a:cubicBezTo>
                      <a:pt x="429" y="482"/>
                      <a:pt x="452" y="492"/>
                      <a:pt x="455" y="493"/>
                    </a:cubicBezTo>
                    <a:cubicBezTo>
                      <a:pt x="478" y="493"/>
                      <a:pt x="478" y="493"/>
                      <a:pt x="478" y="493"/>
                    </a:cubicBezTo>
                    <a:cubicBezTo>
                      <a:pt x="478" y="489"/>
                      <a:pt x="478" y="489"/>
                      <a:pt x="478" y="489"/>
                    </a:cubicBezTo>
                    <a:cubicBezTo>
                      <a:pt x="490" y="489"/>
                      <a:pt x="490" y="489"/>
                      <a:pt x="490" y="489"/>
                    </a:cubicBezTo>
                    <a:cubicBezTo>
                      <a:pt x="490" y="489"/>
                      <a:pt x="499" y="498"/>
                      <a:pt x="502" y="501"/>
                    </a:cubicBezTo>
                    <a:cubicBezTo>
                      <a:pt x="507" y="504"/>
                      <a:pt x="505" y="512"/>
                      <a:pt x="513" y="517"/>
                    </a:cubicBezTo>
                    <a:cubicBezTo>
                      <a:pt x="522" y="520"/>
                      <a:pt x="516" y="506"/>
                      <a:pt x="526" y="507"/>
                    </a:cubicBezTo>
                    <a:cubicBezTo>
                      <a:pt x="536" y="509"/>
                      <a:pt x="537" y="521"/>
                      <a:pt x="543" y="529"/>
                    </a:cubicBezTo>
                    <a:cubicBezTo>
                      <a:pt x="549" y="537"/>
                      <a:pt x="545" y="546"/>
                      <a:pt x="558" y="548"/>
                    </a:cubicBezTo>
                    <a:cubicBezTo>
                      <a:pt x="560" y="548"/>
                      <a:pt x="563" y="551"/>
                      <a:pt x="563" y="549"/>
                    </a:cubicBezTo>
                    <a:cubicBezTo>
                      <a:pt x="563" y="549"/>
                      <a:pt x="563" y="549"/>
                      <a:pt x="565" y="549"/>
                    </a:cubicBezTo>
                    <a:cubicBezTo>
                      <a:pt x="565" y="545"/>
                      <a:pt x="561" y="538"/>
                      <a:pt x="563" y="535"/>
                    </a:cubicBezTo>
                    <a:cubicBezTo>
                      <a:pt x="563" y="532"/>
                      <a:pt x="565" y="531"/>
                      <a:pt x="566" y="529"/>
                    </a:cubicBezTo>
                    <a:cubicBezTo>
                      <a:pt x="568" y="526"/>
                      <a:pt x="572" y="524"/>
                      <a:pt x="571" y="523"/>
                    </a:cubicBezTo>
                    <a:cubicBezTo>
                      <a:pt x="569" y="523"/>
                      <a:pt x="568" y="521"/>
                      <a:pt x="569" y="521"/>
                    </a:cubicBezTo>
                    <a:cubicBezTo>
                      <a:pt x="571" y="523"/>
                      <a:pt x="571" y="520"/>
                      <a:pt x="572" y="521"/>
                    </a:cubicBezTo>
                    <a:cubicBezTo>
                      <a:pt x="574" y="523"/>
                      <a:pt x="578" y="520"/>
                      <a:pt x="580" y="517"/>
                    </a:cubicBezTo>
                    <a:cubicBezTo>
                      <a:pt x="583" y="515"/>
                      <a:pt x="583" y="515"/>
                      <a:pt x="586" y="512"/>
                    </a:cubicBezTo>
                    <a:cubicBezTo>
                      <a:pt x="589" y="510"/>
                      <a:pt x="589" y="510"/>
                      <a:pt x="593" y="509"/>
                    </a:cubicBezTo>
                    <a:cubicBezTo>
                      <a:pt x="600" y="509"/>
                      <a:pt x="600" y="512"/>
                      <a:pt x="603" y="512"/>
                    </a:cubicBezTo>
                    <a:cubicBezTo>
                      <a:pt x="606" y="510"/>
                      <a:pt x="606" y="513"/>
                      <a:pt x="607" y="512"/>
                    </a:cubicBezTo>
                    <a:cubicBezTo>
                      <a:pt x="609" y="510"/>
                      <a:pt x="603" y="510"/>
                      <a:pt x="606" y="509"/>
                    </a:cubicBezTo>
                    <a:cubicBezTo>
                      <a:pt x="607" y="509"/>
                      <a:pt x="609" y="510"/>
                      <a:pt x="609" y="512"/>
                    </a:cubicBezTo>
                    <a:cubicBezTo>
                      <a:pt x="610" y="513"/>
                      <a:pt x="613" y="512"/>
                      <a:pt x="612" y="513"/>
                    </a:cubicBezTo>
                    <a:cubicBezTo>
                      <a:pt x="610" y="515"/>
                      <a:pt x="616" y="517"/>
                      <a:pt x="616" y="517"/>
                    </a:cubicBezTo>
                    <a:cubicBezTo>
                      <a:pt x="616" y="515"/>
                      <a:pt x="618" y="513"/>
                      <a:pt x="619" y="517"/>
                    </a:cubicBezTo>
                    <a:cubicBezTo>
                      <a:pt x="619" y="518"/>
                      <a:pt x="622" y="515"/>
                      <a:pt x="621" y="513"/>
                    </a:cubicBezTo>
                    <a:cubicBezTo>
                      <a:pt x="619" y="512"/>
                      <a:pt x="622" y="512"/>
                      <a:pt x="624" y="515"/>
                    </a:cubicBezTo>
                    <a:cubicBezTo>
                      <a:pt x="627" y="517"/>
                      <a:pt x="625" y="520"/>
                      <a:pt x="627" y="517"/>
                    </a:cubicBezTo>
                    <a:cubicBezTo>
                      <a:pt x="630" y="515"/>
                      <a:pt x="628" y="515"/>
                      <a:pt x="625" y="512"/>
                    </a:cubicBezTo>
                    <a:cubicBezTo>
                      <a:pt x="622" y="510"/>
                      <a:pt x="628" y="510"/>
                      <a:pt x="627" y="507"/>
                    </a:cubicBezTo>
                    <a:cubicBezTo>
                      <a:pt x="625" y="506"/>
                      <a:pt x="625" y="509"/>
                      <a:pt x="624" y="509"/>
                    </a:cubicBezTo>
                    <a:cubicBezTo>
                      <a:pt x="622" y="507"/>
                      <a:pt x="625" y="507"/>
                      <a:pt x="622" y="506"/>
                    </a:cubicBezTo>
                    <a:cubicBezTo>
                      <a:pt x="621" y="506"/>
                      <a:pt x="622" y="507"/>
                      <a:pt x="619" y="507"/>
                    </a:cubicBezTo>
                    <a:cubicBezTo>
                      <a:pt x="616" y="506"/>
                      <a:pt x="619" y="501"/>
                      <a:pt x="622" y="504"/>
                    </a:cubicBezTo>
                    <a:cubicBezTo>
                      <a:pt x="625" y="506"/>
                      <a:pt x="625" y="506"/>
                      <a:pt x="628" y="504"/>
                    </a:cubicBezTo>
                    <a:cubicBezTo>
                      <a:pt x="630" y="501"/>
                      <a:pt x="636" y="504"/>
                      <a:pt x="636" y="503"/>
                    </a:cubicBezTo>
                    <a:cubicBezTo>
                      <a:pt x="638" y="501"/>
                      <a:pt x="636" y="498"/>
                      <a:pt x="639" y="503"/>
                    </a:cubicBezTo>
                    <a:cubicBezTo>
                      <a:pt x="639" y="504"/>
                      <a:pt x="635" y="506"/>
                      <a:pt x="639" y="504"/>
                    </a:cubicBezTo>
                    <a:cubicBezTo>
                      <a:pt x="644" y="504"/>
                      <a:pt x="648" y="503"/>
                      <a:pt x="651" y="504"/>
                    </a:cubicBezTo>
                    <a:cubicBezTo>
                      <a:pt x="654" y="504"/>
                      <a:pt x="656" y="504"/>
                      <a:pt x="656" y="506"/>
                    </a:cubicBezTo>
                    <a:cubicBezTo>
                      <a:pt x="656" y="507"/>
                      <a:pt x="657" y="506"/>
                      <a:pt x="657" y="509"/>
                    </a:cubicBezTo>
                    <a:cubicBezTo>
                      <a:pt x="657" y="512"/>
                      <a:pt x="663" y="509"/>
                      <a:pt x="665" y="509"/>
                    </a:cubicBezTo>
                    <a:cubicBezTo>
                      <a:pt x="667" y="509"/>
                      <a:pt x="665" y="506"/>
                      <a:pt x="668" y="506"/>
                    </a:cubicBezTo>
                    <a:cubicBezTo>
                      <a:pt x="671" y="506"/>
                      <a:pt x="676" y="515"/>
                      <a:pt x="677" y="515"/>
                    </a:cubicBezTo>
                    <a:cubicBezTo>
                      <a:pt x="679" y="515"/>
                      <a:pt x="680" y="521"/>
                      <a:pt x="679" y="524"/>
                    </a:cubicBezTo>
                    <a:cubicBezTo>
                      <a:pt x="677" y="529"/>
                      <a:pt x="679" y="532"/>
                      <a:pt x="680" y="531"/>
                    </a:cubicBezTo>
                    <a:cubicBezTo>
                      <a:pt x="680" y="529"/>
                      <a:pt x="683" y="529"/>
                      <a:pt x="680" y="532"/>
                    </a:cubicBezTo>
                    <a:cubicBezTo>
                      <a:pt x="679" y="534"/>
                      <a:pt x="680" y="538"/>
                      <a:pt x="682" y="540"/>
                    </a:cubicBezTo>
                    <a:cubicBezTo>
                      <a:pt x="685" y="541"/>
                      <a:pt x="683" y="538"/>
                      <a:pt x="685" y="541"/>
                    </a:cubicBezTo>
                    <a:cubicBezTo>
                      <a:pt x="685" y="545"/>
                      <a:pt x="686" y="543"/>
                      <a:pt x="686" y="546"/>
                    </a:cubicBezTo>
                    <a:cubicBezTo>
                      <a:pt x="688" y="551"/>
                      <a:pt x="689" y="548"/>
                      <a:pt x="691" y="552"/>
                    </a:cubicBezTo>
                    <a:cubicBezTo>
                      <a:pt x="691" y="557"/>
                      <a:pt x="692" y="554"/>
                      <a:pt x="692" y="555"/>
                    </a:cubicBezTo>
                    <a:cubicBezTo>
                      <a:pt x="691" y="557"/>
                      <a:pt x="692" y="559"/>
                      <a:pt x="694" y="557"/>
                    </a:cubicBezTo>
                    <a:cubicBezTo>
                      <a:pt x="697" y="555"/>
                      <a:pt x="695" y="560"/>
                      <a:pt x="697" y="557"/>
                    </a:cubicBezTo>
                    <a:cubicBezTo>
                      <a:pt x="700" y="554"/>
                      <a:pt x="697" y="554"/>
                      <a:pt x="699" y="552"/>
                    </a:cubicBezTo>
                    <a:cubicBezTo>
                      <a:pt x="700" y="549"/>
                      <a:pt x="700" y="546"/>
                      <a:pt x="700" y="543"/>
                    </a:cubicBezTo>
                    <a:cubicBezTo>
                      <a:pt x="702" y="538"/>
                      <a:pt x="695" y="529"/>
                      <a:pt x="697" y="524"/>
                    </a:cubicBezTo>
                    <a:cubicBezTo>
                      <a:pt x="697" y="521"/>
                      <a:pt x="691" y="517"/>
                      <a:pt x="689" y="504"/>
                    </a:cubicBezTo>
                    <a:cubicBezTo>
                      <a:pt x="688" y="492"/>
                      <a:pt x="694" y="485"/>
                      <a:pt x="695" y="482"/>
                    </a:cubicBezTo>
                    <a:cubicBezTo>
                      <a:pt x="699" y="481"/>
                      <a:pt x="695" y="481"/>
                      <a:pt x="699" y="481"/>
                    </a:cubicBezTo>
                    <a:cubicBezTo>
                      <a:pt x="702" y="481"/>
                      <a:pt x="703" y="476"/>
                      <a:pt x="705" y="476"/>
                    </a:cubicBezTo>
                    <a:cubicBezTo>
                      <a:pt x="708" y="475"/>
                      <a:pt x="706" y="470"/>
                      <a:pt x="711" y="467"/>
                    </a:cubicBezTo>
                    <a:cubicBezTo>
                      <a:pt x="715" y="464"/>
                      <a:pt x="717" y="467"/>
                      <a:pt x="718" y="464"/>
                    </a:cubicBezTo>
                    <a:cubicBezTo>
                      <a:pt x="718" y="461"/>
                      <a:pt x="723" y="458"/>
                      <a:pt x="726" y="458"/>
                    </a:cubicBezTo>
                    <a:cubicBezTo>
                      <a:pt x="730" y="456"/>
                      <a:pt x="730" y="454"/>
                      <a:pt x="730" y="453"/>
                    </a:cubicBezTo>
                    <a:cubicBezTo>
                      <a:pt x="729" y="453"/>
                      <a:pt x="727" y="456"/>
                      <a:pt x="726" y="454"/>
                    </a:cubicBezTo>
                    <a:cubicBezTo>
                      <a:pt x="724" y="453"/>
                      <a:pt x="726" y="454"/>
                      <a:pt x="727" y="453"/>
                    </a:cubicBezTo>
                    <a:cubicBezTo>
                      <a:pt x="729" y="450"/>
                      <a:pt x="723" y="448"/>
                      <a:pt x="727" y="450"/>
                    </a:cubicBezTo>
                    <a:cubicBezTo>
                      <a:pt x="730" y="450"/>
                      <a:pt x="730" y="451"/>
                      <a:pt x="732" y="450"/>
                    </a:cubicBezTo>
                    <a:cubicBezTo>
                      <a:pt x="734" y="447"/>
                      <a:pt x="734" y="450"/>
                      <a:pt x="734" y="447"/>
                    </a:cubicBezTo>
                    <a:cubicBezTo>
                      <a:pt x="735" y="443"/>
                      <a:pt x="734" y="443"/>
                      <a:pt x="734" y="443"/>
                    </a:cubicBezTo>
                    <a:cubicBezTo>
                      <a:pt x="732" y="445"/>
                      <a:pt x="734" y="443"/>
                      <a:pt x="729" y="443"/>
                    </a:cubicBezTo>
                    <a:cubicBezTo>
                      <a:pt x="726" y="445"/>
                      <a:pt x="726" y="443"/>
                      <a:pt x="726" y="442"/>
                    </a:cubicBezTo>
                    <a:cubicBezTo>
                      <a:pt x="726" y="440"/>
                      <a:pt x="727" y="445"/>
                      <a:pt x="730" y="442"/>
                    </a:cubicBezTo>
                    <a:cubicBezTo>
                      <a:pt x="734" y="439"/>
                      <a:pt x="735" y="445"/>
                      <a:pt x="737" y="445"/>
                    </a:cubicBezTo>
                    <a:cubicBezTo>
                      <a:pt x="737" y="445"/>
                      <a:pt x="735" y="443"/>
                      <a:pt x="734" y="434"/>
                    </a:cubicBezTo>
                    <a:cubicBezTo>
                      <a:pt x="732" y="431"/>
                      <a:pt x="730" y="433"/>
                      <a:pt x="729" y="434"/>
                    </a:cubicBezTo>
                    <a:cubicBezTo>
                      <a:pt x="727" y="434"/>
                      <a:pt x="732" y="431"/>
                      <a:pt x="729" y="429"/>
                    </a:cubicBezTo>
                    <a:cubicBezTo>
                      <a:pt x="727" y="428"/>
                      <a:pt x="730" y="431"/>
                      <a:pt x="730" y="426"/>
                    </a:cubicBezTo>
                    <a:cubicBezTo>
                      <a:pt x="729" y="422"/>
                      <a:pt x="732" y="423"/>
                      <a:pt x="729" y="422"/>
                    </a:cubicBezTo>
                    <a:cubicBezTo>
                      <a:pt x="726" y="419"/>
                      <a:pt x="724" y="417"/>
                      <a:pt x="727" y="420"/>
                    </a:cubicBezTo>
                    <a:cubicBezTo>
                      <a:pt x="730" y="422"/>
                      <a:pt x="729" y="420"/>
                      <a:pt x="729" y="417"/>
                    </a:cubicBezTo>
                    <a:cubicBezTo>
                      <a:pt x="727" y="414"/>
                      <a:pt x="727" y="412"/>
                      <a:pt x="729" y="411"/>
                    </a:cubicBezTo>
                    <a:cubicBezTo>
                      <a:pt x="729" y="408"/>
                      <a:pt x="729" y="408"/>
                      <a:pt x="730" y="406"/>
                    </a:cubicBezTo>
                    <a:cubicBezTo>
                      <a:pt x="732" y="405"/>
                      <a:pt x="730" y="406"/>
                      <a:pt x="730" y="408"/>
                    </a:cubicBezTo>
                    <a:cubicBezTo>
                      <a:pt x="729" y="409"/>
                      <a:pt x="729" y="411"/>
                      <a:pt x="730" y="412"/>
                    </a:cubicBezTo>
                    <a:cubicBezTo>
                      <a:pt x="730" y="414"/>
                      <a:pt x="729" y="414"/>
                      <a:pt x="730" y="415"/>
                    </a:cubicBezTo>
                    <a:cubicBezTo>
                      <a:pt x="730" y="417"/>
                      <a:pt x="729" y="417"/>
                      <a:pt x="730" y="419"/>
                    </a:cubicBezTo>
                    <a:cubicBezTo>
                      <a:pt x="732" y="420"/>
                      <a:pt x="732" y="417"/>
                      <a:pt x="734" y="419"/>
                    </a:cubicBezTo>
                    <a:cubicBezTo>
                      <a:pt x="734" y="422"/>
                      <a:pt x="732" y="422"/>
                      <a:pt x="734" y="422"/>
                    </a:cubicBezTo>
                    <a:cubicBezTo>
                      <a:pt x="735" y="423"/>
                      <a:pt x="730" y="429"/>
                      <a:pt x="732" y="431"/>
                    </a:cubicBezTo>
                    <a:cubicBezTo>
                      <a:pt x="734" y="431"/>
                      <a:pt x="735" y="423"/>
                      <a:pt x="738" y="420"/>
                    </a:cubicBezTo>
                    <a:cubicBezTo>
                      <a:pt x="741" y="415"/>
                      <a:pt x="740" y="412"/>
                      <a:pt x="738" y="412"/>
                    </a:cubicBezTo>
                    <a:cubicBezTo>
                      <a:pt x="737" y="412"/>
                      <a:pt x="737" y="409"/>
                      <a:pt x="735" y="406"/>
                    </a:cubicBezTo>
                    <a:cubicBezTo>
                      <a:pt x="735" y="403"/>
                      <a:pt x="735" y="401"/>
                      <a:pt x="738" y="400"/>
                    </a:cubicBezTo>
                    <a:cubicBezTo>
                      <a:pt x="741" y="398"/>
                      <a:pt x="734" y="401"/>
                      <a:pt x="737" y="406"/>
                    </a:cubicBezTo>
                    <a:cubicBezTo>
                      <a:pt x="740" y="411"/>
                      <a:pt x="741" y="406"/>
                      <a:pt x="741" y="409"/>
                    </a:cubicBezTo>
                    <a:cubicBezTo>
                      <a:pt x="740" y="414"/>
                      <a:pt x="743" y="409"/>
                      <a:pt x="746" y="405"/>
                    </a:cubicBezTo>
                    <a:cubicBezTo>
                      <a:pt x="747" y="400"/>
                      <a:pt x="750" y="395"/>
                      <a:pt x="747" y="395"/>
                    </a:cubicBezTo>
                    <a:cubicBezTo>
                      <a:pt x="746" y="395"/>
                      <a:pt x="746" y="394"/>
                      <a:pt x="747" y="391"/>
                    </a:cubicBezTo>
                    <a:cubicBezTo>
                      <a:pt x="750" y="389"/>
                      <a:pt x="755" y="386"/>
                      <a:pt x="758" y="386"/>
                    </a:cubicBezTo>
                    <a:cubicBezTo>
                      <a:pt x="761" y="384"/>
                      <a:pt x="769" y="384"/>
                      <a:pt x="769" y="383"/>
                    </a:cubicBezTo>
                    <a:cubicBezTo>
                      <a:pt x="769" y="381"/>
                      <a:pt x="769" y="378"/>
                      <a:pt x="770" y="381"/>
                    </a:cubicBezTo>
                    <a:cubicBezTo>
                      <a:pt x="770" y="383"/>
                      <a:pt x="770" y="384"/>
                      <a:pt x="773" y="381"/>
                    </a:cubicBezTo>
                    <a:cubicBezTo>
                      <a:pt x="776" y="378"/>
                      <a:pt x="773" y="384"/>
                      <a:pt x="776" y="383"/>
                    </a:cubicBezTo>
                    <a:cubicBezTo>
                      <a:pt x="778" y="380"/>
                      <a:pt x="781" y="383"/>
                      <a:pt x="781" y="380"/>
                    </a:cubicBezTo>
                    <a:cubicBezTo>
                      <a:pt x="779" y="377"/>
                      <a:pt x="779" y="375"/>
                      <a:pt x="778" y="377"/>
                    </a:cubicBezTo>
                    <a:cubicBezTo>
                      <a:pt x="778" y="377"/>
                      <a:pt x="779" y="377"/>
                      <a:pt x="779" y="378"/>
                    </a:cubicBezTo>
                    <a:cubicBezTo>
                      <a:pt x="779" y="380"/>
                      <a:pt x="776" y="381"/>
                      <a:pt x="776" y="378"/>
                    </a:cubicBezTo>
                    <a:cubicBezTo>
                      <a:pt x="775" y="375"/>
                      <a:pt x="775" y="375"/>
                      <a:pt x="773" y="374"/>
                    </a:cubicBezTo>
                    <a:cubicBezTo>
                      <a:pt x="770" y="374"/>
                      <a:pt x="776" y="370"/>
                      <a:pt x="775" y="369"/>
                    </a:cubicBezTo>
                    <a:cubicBezTo>
                      <a:pt x="773" y="369"/>
                      <a:pt x="775" y="363"/>
                      <a:pt x="778" y="360"/>
                    </a:cubicBezTo>
                    <a:cubicBezTo>
                      <a:pt x="779" y="358"/>
                      <a:pt x="776" y="358"/>
                      <a:pt x="778" y="356"/>
                    </a:cubicBezTo>
                    <a:cubicBezTo>
                      <a:pt x="779" y="356"/>
                      <a:pt x="779" y="360"/>
                      <a:pt x="782" y="358"/>
                    </a:cubicBezTo>
                    <a:cubicBezTo>
                      <a:pt x="784" y="356"/>
                      <a:pt x="784" y="355"/>
                      <a:pt x="785" y="355"/>
                    </a:cubicBezTo>
                    <a:cubicBezTo>
                      <a:pt x="788" y="355"/>
                      <a:pt x="787" y="349"/>
                      <a:pt x="790" y="350"/>
                    </a:cubicBezTo>
                    <a:cubicBezTo>
                      <a:pt x="793" y="352"/>
                      <a:pt x="791" y="350"/>
                      <a:pt x="793" y="350"/>
                    </a:cubicBezTo>
                    <a:cubicBezTo>
                      <a:pt x="794" y="349"/>
                      <a:pt x="794" y="352"/>
                      <a:pt x="796" y="349"/>
                    </a:cubicBezTo>
                    <a:cubicBezTo>
                      <a:pt x="799" y="347"/>
                      <a:pt x="801" y="349"/>
                      <a:pt x="802" y="347"/>
                    </a:cubicBezTo>
                    <a:cubicBezTo>
                      <a:pt x="804" y="344"/>
                      <a:pt x="804" y="345"/>
                      <a:pt x="802" y="344"/>
                    </a:cubicBezTo>
                    <a:cubicBezTo>
                      <a:pt x="802" y="342"/>
                      <a:pt x="802" y="341"/>
                      <a:pt x="801" y="341"/>
                    </a:cubicBezTo>
                    <a:cubicBezTo>
                      <a:pt x="799" y="341"/>
                      <a:pt x="799" y="338"/>
                      <a:pt x="799" y="336"/>
                    </a:cubicBezTo>
                    <a:cubicBezTo>
                      <a:pt x="799" y="336"/>
                      <a:pt x="799" y="336"/>
                      <a:pt x="798" y="335"/>
                    </a:cubicBezTo>
                    <a:cubicBezTo>
                      <a:pt x="796" y="335"/>
                      <a:pt x="798" y="335"/>
                      <a:pt x="798" y="333"/>
                    </a:cubicBezTo>
                    <a:cubicBezTo>
                      <a:pt x="798" y="331"/>
                      <a:pt x="798" y="324"/>
                      <a:pt x="798" y="322"/>
                    </a:cubicBezTo>
                    <a:cubicBezTo>
                      <a:pt x="798" y="319"/>
                      <a:pt x="798" y="319"/>
                      <a:pt x="794" y="317"/>
                    </a:cubicBezTo>
                    <a:cubicBezTo>
                      <a:pt x="793" y="314"/>
                      <a:pt x="791" y="316"/>
                      <a:pt x="790" y="317"/>
                    </a:cubicBezTo>
                    <a:cubicBezTo>
                      <a:pt x="788" y="317"/>
                      <a:pt x="787" y="317"/>
                      <a:pt x="787" y="316"/>
                    </a:cubicBezTo>
                    <a:cubicBezTo>
                      <a:pt x="787" y="314"/>
                      <a:pt x="785" y="314"/>
                      <a:pt x="785" y="314"/>
                    </a:cubicBezTo>
                    <a:cubicBezTo>
                      <a:pt x="785" y="314"/>
                      <a:pt x="782" y="319"/>
                      <a:pt x="781" y="322"/>
                    </a:cubicBezTo>
                    <a:cubicBezTo>
                      <a:pt x="778" y="325"/>
                      <a:pt x="781" y="325"/>
                      <a:pt x="779" y="327"/>
                    </a:cubicBezTo>
                    <a:cubicBezTo>
                      <a:pt x="776" y="330"/>
                      <a:pt x="779" y="331"/>
                      <a:pt x="778" y="333"/>
                    </a:cubicBezTo>
                    <a:cubicBezTo>
                      <a:pt x="775" y="335"/>
                      <a:pt x="778" y="333"/>
                      <a:pt x="775" y="336"/>
                    </a:cubicBezTo>
                    <a:cubicBezTo>
                      <a:pt x="772" y="338"/>
                      <a:pt x="776" y="338"/>
                      <a:pt x="775" y="338"/>
                    </a:cubicBezTo>
                    <a:cubicBezTo>
                      <a:pt x="773" y="338"/>
                      <a:pt x="773" y="341"/>
                      <a:pt x="772" y="339"/>
                    </a:cubicBezTo>
                    <a:cubicBezTo>
                      <a:pt x="772" y="339"/>
                      <a:pt x="772" y="341"/>
                      <a:pt x="770" y="339"/>
                    </a:cubicBezTo>
                    <a:cubicBezTo>
                      <a:pt x="769" y="339"/>
                      <a:pt x="769" y="339"/>
                      <a:pt x="769" y="342"/>
                    </a:cubicBezTo>
                    <a:cubicBezTo>
                      <a:pt x="746" y="342"/>
                      <a:pt x="746" y="342"/>
                      <a:pt x="746" y="342"/>
                    </a:cubicBezTo>
                    <a:cubicBezTo>
                      <a:pt x="744" y="342"/>
                      <a:pt x="743" y="344"/>
                      <a:pt x="743" y="342"/>
                    </a:cubicBezTo>
                    <a:cubicBezTo>
                      <a:pt x="741" y="342"/>
                      <a:pt x="737" y="345"/>
                      <a:pt x="734" y="349"/>
                    </a:cubicBezTo>
                    <a:close/>
                    <a:moveTo>
                      <a:pt x="807" y="630"/>
                    </a:moveTo>
                    <a:cubicBezTo>
                      <a:pt x="810" y="629"/>
                      <a:pt x="808" y="630"/>
                      <a:pt x="813" y="630"/>
                    </a:cubicBezTo>
                    <a:cubicBezTo>
                      <a:pt x="816" y="629"/>
                      <a:pt x="817" y="625"/>
                      <a:pt x="811" y="625"/>
                    </a:cubicBezTo>
                    <a:cubicBezTo>
                      <a:pt x="805" y="624"/>
                      <a:pt x="802" y="624"/>
                      <a:pt x="802" y="629"/>
                    </a:cubicBezTo>
                    <a:cubicBezTo>
                      <a:pt x="804" y="630"/>
                      <a:pt x="802" y="630"/>
                      <a:pt x="807" y="630"/>
                    </a:cubicBezTo>
                    <a:close/>
                    <a:moveTo>
                      <a:pt x="100" y="619"/>
                    </a:moveTo>
                    <a:cubicBezTo>
                      <a:pt x="102" y="616"/>
                      <a:pt x="106" y="618"/>
                      <a:pt x="106" y="615"/>
                    </a:cubicBezTo>
                    <a:cubicBezTo>
                      <a:pt x="106" y="615"/>
                      <a:pt x="106" y="615"/>
                      <a:pt x="106" y="615"/>
                    </a:cubicBezTo>
                    <a:cubicBezTo>
                      <a:pt x="106" y="615"/>
                      <a:pt x="106" y="615"/>
                      <a:pt x="106" y="613"/>
                    </a:cubicBezTo>
                    <a:cubicBezTo>
                      <a:pt x="105" y="613"/>
                      <a:pt x="105" y="613"/>
                      <a:pt x="105" y="613"/>
                    </a:cubicBezTo>
                    <a:cubicBezTo>
                      <a:pt x="105" y="611"/>
                      <a:pt x="105" y="613"/>
                      <a:pt x="105" y="613"/>
                    </a:cubicBezTo>
                    <a:cubicBezTo>
                      <a:pt x="105" y="611"/>
                      <a:pt x="105" y="610"/>
                      <a:pt x="103" y="610"/>
                    </a:cubicBezTo>
                    <a:cubicBezTo>
                      <a:pt x="103" y="610"/>
                      <a:pt x="100" y="607"/>
                      <a:pt x="99" y="607"/>
                    </a:cubicBezTo>
                    <a:cubicBezTo>
                      <a:pt x="99" y="607"/>
                      <a:pt x="99" y="607"/>
                      <a:pt x="99" y="607"/>
                    </a:cubicBezTo>
                    <a:cubicBezTo>
                      <a:pt x="97" y="607"/>
                      <a:pt x="99" y="610"/>
                      <a:pt x="99" y="610"/>
                    </a:cubicBezTo>
                    <a:cubicBezTo>
                      <a:pt x="99" y="610"/>
                      <a:pt x="97" y="611"/>
                      <a:pt x="97" y="613"/>
                    </a:cubicBezTo>
                    <a:cubicBezTo>
                      <a:pt x="97" y="615"/>
                      <a:pt x="97" y="615"/>
                      <a:pt x="97" y="615"/>
                    </a:cubicBezTo>
                    <a:cubicBezTo>
                      <a:pt x="97" y="615"/>
                      <a:pt x="97" y="615"/>
                      <a:pt x="97" y="615"/>
                    </a:cubicBezTo>
                    <a:cubicBezTo>
                      <a:pt x="97" y="616"/>
                      <a:pt x="97" y="618"/>
                      <a:pt x="97" y="619"/>
                    </a:cubicBezTo>
                    <a:cubicBezTo>
                      <a:pt x="99" y="619"/>
                      <a:pt x="100" y="621"/>
                      <a:pt x="100" y="619"/>
                    </a:cubicBezTo>
                    <a:moveTo>
                      <a:pt x="96" y="601"/>
                    </a:moveTo>
                    <a:cubicBezTo>
                      <a:pt x="94" y="601"/>
                      <a:pt x="94" y="601"/>
                      <a:pt x="94" y="601"/>
                    </a:cubicBezTo>
                    <a:cubicBezTo>
                      <a:pt x="92" y="601"/>
                      <a:pt x="92" y="599"/>
                      <a:pt x="92" y="599"/>
                    </a:cubicBezTo>
                    <a:cubicBezTo>
                      <a:pt x="92" y="599"/>
                      <a:pt x="92" y="599"/>
                      <a:pt x="92" y="599"/>
                    </a:cubicBezTo>
                    <a:cubicBezTo>
                      <a:pt x="91" y="601"/>
                      <a:pt x="91" y="601"/>
                      <a:pt x="91" y="601"/>
                    </a:cubicBezTo>
                    <a:cubicBezTo>
                      <a:pt x="92" y="601"/>
                      <a:pt x="92" y="601"/>
                      <a:pt x="94" y="602"/>
                    </a:cubicBezTo>
                    <a:cubicBezTo>
                      <a:pt x="94" y="602"/>
                      <a:pt x="92" y="604"/>
                      <a:pt x="94" y="604"/>
                    </a:cubicBezTo>
                    <a:cubicBezTo>
                      <a:pt x="94" y="604"/>
                      <a:pt x="99" y="604"/>
                      <a:pt x="96" y="601"/>
                    </a:cubicBezTo>
                    <a:cubicBezTo>
                      <a:pt x="96" y="601"/>
                      <a:pt x="96" y="601"/>
                      <a:pt x="96" y="601"/>
                    </a:cubicBezTo>
                    <a:moveTo>
                      <a:pt x="82" y="593"/>
                    </a:moveTo>
                    <a:cubicBezTo>
                      <a:pt x="82" y="593"/>
                      <a:pt x="80" y="593"/>
                      <a:pt x="80" y="594"/>
                    </a:cubicBezTo>
                    <a:cubicBezTo>
                      <a:pt x="80" y="594"/>
                      <a:pt x="79" y="593"/>
                      <a:pt x="79" y="594"/>
                    </a:cubicBezTo>
                    <a:cubicBezTo>
                      <a:pt x="80" y="599"/>
                      <a:pt x="82" y="596"/>
                      <a:pt x="82" y="596"/>
                    </a:cubicBezTo>
                    <a:cubicBezTo>
                      <a:pt x="82" y="596"/>
                      <a:pt x="82" y="596"/>
                      <a:pt x="82" y="596"/>
                    </a:cubicBezTo>
                    <a:cubicBezTo>
                      <a:pt x="83" y="597"/>
                      <a:pt x="83" y="597"/>
                      <a:pt x="83" y="597"/>
                    </a:cubicBezTo>
                    <a:cubicBezTo>
                      <a:pt x="83" y="596"/>
                      <a:pt x="83" y="596"/>
                      <a:pt x="83" y="596"/>
                    </a:cubicBezTo>
                    <a:cubicBezTo>
                      <a:pt x="83" y="596"/>
                      <a:pt x="83" y="596"/>
                      <a:pt x="83" y="596"/>
                    </a:cubicBezTo>
                    <a:cubicBezTo>
                      <a:pt x="83" y="596"/>
                      <a:pt x="83" y="596"/>
                      <a:pt x="83" y="596"/>
                    </a:cubicBezTo>
                    <a:cubicBezTo>
                      <a:pt x="83" y="594"/>
                      <a:pt x="83" y="596"/>
                      <a:pt x="83" y="596"/>
                    </a:cubicBezTo>
                    <a:cubicBezTo>
                      <a:pt x="82" y="594"/>
                      <a:pt x="82" y="593"/>
                      <a:pt x="82" y="593"/>
                    </a:cubicBezTo>
                    <a:moveTo>
                      <a:pt x="71" y="590"/>
                    </a:moveTo>
                    <a:cubicBezTo>
                      <a:pt x="71" y="585"/>
                      <a:pt x="67" y="588"/>
                      <a:pt x="67" y="590"/>
                    </a:cubicBezTo>
                    <a:cubicBezTo>
                      <a:pt x="67" y="590"/>
                      <a:pt x="71" y="591"/>
                      <a:pt x="71" y="590"/>
                    </a:cubicBezTo>
                    <a:moveTo>
                      <a:pt x="89" y="601"/>
                    </a:moveTo>
                    <a:cubicBezTo>
                      <a:pt x="89" y="602"/>
                      <a:pt x="89" y="604"/>
                      <a:pt x="91" y="602"/>
                    </a:cubicBezTo>
                    <a:cubicBezTo>
                      <a:pt x="91" y="601"/>
                      <a:pt x="91" y="601"/>
                      <a:pt x="91" y="601"/>
                    </a:cubicBezTo>
                    <a:cubicBezTo>
                      <a:pt x="89" y="601"/>
                      <a:pt x="88" y="601"/>
                      <a:pt x="89" y="601"/>
                    </a:cubicBezTo>
                    <a:moveTo>
                      <a:pt x="92" y="604"/>
                    </a:moveTo>
                    <a:cubicBezTo>
                      <a:pt x="94" y="604"/>
                      <a:pt x="92" y="605"/>
                      <a:pt x="91" y="604"/>
                    </a:cubicBezTo>
                    <a:cubicBezTo>
                      <a:pt x="92" y="604"/>
                      <a:pt x="92" y="604"/>
                      <a:pt x="92" y="604"/>
                    </a:cubicBezTo>
                    <a:moveTo>
                      <a:pt x="89" y="597"/>
                    </a:moveTo>
                    <a:cubicBezTo>
                      <a:pt x="88" y="597"/>
                      <a:pt x="88" y="597"/>
                      <a:pt x="86" y="597"/>
                    </a:cubicBezTo>
                    <a:cubicBezTo>
                      <a:pt x="86" y="599"/>
                      <a:pt x="86" y="599"/>
                      <a:pt x="86" y="599"/>
                    </a:cubicBezTo>
                    <a:cubicBezTo>
                      <a:pt x="88" y="599"/>
                      <a:pt x="88" y="599"/>
                      <a:pt x="88" y="599"/>
                    </a:cubicBezTo>
                    <a:cubicBezTo>
                      <a:pt x="89" y="599"/>
                      <a:pt x="89" y="599"/>
                      <a:pt x="89" y="599"/>
                    </a:cubicBezTo>
                    <a:cubicBezTo>
                      <a:pt x="91" y="599"/>
                      <a:pt x="91" y="597"/>
                      <a:pt x="91" y="597"/>
                    </a:cubicBezTo>
                    <a:cubicBezTo>
                      <a:pt x="89" y="597"/>
                      <a:pt x="89" y="597"/>
                      <a:pt x="89" y="597"/>
                    </a:cubicBezTo>
                    <a:cubicBezTo>
                      <a:pt x="89" y="597"/>
                      <a:pt x="89" y="597"/>
                      <a:pt x="89" y="597"/>
                    </a:cubicBezTo>
                    <a:moveTo>
                      <a:pt x="65" y="590"/>
                    </a:moveTo>
                    <a:cubicBezTo>
                      <a:pt x="65" y="590"/>
                      <a:pt x="62" y="591"/>
                      <a:pt x="64" y="591"/>
                    </a:cubicBezTo>
                    <a:cubicBezTo>
                      <a:pt x="65" y="590"/>
                      <a:pt x="65" y="590"/>
                      <a:pt x="65" y="590"/>
                    </a:cubicBezTo>
                  </a:path>
                </a:pathLst>
              </a:custGeom>
              <a:solidFill>
                <a:srgbClr val="00567C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95" name="Freeform 290"/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3014779" y="3642765"/>
                <a:ext cx="724019" cy="888925"/>
              </a:xfrm>
              <a:custGeom>
                <a:avLst/>
                <a:gdLst/>
                <a:ahLst/>
                <a:cxnLst>
                  <a:cxn ang="0">
                    <a:pos x="169" y="380"/>
                  </a:cxn>
                  <a:cxn ang="0">
                    <a:pos x="157" y="368"/>
                  </a:cxn>
                  <a:cxn ang="0">
                    <a:pos x="145" y="357"/>
                  </a:cxn>
                  <a:cxn ang="0">
                    <a:pos x="140" y="350"/>
                  </a:cxn>
                  <a:cxn ang="0">
                    <a:pos x="163" y="325"/>
                  </a:cxn>
                  <a:cxn ang="0">
                    <a:pos x="159" y="307"/>
                  </a:cxn>
                  <a:cxn ang="0">
                    <a:pos x="154" y="291"/>
                  </a:cxn>
                  <a:cxn ang="0">
                    <a:pos x="143" y="273"/>
                  </a:cxn>
                  <a:cxn ang="0">
                    <a:pos x="134" y="263"/>
                  </a:cxn>
                  <a:cxn ang="0">
                    <a:pos x="133" y="248"/>
                  </a:cxn>
                  <a:cxn ang="0">
                    <a:pos x="133" y="224"/>
                  </a:cxn>
                  <a:cxn ang="0">
                    <a:pos x="118" y="213"/>
                  </a:cxn>
                  <a:cxn ang="0">
                    <a:pos x="101" y="184"/>
                  </a:cxn>
                  <a:cxn ang="0">
                    <a:pos x="80" y="171"/>
                  </a:cxn>
                  <a:cxn ang="0">
                    <a:pos x="58" y="154"/>
                  </a:cxn>
                  <a:cxn ang="0">
                    <a:pos x="34" y="161"/>
                  </a:cxn>
                  <a:cxn ang="0">
                    <a:pos x="20" y="148"/>
                  </a:cxn>
                  <a:cxn ang="0">
                    <a:pos x="10" y="118"/>
                  </a:cxn>
                  <a:cxn ang="0">
                    <a:pos x="31" y="94"/>
                  </a:cxn>
                  <a:cxn ang="0">
                    <a:pos x="41" y="70"/>
                  </a:cxn>
                  <a:cxn ang="0">
                    <a:pos x="37" y="48"/>
                  </a:cxn>
                  <a:cxn ang="0">
                    <a:pos x="45" y="47"/>
                  </a:cxn>
                  <a:cxn ang="0">
                    <a:pos x="38" y="42"/>
                  </a:cxn>
                  <a:cxn ang="0">
                    <a:pos x="52" y="36"/>
                  </a:cxn>
                  <a:cxn ang="0">
                    <a:pos x="58" y="31"/>
                  </a:cxn>
                  <a:cxn ang="0">
                    <a:pos x="72" y="45"/>
                  </a:cxn>
                  <a:cxn ang="0">
                    <a:pos x="87" y="33"/>
                  </a:cxn>
                  <a:cxn ang="0">
                    <a:pos x="81" y="14"/>
                  </a:cxn>
                  <a:cxn ang="0">
                    <a:pos x="98" y="13"/>
                  </a:cxn>
                  <a:cxn ang="0">
                    <a:pos x="115" y="2"/>
                  </a:cxn>
                  <a:cxn ang="0">
                    <a:pos x="119" y="16"/>
                  </a:cxn>
                  <a:cxn ang="0">
                    <a:pos x="119" y="33"/>
                  </a:cxn>
                  <a:cxn ang="0">
                    <a:pos x="131" y="38"/>
                  </a:cxn>
                  <a:cxn ang="0">
                    <a:pos x="145" y="34"/>
                  </a:cxn>
                  <a:cxn ang="0">
                    <a:pos x="151" y="30"/>
                  </a:cxn>
                  <a:cxn ang="0">
                    <a:pos x="160" y="30"/>
                  </a:cxn>
                  <a:cxn ang="0">
                    <a:pos x="169" y="30"/>
                  </a:cxn>
                  <a:cxn ang="0">
                    <a:pos x="179" y="20"/>
                  </a:cxn>
                  <a:cxn ang="0">
                    <a:pos x="185" y="10"/>
                  </a:cxn>
                  <a:cxn ang="0">
                    <a:pos x="188" y="16"/>
                  </a:cxn>
                  <a:cxn ang="0">
                    <a:pos x="189" y="28"/>
                  </a:cxn>
                  <a:cxn ang="0">
                    <a:pos x="192" y="33"/>
                  </a:cxn>
                  <a:cxn ang="0">
                    <a:pos x="197" y="44"/>
                  </a:cxn>
                  <a:cxn ang="0">
                    <a:pos x="185" y="59"/>
                  </a:cxn>
                  <a:cxn ang="0">
                    <a:pos x="191" y="64"/>
                  </a:cxn>
                  <a:cxn ang="0">
                    <a:pos x="206" y="55"/>
                  </a:cxn>
                  <a:cxn ang="0">
                    <a:pos x="217" y="59"/>
                  </a:cxn>
                  <a:cxn ang="0">
                    <a:pos x="235" y="67"/>
                  </a:cxn>
                  <a:cxn ang="0">
                    <a:pos x="239" y="83"/>
                  </a:cxn>
                  <a:cxn ang="0">
                    <a:pos x="270" y="80"/>
                  </a:cxn>
                  <a:cxn ang="0">
                    <a:pos x="297" y="100"/>
                  </a:cxn>
                  <a:cxn ang="0">
                    <a:pos x="317" y="123"/>
                  </a:cxn>
                  <a:cxn ang="0">
                    <a:pos x="296" y="168"/>
                  </a:cxn>
                  <a:cxn ang="0">
                    <a:pos x="284" y="198"/>
                  </a:cxn>
                  <a:cxn ang="0">
                    <a:pos x="281" y="232"/>
                  </a:cxn>
                  <a:cxn ang="0">
                    <a:pos x="268" y="268"/>
                  </a:cxn>
                  <a:cxn ang="0">
                    <a:pos x="250" y="282"/>
                  </a:cxn>
                  <a:cxn ang="0">
                    <a:pos x="223" y="294"/>
                  </a:cxn>
                  <a:cxn ang="0">
                    <a:pos x="207" y="336"/>
                  </a:cxn>
                  <a:cxn ang="0">
                    <a:pos x="186" y="371"/>
                  </a:cxn>
                  <a:cxn ang="0">
                    <a:pos x="168" y="392"/>
                  </a:cxn>
                </a:cxnLst>
                <a:rect l="0" t="0" r="r" b="b"/>
                <a:pathLst>
                  <a:path w="319" h="392">
                    <a:moveTo>
                      <a:pt x="168" y="392"/>
                    </a:moveTo>
                    <a:cubicBezTo>
                      <a:pt x="166" y="385"/>
                      <a:pt x="174" y="386"/>
                      <a:pt x="169" y="380"/>
                    </a:cubicBezTo>
                    <a:cubicBezTo>
                      <a:pt x="166" y="375"/>
                      <a:pt x="168" y="375"/>
                      <a:pt x="163" y="374"/>
                    </a:cubicBezTo>
                    <a:cubicBezTo>
                      <a:pt x="160" y="371"/>
                      <a:pt x="162" y="371"/>
                      <a:pt x="157" y="368"/>
                    </a:cubicBezTo>
                    <a:cubicBezTo>
                      <a:pt x="153" y="366"/>
                      <a:pt x="154" y="361"/>
                      <a:pt x="151" y="364"/>
                    </a:cubicBezTo>
                    <a:cubicBezTo>
                      <a:pt x="146" y="366"/>
                      <a:pt x="150" y="361"/>
                      <a:pt x="145" y="357"/>
                    </a:cubicBezTo>
                    <a:cubicBezTo>
                      <a:pt x="139" y="352"/>
                      <a:pt x="139" y="360"/>
                      <a:pt x="136" y="355"/>
                    </a:cubicBezTo>
                    <a:cubicBezTo>
                      <a:pt x="137" y="354"/>
                      <a:pt x="137" y="352"/>
                      <a:pt x="140" y="350"/>
                    </a:cubicBezTo>
                    <a:cubicBezTo>
                      <a:pt x="142" y="350"/>
                      <a:pt x="142" y="347"/>
                      <a:pt x="148" y="340"/>
                    </a:cubicBezTo>
                    <a:cubicBezTo>
                      <a:pt x="153" y="332"/>
                      <a:pt x="159" y="329"/>
                      <a:pt x="163" y="325"/>
                    </a:cubicBezTo>
                    <a:cubicBezTo>
                      <a:pt x="168" y="322"/>
                      <a:pt x="168" y="316"/>
                      <a:pt x="166" y="310"/>
                    </a:cubicBezTo>
                    <a:cubicBezTo>
                      <a:pt x="163" y="302"/>
                      <a:pt x="162" y="308"/>
                      <a:pt x="159" y="307"/>
                    </a:cubicBezTo>
                    <a:cubicBezTo>
                      <a:pt x="162" y="305"/>
                      <a:pt x="163" y="293"/>
                      <a:pt x="160" y="290"/>
                    </a:cubicBezTo>
                    <a:cubicBezTo>
                      <a:pt x="159" y="288"/>
                      <a:pt x="157" y="291"/>
                      <a:pt x="154" y="291"/>
                    </a:cubicBezTo>
                    <a:cubicBezTo>
                      <a:pt x="151" y="291"/>
                      <a:pt x="154" y="288"/>
                      <a:pt x="151" y="276"/>
                    </a:cubicBezTo>
                    <a:cubicBezTo>
                      <a:pt x="150" y="273"/>
                      <a:pt x="145" y="271"/>
                      <a:pt x="143" y="273"/>
                    </a:cubicBezTo>
                    <a:cubicBezTo>
                      <a:pt x="143" y="274"/>
                      <a:pt x="133" y="273"/>
                      <a:pt x="133" y="271"/>
                    </a:cubicBezTo>
                    <a:cubicBezTo>
                      <a:pt x="134" y="268"/>
                      <a:pt x="133" y="268"/>
                      <a:pt x="134" y="263"/>
                    </a:cubicBezTo>
                    <a:cubicBezTo>
                      <a:pt x="136" y="260"/>
                      <a:pt x="131" y="255"/>
                      <a:pt x="131" y="252"/>
                    </a:cubicBezTo>
                    <a:cubicBezTo>
                      <a:pt x="134" y="251"/>
                      <a:pt x="134" y="251"/>
                      <a:pt x="133" y="248"/>
                    </a:cubicBezTo>
                    <a:cubicBezTo>
                      <a:pt x="133" y="246"/>
                      <a:pt x="136" y="243"/>
                      <a:pt x="134" y="240"/>
                    </a:cubicBezTo>
                    <a:cubicBezTo>
                      <a:pt x="134" y="238"/>
                      <a:pt x="140" y="227"/>
                      <a:pt x="133" y="224"/>
                    </a:cubicBezTo>
                    <a:cubicBezTo>
                      <a:pt x="128" y="223"/>
                      <a:pt x="128" y="218"/>
                      <a:pt x="130" y="215"/>
                    </a:cubicBezTo>
                    <a:cubicBezTo>
                      <a:pt x="131" y="212"/>
                      <a:pt x="122" y="213"/>
                      <a:pt x="118" y="213"/>
                    </a:cubicBezTo>
                    <a:cubicBezTo>
                      <a:pt x="113" y="212"/>
                      <a:pt x="116" y="192"/>
                      <a:pt x="111" y="187"/>
                    </a:cubicBezTo>
                    <a:cubicBezTo>
                      <a:pt x="107" y="182"/>
                      <a:pt x="105" y="189"/>
                      <a:pt x="101" y="184"/>
                    </a:cubicBezTo>
                    <a:cubicBezTo>
                      <a:pt x="98" y="181"/>
                      <a:pt x="99" y="184"/>
                      <a:pt x="95" y="179"/>
                    </a:cubicBezTo>
                    <a:cubicBezTo>
                      <a:pt x="89" y="175"/>
                      <a:pt x="86" y="178"/>
                      <a:pt x="80" y="171"/>
                    </a:cubicBezTo>
                    <a:cubicBezTo>
                      <a:pt x="73" y="165"/>
                      <a:pt x="73" y="159"/>
                      <a:pt x="75" y="151"/>
                    </a:cubicBezTo>
                    <a:cubicBezTo>
                      <a:pt x="78" y="145"/>
                      <a:pt x="66" y="148"/>
                      <a:pt x="58" y="154"/>
                    </a:cubicBezTo>
                    <a:cubicBezTo>
                      <a:pt x="49" y="162"/>
                      <a:pt x="51" y="164"/>
                      <a:pt x="41" y="161"/>
                    </a:cubicBezTo>
                    <a:cubicBezTo>
                      <a:pt x="37" y="159"/>
                      <a:pt x="37" y="162"/>
                      <a:pt x="34" y="161"/>
                    </a:cubicBezTo>
                    <a:cubicBezTo>
                      <a:pt x="31" y="161"/>
                      <a:pt x="34" y="143"/>
                      <a:pt x="31" y="148"/>
                    </a:cubicBezTo>
                    <a:cubicBezTo>
                      <a:pt x="29" y="151"/>
                      <a:pt x="19" y="156"/>
                      <a:pt x="20" y="148"/>
                    </a:cubicBezTo>
                    <a:cubicBezTo>
                      <a:pt x="20" y="142"/>
                      <a:pt x="11" y="148"/>
                      <a:pt x="13" y="143"/>
                    </a:cubicBezTo>
                    <a:cubicBezTo>
                      <a:pt x="14" y="139"/>
                      <a:pt x="0" y="126"/>
                      <a:pt x="10" y="118"/>
                    </a:cubicBezTo>
                    <a:cubicBezTo>
                      <a:pt x="16" y="115"/>
                      <a:pt x="13" y="108"/>
                      <a:pt x="17" y="101"/>
                    </a:cubicBezTo>
                    <a:cubicBezTo>
                      <a:pt x="23" y="97"/>
                      <a:pt x="25" y="98"/>
                      <a:pt x="31" y="94"/>
                    </a:cubicBezTo>
                    <a:cubicBezTo>
                      <a:pt x="37" y="90"/>
                      <a:pt x="34" y="97"/>
                      <a:pt x="38" y="94"/>
                    </a:cubicBezTo>
                    <a:cubicBezTo>
                      <a:pt x="38" y="92"/>
                      <a:pt x="40" y="76"/>
                      <a:pt x="41" y="70"/>
                    </a:cubicBezTo>
                    <a:cubicBezTo>
                      <a:pt x="43" y="62"/>
                      <a:pt x="40" y="62"/>
                      <a:pt x="41" y="59"/>
                    </a:cubicBezTo>
                    <a:cubicBezTo>
                      <a:pt x="41" y="56"/>
                      <a:pt x="38" y="61"/>
                      <a:pt x="37" y="48"/>
                    </a:cubicBezTo>
                    <a:cubicBezTo>
                      <a:pt x="37" y="45"/>
                      <a:pt x="40" y="47"/>
                      <a:pt x="41" y="45"/>
                    </a:cubicBezTo>
                    <a:cubicBezTo>
                      <a:pt x="41" y="45"/>
                      <a:pt x="43" y="47"/>
                      <a:pt x="45" y="47"/>
                    </a:cubicBezTo>
                    <a:cubicBezTo>
                      <a:pt x="45" y="48"/>
                      <a:pt x="45" y="42"/>
                      <a:pt x="43" y="42"/>
                    </a:cubicBezTo>
                    <a:cubicBezTo>
                      <a:pt x="40" y="42"/>
                      <a:pt x="38" y="42"/>
                      <a:pt x="38" y="42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1" y="34"/>
                      <a:pt x="51" y="31"/>
                      <a:pt x="54" y="34"/>
                    </a:cubicBezTo>
                    <a:cubicBezTo>
                      <a:pt x="55" y="38"/>
                      <a:pt x="57" y="31"/>
                      <a:pt x="58" y="31"/>
                    </a:cubicBezTo>
                    <a:cubicBezTo>
                      <a:pt x="63" y="38"/>
                      <a:pt x="58" y="42"/>
                      <a:pt x="63" y="41"/>
                    </a:cubicBezTo>
                    <a:cubicBezTo>
                      <a:pt x="66" y="47"/>
                      <a:pt x="69" y="44"/>
                      <a:pt x="72" y="45"/>
                    </a:cubicBezTo>
                    <a:cubicBezTo>
                      <a:pt x="76" y="47"/>
                      <a:pt x="75" y="41"/>
                      <a:pt x="81" y="39"/>
                    </a:cubicBezTo>
                    <a:cubicBezTo>
                      <a:pt x="87" y="39"/>
                      <a:pt x="83" y="34"/>
                      <a:pt x="87" y="33"/>
                    </a:cubicBezTo>
                    <a:cubicBezTo>
                      <a:pt x="92" y="30"/>
                      <a:pt x="90" y="27"/>
                      <a:pt x="87" y="28"/>
                    </a:cubicBezTo>
                    <a:cubicBezTo>
                      <a:pt x="84" y="30"/>
                      <a:pt x="84" y="19"/>
                      <a:pt x="81" y="14"/>
                    </a:cubicBezTo>
                    <a:cubicBezTo>
                      <a:pt x="78" y="10"/>
                      <a:pt x="86" y="13"/>
                      <a:pt x="92" y="16"/>
                    </a:cubicBezTo>
                    <a:cubicBezTo>
                      <a:pt x="99" y="20"/>
                      <a:pt x="93" y="11"/>
                      <a:pt x="98" y="13"/>
                    </a:cubicBezTo>
                    <a:cubicBezTo>
                      <a:pt x="102" y="13"/>
                      <a:pt x="113" y="8"/>
                      <a:pt x="111" y="2"/>
                    </a:cubicBezTo>
                    <a:cubicBezTo>
                      <a:pt x="111" y="2"/>
                      <a:pt x="113" y="2"/>
                      <a:pt x="115" y="2"/>
                    </a:cubicBezTo>
                    <a:cubicBezTo>
                      <a:pt x="116" y="0"/>
                      <a:pt x="118" y="3"/>
                      <a:pt x="116" y="6"/>
                    </a:cubicBezTo>
                    <a:cubicBezTo>
                      <a:pt x="115" y="11"/>
                      <a:pt x="122" y="10"/>
                      <a:pt x="119" y="16"/>
                    </a:cubicBezTo>
                    <a:cubicBezTo>
                      <a:pt x="119" y="19"/>
                      <a:pt x="119" y="19"/>
                      <a:pt x="118" y="25"/>
                    </a:cubicBezTo>
                    <a:cubicBezTo>
                      <a:pt x="116" y="31"/>
                      <a:pt x="119" y="28"/>
                      <a:pt x="119" y="33"/>
                    </a:cubicBezTo>
                    <a:cubicBezTo>
                      <a:pt x="119" y="38"/>
                      <a:pt x="125" y="42"/>
                      <a:pt x="127" y="41"/>
                    </a:cubicBezTo>
                    <a:cubicBezTo>
                      <a:pt x="130" y="39"/>
                      <a:pt x="128" y="38"/>
                      <a:pt x="131" y="38"/>
                    </a:cubicBezTo>
                    <a:cubicBezTo>
                      <a:pt x="134" y="39"/>
                      <a:pt x="136" y="34"/>
                      <a:pt x="139" y="33"/>
                    </a:cubicBezTo>
                    <a:cubicBezTo>
                      <a:pt x="142" y="33"/>
                      <a:pt x="140" y="34"/>
                      <a:pt x="145" y="34"/>
                    </a:cubicBezTo>
                    <a:cubicBezTo>
                      <a:pt x="146" y="33"/>
                      <a:pt x="151" y="38"/>
                      <a:pt x="150" y="33"/>
                    </a:cubicBezTo>
                    <a:cubicBezTo>
                      <a:pt x="148" y="30"/>
                      <a:pt x="148" y="28"/>
                      <a:pt x="151" y="30"/>
                    </a:cubicBezTo>
                    <a:cubicBezTo>
                      <a:pt x="153" y="31"/>
                      <a:pt x="157" y="25"/>
                      <a:pt x="157" y="28"/>
                    </a:cubicBezTo>
                    <a:cubicBezTo>
                      <a:pt x="157" y="30"/>
                      <a:pt x="159" y="28"/>
                      <a:pt x="160" y="30"/>
                    </a:cubicBezTo>
                    <a:cubicBezTo>
                      <a:pt x="162" y="33"/>
                      <a:pt x="163" y="33"/>
                      <a:pt x="165" y="31"/>
                    </a:cubicBezTo>
                    <a:cubicBezTo>
                      <a:pt x="166" y="28"/>
                      <a:pt x="166" y="33"/>
                      <a:pt x="169" y="30"/>
                    </a:cubicBezTo>
                    <a:cubicBezTo>
                      <a:pt x="171" y="28"/>
                      <a:pt x="169" y="31"/>
                      <a:pt x="172" y="31"/>
                    </a:cubicBezTo>
                    <a:cubicBezTo>
                      <a:pt x="175" y="31"/>
                      <a:pt x="177" y="24"/>
                      <a:pt x="179" y="20"/>
                    </a:cubicBezTo>
                    <a:cubicBezTo>
                      <a:pt x="182" y="16"/>
                      <a:pt x="182" y="16"/>
                      <a:pt x="183" y="14"/>
                    </a:cubicBezTo>
                    <a:cubicBezTo>
                      <a:pt x="185" y="11"/>
                      <a:pt x="183" y="11"/>
                      <a:pt x="185" y="10"/>
                    </a:cubicBezTo>
                    <a:cubicBezTo>
                      <a:pt x="185" y="10"/>
                      <a:pt x="186" y="13"/>
                      <a:pt x="186" y="14"/>
                    </a:cubicBezTo>
                    <a:cubicBezTo>
                      <a:pt x="188" y="16"/>
                      <a:pt x="188" y="14"/>
                      <a:pt x="188" y="16"/>
                    </a:cubicBezTo>
                    <a:cubicBezTo>
                      <a:pt x="188" y="19"/>
                      <a:pt x="188" y="24"/>
                      <a:pt x="189" y="25"/>
                    </a:cubicBezTo>
                    <a:cubicBezTo>
                      <a:pt x="189" y="25"/>
                      <a:pt x="189" y="27"/>
                      <a:pt x="189" y="28"/>
                    </a:cubicBezTo>
                    <a:cubicBezTo>
                      <a:pt x="189" y="30"/>
                      <a:pt x="191" y="30"/>
                      <a:pt x="191" y="31"/>
                    </a:cubicBezTo>
                    <a:cubicBezTo>
                      <a:pt x="191" y="33"/>
                      <a:pt x="191" y="31"/>
                      <a:pt x="192" y="33"/>
                    </a:cubicBezTo>
                    <a:cubicBezTo>
                      <a:pt x="192" y="34"/>
                      <a:pt x="192" y="36"/>
                      <a:pt x="194" y="36"/>
                    </a:cubicBezTo>
                    <a:cubicBezTo>
                      <a:pt x="197" y="34"/>
                      <a:pt x="198" y="42"/>
                      <a:pt x="197" y="44"/>
                    </a:cubicBezTo>
                    <a:cubicBezTo>
                      <a:pt x="192" y="44"/>
                      <a:pt x="192" y="52"/>
                      <a:pt x="188" y="53"/>
                    </a:cubicBezTo>
                    <a:cubicBezTo>
                      <a:pt x="183" y="55"/>
                      <a:pt x="186" y="56"/>
                      <a:pt x="185" y="59"/>
                    </a:cubicBezTo>
                    <a:cubicBezTo>
                      <a:pt x="182" y="62"/>
                      <a:pt x="189" y="56"/>
                      <a:pt x="188" y="62"/>
                    </a:cubicBezTo>
                    <a:cubicBezTo>
                      <a:pt x="185" y="67"/>
                      <a:pt x="189" y="59"/>
                      <a:pt x="191" y="64"/>
                    </a:cubicBezTo>
                    <a:cubicBezTo>
                      <a:pt x="191" y="69"/>
                      <a:pt x="188" y="53"/>
                      <a:pt x="195" y="55"/>
                    </a:cubicBezTo>
                    <a:cubicBezTo>
                      <a:pt x="203" y="56"/>
                      <a:pt x="200" y="53"/>
                      <a:pt x="206" y="55"/>
                    </a:cubicBezTo>
                    <a:cubicBezTo>
                      <a:pt x="214" y="58"/>
                      <a:pt x="204" y="62"/>
                      <a:pt x="206" y="67"/>
                    </a:cubicBezTo>
                    <a:cubicBezTo>
                      <a:pt x="207" y="70"/>
                      <a:pt x="209" y="59"/>
                      <a:pt x="217" y="59"/>
                    </a:cubicBezTo>
                    <a:cubicBezTo>
                      <a:pt x="223" y="59"/>
                      <a:pt x="223" y="62"/>
                      <a:pt x="226" y="62"/>
                    </a:cubicBezTo>
                    <a:cubicBezTo>
                      <a:pt x="229" y="62"/>
                      <a:pt x="229" y="66"/>
                      <a:pt x="235" y="67"/>
                    </a:cubicBezTo>
                    <a:cubicBezTo>
                      <a:pt x="241" y="69"/>
                      <a:pt x="238" y="70"/>
                      <a:pt x="241" y="73"/>
                    </a:cubicBezTo>
                    <a:cubicBezTo>
                      <a:pt x="242" y="75"/>
                      <a:pt x="238" y="81"/>
                      <a:pt x="239" y="83"/>
                    </a:cubicBezTo>
                    <a:cubicBezTo>
                      <a:pt x="241" y="84"/>
                      <a:pt x="245" y="75"/>
                      <a:pt x="250" y="76"/>
                    </a:cubicBezTo>
                    <a:cubicBezTo>
                      <a:pt x="255" y="78"/>
                      <a:pt x="261" y="81"/>
                      <a:pt x="270" y="80"/>
                    </a:cubicBezTo>
                    <a:cubicBezTo>
                      <a:pt x="277" y="78"/>
                      <a:pt x="281" y="83"/>
                      <a:pt x="287" y="87"/>
                    </a:cubicBezTo>
                    <a:cubicBezTo>
                      <a:pt x="293" y="94"/>
                      <a:pt x="288" y="94"/>
                      <a:pt x="297" y="100"/>
                    </a:cubicBezTo>
                    <a:cubicBezTo>
                      <a:pt x="306" y="106"/>
                      <a:pt x="306" y="100"/>
                      <a:pt x="311" y="104"/>
                    </a:cubicBezTo>
                    <a:cubicBezTo>
                      <a:pt x="316" y="108"/>
                      <a:pt x="316" y="114"/>
                      <a:pt x="317" y="123"/>
                    </a:cubicBezTo>
                    <a:cubicBezTo>
                      <a:pt x="319" y="133"/>
                      <a:pt x="316" y="137"/>
                      <a:pt x="308" y="148"/>
                    </a:cubicBezTo>
                    <a:cubicBezTo>
                      <a:pt x="302" y="161"/>
                      <a:pt x="300" y="156"/>
                      <a:pt x="296" y="168"/>
                    </a:cubicBezTo>
                    <a:cubicBezTo>
                      <a:pt x="291" y="179"/>
                      <a:pt x="290" y="184"/>
                      <a:pt x="287" y="178"/>
                    </a:cubicBezTo>
                    <a:cubicBezTo>
                      <a:pt x="284" y="171"/>
                      <a:pt x="284" y="192"/>
                      <a:pt x="284" y="198"/>
                    </a:cubicBezTo>
                    <a:cubicBezTo>
                      <a:pt x="282" y="204"/>
                      <a:pt x="287" y="206"/>
                      <a:pt x="284" y="213"/>
                    </a:cubicBezTo>
                    <a:cubicBezTo>
                      <a:pt x="281" y="221"/>
                      <a:pt x="284" y="229"/>
                      <a:pt x="281" y="232"/>
                    </a:cubicBezTo>
                    <a:cubicBezTo>
                      <a:pt x="276" y="234"/>
                      <a:pt x="281" y="240"/>
                      <a:pt x="276" y="249"/>
                    </a:cubicBezTo>
                    <a:cubicBezTo>
                      <a:pt x="271" y="259"/>
                      <a:pt x="265" y="262"/>
                      <a:pt x="268" y="268"/>
                    </a:cubicBezTo>
                    <a:cubicBezTo>
                      <a:pt x="270" y="273"/>
                      <a:pt x="259" y="276"/>
                      <a:pt x="261" y="279"/>
                    </a:cubicBezTo>
                    <a:cubicBezTo>
                      <a:pt x="262" y="282"/>
                      <a:pt x="256" y="280"/>
                      <a:pt x="250" y="282"/>
                    </a:cubicBezTo>
                    <a:cubicBezTo>
                      <a:pt x="242" y="283"/>
                      <a:pt x="247" y="280"/>
                      <a:pt x="241" y="282"/>
                    </a:cubicBezTo>
                    <a:cubicBezTo>
                      <a:pt x="236" y="283"/>
                      <a:pt x="238" y="288"/>
                      <a:pt x="223" y="294"/>
                    </a:cubicBezTo>
                    <a:cubicBezTo>
                      <a:pt x="218" y="296"/>
                      <a:pt x="209" y="304"/>
                      <a:pt x="209" y="311"/>
                    </a:cubicBezTo>
                    <a:cubicBezTo>
                      <a:pt x="207" y="321"/>
                      <a:pt x="210" y="329"/>
                      <a:pt x="207" y="336"/>
                    </a:cubicBezTo>
                    <a:cubicBezTo>
                      <a:pt x="203" y="343"/>
                      <a:pt x="203" y="338"/>
                      <a:pt x="198" y="349"/>
                    </a:cubicBezTo>
                    <a:cubicBezTo>
                      <a:pt x="194" y="358"/>
                      <a:pt x="192" y="366"/>
                      <a:pt x="186" y="371"/>
                    </a:cubicBezTo>
                    <a:cubicBezTo>
                      <a:pt x="179" y="377"/>
                      <a:pt x="179" y="377"/>
                      <a:pt x="175" y="385"/>
                    </a:cubicBezTo>
                    <a:cubicBezTo>
                      <a:pt x="175" y="389"/>
                      <a:pt x="171" y="388"/>
                      <a:pt x="168" y="39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96" name="Freeform 291"/>
              <p:cNvSpPr>
                <a:spLocks/>
              </p:cNvSpPr>
              <p:nvPr>
                <p:custDataLst>
                  <p:tags r:id="rId316"/>
                </p:custDataLst>
              </p:nvPr>
            </p:nvSpPr>
            <p:spPr bwMode="auto">
              <a:xfrm>
                <a:off x="3453402" y="3712943"/>
                <a:ext cx="5848" cy="701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3"/>
                  </a:cxn>
                  <a:cxn ang="0">
                    <a:pos x="0" y="0"/>
                  </a:cxn>
                </a:cxnLst>
                <a:rect l="0" t="0" r="r" b="b"/>
                <a:pathLst>
                  <a:path w="3" h="3">
                    <a:moveTo>
                      <a:pt x="0" y="0"/>
                    </a:moveTo>
                    <a:cubicBezTo>
                      <a:pt x="1" y="0"/>
                      <a:pt x="3" y="3"/>
                      <a:pt x="1" y="3"/>
                    </a:cubicBezTo>
                    <a:cubicBezTo>
                      <a:pt x="1" y="3"/>
                      <a:pt x="0" y="2"/>
                      <a:pt x="0" y="0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97" name="Freeform 292"/>
              <p:cNvSpPr>
                <a:spLocks/>
              </p:cNvSpPr>
              <p:nvPr>
                <p:custDataLst>
                  <p:tags r:id="rId317"/>
                </p:custDataLst>
              </p:nvPr>
            </p:nvSpPr>
            <p:spPr bwMode="auto">
              <a:xfrm>
                <a:off x="3453402" y="3746863"/>
                <a:ext cx="8187" cy="9357"/>
              </a:xfrm>
              <a:custGeom>
                <a:avLst/>
                <a:gdLst/>
                <a:ahLst/>
                <a:cxnLst>
                  <a:cxn ang="0">
                    <a:pos x="3" y="1"/>
                  </a:cxn>
                  <a:cxn ang="0">
                    <a:pos x="3" y="4"/>
                  </a:cxn>
                  <a:cxn ang="0">
                    <a:pos x="3" y="1"/>
                  </a:cxn>
                </a:cxnLst>
                <a:rect l="0" t="0" r="r" b="b"/>
                <a:pathLst>
                  <a:path w="4" h="4">
                    <a:moveTo>
                      <a:pt x="3" y="1"/>
                    </a:moveTo>
                    <a:cubicBezTo>
                      <a:pt x="4" y="0"/>
                      <a:pt x="3" y="3"/>
                      <a:pt x="3" y="4"/>
                    </a:cubicBezTo>
                    <a:cubicBezTo>
                      <a:pt x="1" y="4"/>
                      <a:pt x="0" y="3"/>
                      <a:pt x="3" y="1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98" name="Freeform 293"/>
              <p:cNvSpPr>
                <a:spLocks/>
              </p:cNvSpPr>
              <p:nvPr>
                <p:custDataLst>
                  <p:tags r:id="rId318"/>
                </p:custDataLst>
              </p:nvPr>
            </p:nvSpPr>
            <p:spPr bwMode="auto">
              <a:xfrm>
                <a:off x="3448723" y="3749202"/>
                <a:ext cx="5848" cy="10527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3" y="5"/>
                  </a:cxn>
                </a:cxnLst>
                <a:rect l="0" t="0" r="r" b="b"/>
                <a:pathLst>
                  <a:path w="3" h="5">
                    <a:moveTo>
                      <a:pt x="3" y="5"/>
                    </a:moveTo>
                    <a:cubicBezTo>
                      <a:pt x="0" y="5"/>
                      <a:pt x="2" y="3"/>
                      <a:pt x="2" y="2"/>
                    </a:cubicBezTo>
                    <a:cubicBezTo>
                      <a:pt x="2" y="2"/>
                      <a:pt x="2" y="0"/>
                      <a:pt x="3" y="2"/>
                    </a:cubicBezTo>
                    <a:cubicBezTo>
                      <a:pt x="3" y="3"/>
                      <a:pt x="3" y="5"/>
                      <a:pt x="3" y="5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099" name="Freeform 294"/>
              <p:cNvSpPr>
                <a:spLocks/>
              </p:cNvSpPr>
              <p:nvPr>
                <p:custDataLst>
                  <p:tags r:id="rId319"/>
                </p:custDataLst>
              </p:nvPr>
            </p:nvSpPr>
            <p:spPr bwMode="auto">
              <a:xfrm>
                <a:off x="3434687" y="3766746"/>
                <a:ext cx="7018" cy="7018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2" y="0"/>
                  </a:cxn>
                  <a:cxn ang="0">
                    <a:pos x="2" y="3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cubicBezTo>
                      <a:pt x="0" y="3"/>
                      <a:pt x="2" y="0"/>
                      <a:pt x="2" y="0"/>
                    </a:cubicBezTo>
                    <a:cubicBezTo>
                      <a:pt x="3" y="0"/>
                      <a:pt x="2" y="3"/>
                      <a:pt x="2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100" name="Freeform 295"/>
              <p:cNvSpPr>
                <a:spLocks/>
              </p:cNvSpPr>
              <p:nvPr>
                <p:custDataLst>
                  <p:tags r:id="rId320"/>
                </p:custDataLst>
              </p:nvPr>
            </p:nvSpPr>
            <p:spPr bwMode="auto">
              <a:xfrm>
                <a:off x="3439365" y="3773765"/>
                <a:ext cx="7018" cy="7018"/>
              </a:xfrm>
              <a:custGeom>
                <a:avLst/>
                <a:gdLst/>
                <a:ahLst/>
                <a:cxnLst>
                  <a:cxn ang="0">
                    <a:pos x="1" y="3"/>
                  </a:cxn>
                  <a:cxn ang="0">
                    <a:pos x="3" y="1"/>
                  </a:cxn>
                  <a:cxn ang="0">
                    <a:pos x="1" y="3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cubicBezTo>
                      <a:pt x="0" y="3"/>
                      <a:pt x="3" y="0"/>
                      <a:pt x="3" y="1"/>
                    </a:cubicBezTo>
                    <a:cubicBezTo>
                      <a:pt x="3" y="1"/>
                      <a:pt x="3" y="3"/>
                      <a:pt x="1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101" name="Freeform 296"/>
              <p:cNvSpPr>
                <a:spLocks/>
              </p:cNvSpPr>
              <p:nvPr>
                <p:custDataLst>
                  <p:tags r:id="rId321"/>
                </p:custDataLst>
              </p:nvPr>
            </p:nvSpPr>
            <p:spPr bwMode="auto">
              <a:xfrm>
                <a:off x="3439365" y="3769086"/>
                <a:ext cx="7018" cy="4679"/>
              </a:xfrm>
              <a:custGeom>
                <a:avLst/>
                <a:gdLst/>
                <a:ahLst/>
                <a:cxnLst>
                  <a:cxn ang="0">
                    <a:pos x="1" y="2"/>
                  </a:cxn>
                  <a:cxn ang="0">
                    <a:pos x="3" y="0"/>
                  </a:cxn>
                  <a:cxn ang="0">
                    <a:pos x="1" y="2"/>
                  </a:cxn>
                </a:cxnLst>
                <a:rect l="0" t="0" r="r" b="b"/>
                <a:pathLst>
                  <a:path w="3" h="2">
                    <a:moveTo>
                      <a:pt x="1" y="2"/>
                    </a:moveTo>
                    <a:cubicBezTo>
                      <a:pt x="0" y="2"/>
                      <a:pt x="1" y="0"/>
                      <a:pt x="3" y="0"/>
                    </a:cubicBezTo>
                    <a:cubicBezTo>
                      <a:pt x="1" y="2"/>
                      <a:pt x="1" y="2"/>
                      <a:pt x="1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102" name="Freeform 297"/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3454571" y="3742185"/>
                <a:ext cx="7018" cy="701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3" y="2"/>
                  </a:cxn>
                  <a:cxn ang="0">
                    <a:pos x="0" y="2"/>
                  </a:cxn>
                </a:cxnLst>
                <a:rect l="0" t="0" r="r" b="b"/>
                <a:pathLst>
                  <a:path w="3" h="3">
                    <a:moveTo>
                      <a:pt x="0" y="2"/>
                    </a:moveTo>
                    <a:cubicBezTo>
                      <a:pt x="0" y="2"/>
                      <a:pt x="2" y="0"/>
                      <a:pt x="3" y="2"/>
                    </a:cubicBezTo>
                    <a:cubicBezTo>
                      <a:pt x="3" y="2"/>
                      <a:pt x="0" y="3"/>
                      <a:pt x="0" y="2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103" name="Freeform 298"/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2862724" y="3546855"/>
                <a:ext cx="111118" cy="57312"/>
              </a:xfrm>
              <a:custGeom>
                <a:avLst/>
                <a:gdLst/>
                <a:ahLst/>
                <a:cxnLst>
                  <a:cxn ang="0">
                    <a:pos x="46" y="10"/>
                  </a:cxn>
                  <a:cxn ang="0">
                    <a:pos x="36" y="2"/>
                  </a:cxn>
                  <a:cxn ang="0">
                    <a:pos x="31" y="0"/>
                  </a:cxn>
                  <a:cxn ang="0">
                    <a:pos x="25" y="3"/>
                  </a:cxn>
                  <a:cxn ang="0">
                    <a:pos x="16" y="10"/>
                  </a:cxn>
                  <a:cxn ang="0">
                    <a:pos x="13" y="6"/>
                  </a:cxn>
                  <a:cxn ang="0">
                    <a:pos x="11" y="5"/>
                  </a:cxn>
                  <a:cxn ang="0">
                    <a:pos x="10" y="6"/>
                  </a:cxn>
                  <a:cxn ang="0">
                    <a:pos x="8" y="6"/>
                  </a:cxn>
                  <a:cxn ang="0">
                    <a:pos x="8" y="5"/>
                  </a:cxn>
                  <a:cxn ang="0">
                    <a:pos x="7" y="3"/>
                  </a:cxn>
                  <a:cxn ang="0">
                    <a:pos x="5" y="2"/>
                  </a:cxn>
                  <a:cxn ang="0">
                    <a:pos x="4" y="0"/>
                  </a:cxn>
                  <a:cxn ang="0">
                    <a:pos x="2" y="6"/>
                  </a:cxn>
                  <a:cxn ang="0">
                    <a:pos x="4" y="8"/>
                  </a:cxn>
                  <a:cxn ang="0">
                    <a:pos x="2" y="11"/>
                  </a:cxn>
                  <a:cxn ang="0">
                    <a:pos x="2" y="16"/>
                  </a:cxn>
                  <a:cxn ang="0">
                    <a:pos x="4" y="14"/>
                  </a:cxn>
                  <a:cxn ang="0">
                    <a:pos x="11" y="16"/>
                  </a:cxn>
                  <a:cxn ang="0">
                    <a:pos x="13" y="17"/>
                  </a:cxn>
                  <a:cxn ang="0">
                    <a:pos x="14" y="19"/>
                  </a:cxn>
                  <a:cxn ang="0">
                    <a:pos x="16" y="19"/>
                  </a:cxn>
                  <a:cxn ang="0">
                    <a:pos x="17" y="19"/>
                  </a:cxn>
                  <a:cxn ang="0">
                    <a:pos x="19" y="24"/>
                  </a:cxn>
                  <a:cxn ang="0">
                    <a:pos x="22" y="24"/>
                  </a:cxn>
                  <a:cxn ang="0">
                    <a:pos x="23" y="22"/>
                  </a:cxn>
                  <a:cxn ang="0">
                    <a:pos x="25" y="19"/>
                  </a:cxn>
                  <a:cxn ang="0">
                    <a:pos x="22" y="16"/>
                  </a:cxn>
                  <a:cxn ang="0">
                    <a:pos x="22" y="14"/>
                  </a:cxn>
                  <a:cxn ang="0">
                    <a:pos x="28" y="10"/>
                  </a:cxn>
                  <a:cxn ang="0">
                    <a:pos x="28" y="8"/>
                  </a:cxn>
                  <a:cxn ang="0">
                    <a:pos x="31" y="6"/>
                  </a:cxn>
                  <a:cxn ang="0">
                    <a:pos x="37" y="11"/>
                  </a:cxn>
                  <a:cxn ang="0">
                    <a:pos x="39" y="13"/>
                  </a:cxn>
                  <a:cxn ang="0">
                    <a:pos x="40" y="13"/>
                  </a:cxn>
                  <a:cxn ang="0">
                    <a:pos x="39" y="17"/>
                  </a:cxn>
                  <a:cxn ang="0">
                    <a:pos x="42" y="24"/>
                  </a:cxn>
                  <a:cxn ang="0">
                    <a:pos x="43" y="19"/>
                  </a:cxn>
                  <a:cxn ang="0">
                    <a:pos x="46" y="20"/>
                  </a:cxn>
                  <a:cxn ang="0">
                    <a:pos x="48" y="17"/>
                  </a:cxn>
                  <a:cxn ang="0">
                    <a:pos x="46" y="10"/>
                  </a:cxn>
                </a:cxnLst>
                <a:rect l="0" t="0" r="r" b="b"/>
                <a:pathLst>
                  <a:path w="49" h="25">
                    <a:moveTo>
                      <a:pt x="46" y="10"/>
                    </a:moveTo>
                    <a:cubicBezTo>
                      <a:pt x="43" y="6"/>
                      <a:pt x="40" y="2"/>
                      <a:pt x="36" y="2"/>
                    </a:cubicBezTo>
                    <a:cubicBezTo>
                      <a:pt x="31" y="3"/>
                      <a:pt x="36" y="2"/>
                      <a:pt x="31" y="0"/>
                    </a:cubicBezTo>
                    <a:cubicBezTo>
                      <a:pt x="26" y="0"/>
                      <a:pt x="29" y="2"/>
                      <a:pt x="25" y="3"/>
                    </a:cubicBezTo>
                    <a:cubicBezTo>
                      <a:pt x="16" y="8"/>
                      <a:pt x="23" y="6"/>
                      <a:pt x="16" y="10"/>
                    </a:cubicBezTo>
                    <a:cubicBezTo>
                      <a:pt x="14" y="10"/>
                      <a:pt x="13" y="8"/>
                      <a:pt x="13" y="6"/>
                    </a:cubicBezTo>
                    <a:cubicBezTo>
                      <a:pt x="11" y="5"/>
                      <a:pt x="11" y="6"/>
                      <a:pt x="11" y="5"/>
                    </a:cubicBezTo>
                    <a:cubicBezTo>
                      <a:pt x="11" y="5"/>
                      <a:pt x="10" y="5"/>
                      <a:pt x="10" y="6"/>
                    </a:cubicBezTo>
                    <a:cubicBezTo>
                      <a:pt x="10" y="8"/>
                      <a:pt x="8" y="6"/>
                      <a:pt x="8" y="6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3"/>
                      <a:pt x="7" y="5"/>
                      <a:pt x="7" y="3"/>
                    </a:cubicBezTo>
                    <a:cubicBezTo>
                      <a:pt x="7" y="2"/>
                      <a:pt x="7" y="2"/>
                      <a:pt x="5" y="2"/>
                    </a:cubicBezTo>
                    <a:cubicBezTo>
                      <a:pt x="4" y="2"/>
                      <a:pt x="4" y="0"/>
                      <a:pt x="4" y="0"/>
                    </a:cubicBezTo>
                    <a:cubicBezTo>
                      <a:pt x="2" y="0"/>
                      <a:pt x="2" y="3"/>
                      <a:pt x="2" y="6"/>
                    </a:cubicBezTo>
                    <a:cubicBezTo>
                      <a:pt x="2" y="6"/>
                      <a:pt x="5" y="6"/>
                      <a:pt x="4" y="8"/>
                    </a:cubicBezTo>
                    <a:cubicBezTo>
                      <a:pt x="2" y="10"/>
                      <a:pt x="4" y="10"/>
                      <a:pt x="2" y="11"/>
                    </a:cubicBezTo>
                    <a:cubicBezTo>
                      <a:pt x="2" y="13"/>
                      <a:pt x="0" y="13"/>
                      <a:pt x="2" y="16"/>
                    </a:cubicBezTo>
                    <a:cubicBezTo>
                      <a:pt x="2" y="14"/>
                      <a:pt x="4" y="13"/>
                      <a:pt x="4" y="14"/>
                    </a:cubicBezTo>
                    <a:cubicBezTo>
                      <a:pt x="8" y="14"/>
                      <a:pt x="11" y="16"/>
                      <a:pt x="11" y="16"/>
                    </a:cubicBezTo>
                    <a:cubicBezTo>
                      <a:pt x="13" y="14"/>
                      <a:pt x="11" y="16"/>
                      <a:pt x="13" y="17"/>
                    </a:cubicBezTo>
                    <a:cubicBezTo>
                      <a:pt x="13" y="17"/>
                      <a:pt x="13" y="19"/>
                      <a:pt x="14" y="19"/>
                    </a:cubicBezTo>
                    <a:cubicBezTo>
                      <a:pt x="16" y="20"/>
                      <a:pt x="16" y="20"/>
                      <a:pt x="16" y="19"/>
                    </a:cubicBezTo>
                    <a:cubicBezTo>
                      <a:pt x="16" y="17"/>
                      <a:pt x="17" y="17"/>
                      <a:pt x="17" y="19"/>
                    </a:cubicBezTo>
                    <a:cubicBezTo>
                      <a:pt x="17" y="19"/>
                      <a:pt x="19" y="22"/>
                      <a:pt x="19" y="24"/>
                    </a:cubicBezTo>
                    <a:cubicBezTo>
                      <a:pt x="17" y="25"/>
                      <a:pt x="20" y="24"/>
                      <a:pt x="22" y="24"/>
                    </a:cubicBezTo>
                    <a:cubicBezTo>
                      <a:pt x="23" y="24"/>
                      <a:pt x="22" y="22"/>
                      <a:pt x="23" y="22"/>
                    </a:cubicBezTo>
                    <a:cubicBezTo>
                      <a:pt x="25" y="22"/>
                      <a:pt x="26" y="22"/>
                      <a:pt x="25" y="19"/>
                    </a:cubicBezTo>
                    <a:cubicBezTo>
                      <a:pt x="22" y="16"/>
                      <a:pt x="23" y="16"/>
                      <a:pt x="22" y="16"/>
                    </a:cubicBezTo>
                    <a:cubicBezTo>
                      <a:pt x="22" y="16"/>
                      <a:pt x="20" y="14"/>
                      <a:pt x="22" y="14"/>
                    </a:cubicBezTo>
                    <a:cubicBezTo>
                      <a:pt x="26" y="13"/>
                      <a:pt x="26" y="11"/>
                      <a:pt x="28" y="10"/>
                    </a:cubicBezTo>
                    <a:cubicBezTo>
                      <a:pt x="28" y="10"/>
                      <a:pt x="26" y="8"/>
                      <a:pt x="28" y="8"/>
                    </a:cubicBezTo>
                    <a:cubicBezTo>
                      <a:pt x="29" y="8"/>
                      <a:pt x="29" y="6"/>
                      <a:pt x="31" y="6"/>
                    </a:cubicBezTo>
                    <a:cubicBezTo>
                      <a:pt x="34" y="6"/>
                      <a:pt x="37" y="10"/>
                      <a:pt x="37" y="11"/>
                    </a:cubicBezTo>
                    <a:cubicBezTo>
                      <a:pt x="37" y="11"/>
                      <a:pt x="37" y="13"/>
                      <a:pt x="39" y="13"/>
                    </a:cubicBezTo>
                    <a:cubicBezTo>
                      <a:pt x="39" y="11"/>
                      <a:pt x="39" y="13"/>
                      <a:pt x="40" y="13"/>
                    </a:cubicBezTo>
                    <a:cubicBezTo>
                      <a:pt x="40" y="11"/>
                      <a:pt x="37" y="16"/>
                      <a:pt x="39" y="17"/>
                    </a:cubicBezTo>
                    <a:cubicBezTo>
                      <a:pt x="40" y="19"/>
                      <a:pt x="40" y="22"/>
                      <a:pt x="42" y="24"/>
                    </a:cubicBezTo>
                    <a:cubicBezTo>
                      <a:pt x="43" y="20"/>
                      <a:pt x="42" y="22"/>
                      <a:pt x="43" y="19"/>
                    </a:cubicBezTo>
                    <a:cubicBezTo>
                      <a:pt x="43" y="19"/>
                      <a:pt x="45" y="22"/>
                      <a:pt x="46" y="20"/>
                    </a:cubicBezTo>
                    <a:cubicBezTo>
                      <a:pt x="48" y="19"/>
                      <a:pt x="46" y="17"/>
                      <a:pt x="48" y="17"/>
                    </a:cubicBezTo>
                    <a:cubicBezTo>
                      <a:pt x="49" y="17"/>
                      <a:pt x="45" y="13"/>
                      <a:pt x="46" y="10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104" name="Freeform 299"/>
              <p:cNvSpPr>
                <a:spLocks/>
              </p:cNvSpPr>
              <p:nvPr>
                <p:custDataLst>
                  <p:tags r:id="rId324"/>
                </p:custDataLst>
              </p:nvPr>
            </p:nvSpPr>
            <p:spPr bwMode="auto">
              <a:xfrm>
                <a:off x="2888456" y="3590132"/>
                <a:ext cx="5848" cy="11696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2" y="3"/>
                  </a:cxn>
                </a:cxnLst>
                <a:rect l="0" t="0" r="r" b="b"/>
                <a:pathLst>
                  <a:path w="3" h="5">
                    <a:moveTo>
                      <a:pt x="2" y="3"/>
                    </a:moveTo>
                    <a:cubicBezTo>
                      <a:pt x="0" y="3"/>
                      <a:pt x="0" y="2"/>
                      <a:pt x="0" y="2"/>
                    </a:cubicBezTo>
                    <a:cubicBezTo>
                      <a:pt x="2" y="0"/>
                      <a:pt x="2" y="2"/>
                      <a:pt x="2" y="3"/>
                    </a:cubicBezTo>
                    <a:cubicBezTo>
                      <a:pt x="3" y="3"/>
                      <a:pt x="3" y="5"/>
                      <a:pt x="2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105" name="Freeform 300"/>
              <p:cNvSpPr>
                <a:spLocks/>
              </p:cNvSpPr>
              <p:nvPr>
                <p:custDataLst>
                  <p:tags r:id="rId325"/>
                </p:custDataLst>
              </p:nvPr>
            </p:nvSpPr>
            <p:spPr bwMode="auto">
              <a:xfrm>
                <a:off x="2939922" y="3571417"/>
                <a:ext cx="4679" cy="7018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0"/>
                  </a:cxn>
                  <a:cxn ang="0">
                    <a:pos x="0" y="3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cubicBezTo>
                      <a:pt x="0" y="2"/>
                      <a:pt x="0" y="0"/>
                      <a:pt x="2" y="0"/>
                    </a:cubicBezTo>
                    <a:cubicBezTo>
                      <a:pt x="2" y="2"/>
                      <a:pt x="2" y="3"/>
                      <a:pt x="0" y="3"/>
                    </a:cubicBezTo>
                  </a:path>
                </a:pathLst>
              </a:custGeom>
              <a:solidFill>
                <a:srgbClr val="A2D683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  <p:sp>
            <p:nvSpPr>
              <p:cNvPr id="1106" name="Freeform 301"/>
              <p:cNvSpPr>
                <a:spLocks/>
              </p:cNvSpPr>
              <p:nvPr>
                <p:custDataLst>
                  <p:tags r:id="rId326"/>
                </p:custDataLst>
              </p:nvPr>
            </p:nvSpPr>
            <p:spPr bwMode="auto">
              <a:xfrm>
                <a:off x="4387959" y="2769046"/>
                <a:ext cx="4679" cy="701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2" y="3"/>
                  </a:cxn>
                  <a:cxn ang="0">
                    <a:pos x="0" y="1"/>
                  </a:cxn>
                </a:cxnLst>
                <a:rect l="0" t="0" r="r" b="b"/>
                <a:pathLst>
                  <a:path w="2" h="3">
                    <a:moveTo>
                      <a:pt x="0" y="1"/>
                    </a:moveTo>
                    <a:cubicBezTo>
                      <a:pt x="0" y="3"/>
                      <a:pt x="2" y="3"/>
                      <a:pt x="2" y="3"/>
                    </a:cubicBezTo>
                    <a:cubicBezTo>
                      <a:pt x="2" y="1"/>
                      <a:pt x="2" y="0"/>
                      <a:pt x="0" y="1"/>
                    </a:cubicBezTo>
                  </a:path>
                </a:pathLst>
              </a:custGeom>
              <a:solidFill>
                <a:srgbClr val="8A8A8D"/>
              </a:solidFill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600" dirty="0">
                  <a:latin typeface="Pontano Sans" pitchFamily="2" charset="0"/>
                </a:endParaRPr>
              </a:p>
            </p:txBody>
          </p:sp>
        </p:grpSp>
        <p:sp>
          <p:nvSpPr>
            <p:cNvPr id="805" name="35 CuadroTexto"/>
            <p:cNvSpPr txBox="1"/>
            <p:nvPr/>
          </p:nvSpPr>
          <p:spPr>
            <a:xfrm>
              <a:off x="1691680" y="1556792"/>
              <a:ext cx="792088" cy="357054"/>
            </a:xfrm>
            <a:prstGeom prst="ellipse">
              <a:avLst/>
            </a:prstGeom>
            <a:solidFill>
              <a:srgbClr val="D2CFCD"/>
            </a:solidFill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50" b="1" dirty="0">
                  <a:latin typeface="Pontano Sans" pitchFamily="2" charset="0"/>
                </a:rPr>
                <a:t>6</a:t>
              </a:r>
              <a:r>
                <a:rPr lang="es-ES" sz="1050" b="1" dirty="0" smtClean="0">
                  <a:latin typeface="Pontano Sans" pitchFamily="2" charset="0"/>
                </a:rPr>
                <a:t>%</a:t>
              </a:r>
              <a:endParaRPr lang="es-ES" sz="1050" b="1" dirty="0">
                <a:latin typeface="Pontano Sans" pitchFamily="2" charset="0"/>
              </a:endParaRPr>
            </a:p>
          </p:txBody>
        </p:sp>
        <p:sp>
          <p:nvSpPr>
            <p:cNvPr id="806" name="36 CuadroTexto"/>
            <p:cNvSpPr txBox="1"/>
            <p:nvPr/>
          </p:nvSpPr>
          <p:spPr>
            <a:xfrm>
              <a:off x="2627784" y="2989119"/>
              <a:ext cx="792088" cy="357054"/>
            </a:xfrm>
            <a:prstGeom prst="ellipse">
              <a:avLst/>
            </a:prstGeom>
            <a:solidFill>
              <a:srgbClr val="D2CFCD"/>
            </a:solidFill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50" b="1" dirty="0" smtClean="0">
                  <a:latin typeface="Pontano Sans" pitchFamily="2" charset="0"/>
                </a:rPr>
                <a:t>4%</a:t>
              </a:r>
              <a:endParaRPr lang="es-ES" sz="1050" b="1" dirty="0">
                <a:latin typeface="Pontano Sans" pitchFamily="2" charset="0"/>
              </a:endParaRPr>
            </a:p>
          </p:txBody>
        </p:sp>
        <p:sp>
          <p:nvSpPr>
            <p:cNvPr id="807" name="37 CuadroTexto"/>
            <p:cNvSpPr txBox="1"/>
            <p:nvPr/>
          </p:nvSpPr>
          <p:spPr>
            <a:xfrm>
              <a:off x="4355976" y="1916832"/>
              <a:ext cx="792088" cy="357054"/>
            </a:xfrm>
            <a:prstGeom prst="ellipse">
              <a:avLst/>
            </a:prstGeom>
            <a:solidFill>
              <a:srgbClr val="D2CFCD"/>
            </a:solidFill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50" b="1" dirty="0">
                  <a:latin typeface="Pontano Sans" pitchFamily="2" charset="0"/>
                </a:rPr>
                <a:t>43%</a:t>
              </a:r>
            </a:p>
          </p:txBody>
        </p:sp>
        <p:sp>
          <p:nvSpPr>
            <p:cNvPr id="808" name="38 CuadroTexto"/>
            <p:cNvSpPr txBox="1"/>
            <p:nvPr/>
          </p:nvSpPr>
          <p:spPr>
            <a:xfrm>
              <a:off x="4716016" y="2708920"/>
              <a:ext cx="792088" cy="357054"/>
            </a:xfrm>
            <a:prstGeom prst="ellipse">
              <a:avLst/>
            </a:prstGeom>
            <a:solidFill>
              <a:srgbClr val="D2CFCD"/>
            </a:solidFill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50" b="1" dirty="0" smtClean="0">
                  <a:latin typeface="Pontano Sans" pitchFamily="2" charset="0"/>
                </a:rPr>
                <a:t>8%</a:t>
              </a:r>
              <a:endParaRPr lang="es-ES" sz="1050" b="1" dirty="0">
                <a:latin typeface="Pontano Sans" pitchFamily="2" charset="0"/>
              </a:endParaRPr>
            </a:p>
          </p:txBody>
        </p:sp>
        <p:sp>
          <p:nvSpPr>
            <p:cNvPr id="809" name="39 CuadroTexto"/>
            <p:cNvSpPr txBox="1"/>
            <p:nvPr/>
          </p:nvSpPr>
          <p:spPr>
            <a:xfrm>
              <a:off x="5220072" y="1260927"/>
              <a:ext cx="792088" cy="357054"/>
            </a:xfrm>
            <a:prstGeom prst="ellipse">
              <a:avLst/>
            </a:prstGeom>
            <a:solidFill>
              <a:srgbClr val="D2CFCD"/>
            </a:solidFill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50" b="1" dirty="0" smtClean="0">
                  <a:latin typeface="Pontano Sans" pitchFamily="2" charset="0"/>
                </a:rPr>
                <a:t>31%</a:t>
              </a:r>
              <a:endParaRPr lang="es-ES" sz="1050" b="1" dirty="0">
                <a:latin typeface="Pontano Sans" pitchFamily="2" charset="0"/>
              </a:endParaRPr>
            </a:p>
          </p:txBody>
        </p:sp>
        <p:sp>
          <p:nvSpPr>
            <p:cNvPr id="810" name="40 CuadroTexto"/>
            <p:cNvSpPr txBox="1"/>
            <p:nvPr/>
          </p:nvSpPr>
          <p:spPr>
            <a:xfrm>
              <a:off x="6372200" y="2413055"/>
              <a:ext cx="792088" cy="357054"/>
            </a:xfrm>
            <a:prstGeom prst="ellipse">
              <a:avLst/>
            </a:prstGeom>
            <a:solidFill>
              <a:srgbClr val="D2CFCD"/>
            </a:solidFill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s-ES" sz="1050" b="1" dirty="0" smtClean="0">
                  <a:latin typeface="Pontano Sans" pitchFamily="2" charset="0"/>
                </a:rPr>
                <a:t>9%</a:t>
              </a:r>
              <a:endParaRPr lang="es-ES" sz="1050" b="1" dirty="0">
                <a:latin typeface="Pontano Sans" pitchFamily="2" charset="0"/>
              </a:endParaRPr>
            </a:p>
          </p:txBody>
        </p:sp>
      </p:grpSp>
      <p:graphicFrame>
        <p:nvGraphicFramePr>
          <p:cNvPr id="1121" name="23 Objeto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489240995"/>
              </p:ext>
            </p:extLst>
          </p:nvPr>
        </p:nvGraphicFramePr>
        <p:xfrm>
          <a:off x="876300" y="5676900"/>
          <a:ext cx="6924588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363" name="Chart" r:id="rId337" imgW="6924588" imgH="914490" progId="MSGraph.Chart.8">
                  <p:embed followColorScheme="full"/>
                </p:oleObj>
              </mc:Choice>
              <mc:Fallback>
                <p:oleObj name="Chart" r:id="rId337" imgW="6924588" imgH="91449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76300" y="5676900"/>
                        <a:ext cx="6924588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2" name="24 Rectángulo"/>
          <p:cNvSpPr/>
          <p:nvPr>
            <p:custDataLst>
              <p:tags r:id="rId22"/>
            </p:custDataLst>
          </p:nvPr>
        </p:nvSpPr>
        <p:spPr bwMode="auto">
          <a:xfrm>
            <a:off x="620713" y="5895975"/>
            <a:ext cx="309563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tx1"/>
                </a:solidFill>
                <a:latin typeface="Pontano Sans"/>
                <a:sym typeface="Pontano Sans"/>
              </a:rPr>
              <a:t>2016</a:t>
            </a:r>
            <a:endParaRPr lang="en-US" sz="1200" b="1" dirty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graphicFrame>
        <p:nvGraphicFramePr>
          <p:cNvPr id="1123" name="6 Objeto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986131708"/>
              </p:ext>
            </p:extLst>
          </p:nvPr>
        </p:nvGraphicFramePr>
        <p:xfrm>
          <a:off x="876300" y="4876800"/>
          <a:ext cx="6924588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364" name="Chart" r:id="rId339" imgW="6924588" imgH="914490" progId="MSGraph.Chart.8">
                  <p:embed followColorScheme="full"/>
                </p:oleObj>
              </mc:Choice>
              <mc:Fallback>
                <p:oleObj name="Chart" r:id="rId339" imgW="6924588" imgH="91449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76300" y="4876800"/>
                        <a:ext cx="6924588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5" name="7 Rectángulo"/>
          <p:cNvSpPr/>
          <p:nvPr>
            <p:custDataLst>
              <p:tags r:id="rId24"/>
            </p:custDataLst>
          </p:nvPr>
        </p:nvSpPr>
        <p:spPr bwMode="auto">
          <a:xfrm>
            <a:off x="619125" y="5076825"/>
            <a:ext cx="3111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tx1"/>
                </a:solidFill>
                <a:latin typeface="Pontano Sans"/>
                <a:sym typeface="Pontano Sans"/>
              </a:rPr>
              <a:t>1996</a:t>
            </a:r>
            <a:endParaRPr lang="en-US" sz="1200" b="1" dirty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graphicFrame>
        <p:nvGraphicFramePr>
          <p:cNvPr id="1126" name="18 Objeto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516366604"/>
              </p:ext>
            </p:extLst>
          </p:nvPr>
        </p:nvGraphicFramePr>
        <p:xfrm>
          <a:off x="876300" y="5257800"/>
          <a:ext cx="6924588" cy="914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365" name="Chart" r:id="rId341" imgW="6924588" imgH="914490" progId="MSGraph.Chart.8">
                  <p:embed followColorScheme="full"/>
                </p:oleObj>
              </mc:Choice>
              <mc:Fallback>
                <p:oleObj name="Chart" r:id="rId341" imgW="6924588" imgH="91449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76300" y="5257800"/>
                        <a:ext cx="6924588" cy="914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28" name="19 Rectángulo"/>
          <p:cNvSpPr/>
          <p:nvPr>
            <p:custDataLst>
              <p:tags r:id="rId26"/>
            </p:custDataLst>
          </p:nvPr>
        </p:nvSpPr>
        <p:spPr bwMode="auto">
          <a:xfrm>
            <a:off x="573088" y="5476875"/>
            <a:ext cx="357188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chemeClr val="tx1"/>
                </a:solidFill>
                <a:latin typeface="Pontano Sans"/>
                <a:sym typeface="Pontano Sans"/>
              </a:rPr>
              <a:t>2006</a:t>
            </a:r>
            <a:endParaRPr lang="en-US" sz="1200" b="1" dirty="0">
              <a:solidFill>
                <a:schemeClr val="tx1"/>
              </a:solidFill>
              <a:latin typeface="Pontano Sans"/>
              <a:sym typeface="Pontano Sans"/>
            </a:endParaRPr>
          </a:p>
        </p:txBody>
      </p:sp>
      <p:sp>
        <p:nvSpPr>
          <p:cNvPr id="1129" name="31 Rectángulo"/>
          <p:cNvSpPr/>
          <p:nvPr>
            <p:custDataLst>
              <p:tags r:id="rId27"/>
            </p:custDataLst>
          </p:nvPr>
        </p:nvSpPr>
        <p:spPr>
          <a:xfrm>
            <a:off x="5414378" y="5019904"/>
            <a:ext cx="10807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i="1" dirty="0" smtClean="0">
                <a:latin typeface="Pontano Sans" pitchFamily="2" charset="0"/>
                <a:sym typeface="Calibri"/>
              </a:rPr>
              <a:t>123,6  </a:t>
            </a:r>
            <a:r>
              <a:rPr lang="es-ES" sz="900" b="1" i="1" dirty="0" smtClean="0">
                <a:latin typeface="Pontano Sans" pitchFamily="2" charset="0"/>
                <a:sym typeface="Calibri"/>
              </a:rPr>
              <a:t>Trillones</a:t>
            </a:r>
            <a:r>
              <a:rPr lang="en-US" sz="900" b="1" i="1" dirty="0" smtClean="0">
                <a:latin typeface="Pontano Sans" pitchFamily="2" charset="0"/>
                <a:sym typeface="Calibri"/>
              </a:rPr>
              <a:t> </a:t>
            </a:r>
            <a:r>
              <a:rPr lang="en-US" sz="900" b="1" i="1" dirty="0">
                <a:latin typeface="Pontano Sans" pitchFamily="2" charset="0"/>
                <a:sym typeface="Calibri"/>
              </a:rPr>
              <a:t>m</a:t>
            </a:r>
            <a:r>
              <a:rPr lang="en-US" sz="900" b="1" i="1" baseline="30000" dirty="0">
                <a:latin typeface="Pontano Sans" pitchFamily="2" charset="0"/>
                <a:sym typeface="Calibri"/>
              </a:rPr>
              <a:t>3</a:t>
            </a:r>
            <a:endParaRPr lang="es-ES" sz="900" dirty="0">
              <a:latin typeface="Pontano Sans" pitchFamily="2" charset="0"/>
            </a:endParaRPr>
          </a:p>
        </p:txBody>
      </p:sp>
      <p:sp>
        <p:nvSpPr>
          <p:cNvPr id="1130" name="31 Rectángulo"/>
          <p:cNvSpPr/>
          <p:nvPr>
            <p:custDataLst>
              <p:tags r:id="rId28"/>
            </p:custDataLst>
          </p:nvPr>
        </p:nvSpPr>
        <p:spPr>
          <a:xfrm>
            <a:off x="6674371" y="5446704"/>
            <a:ext cx="10807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i="1" dirty="0" smtClean="0">
                <a:latin typeface="Pontano Sans" pitchFamily="2" charset="0"/>
                <a:sym typeface="Calibri"/>
              </a:rPr>
              <a:t>158,2  </a:t>
            </a:r>
            <a:r>
              <a:rPr lang="es-ES" sz="900" b="1" i="1" dirty="0" smtClean="0">
                <a:latin typeface="Pontano Sans" pitchFamily="2" charset="0"/>
                <a:sym typeface="Calibri"/>
              </a:rPr>
              <a:t>Trillones</a:t>
            </a:r>
            <a:r>
              <a:rPr lang="en-US" sz="900" b="1" i="1" dirty="0" smtClean="0">
                <a:latin typeface="Pontano Sans" pitchFamily="2" charset="0"/>
                <a:sym typeface="Calibri"/>
              </a:rPr>
              <a:t> </a:t>
            </a:r>
            <a:r>
              <a:rPr lang="en-US" sz="900" b="1" i="1" dirty="0">
                <a:latin typeface="Pontano Sans" pitchFamily="2" charset="0"/>
                <a:sym typeface="Calibri"/>
              </a:rPr>
              <a:t>m</a:t>
            </a:r>
            <a:r>
              <a:rPr lang="en-US" sz="900" b="1" i="1" baseline="30000" dirty="0">
                <a:latin typeface="Pontano Sans" pitchFamily="2" charset="0"/>
                <a:sym typeface="Calibri"/>
              </a:rPr>
              <a:t>3</a:t>
            </a:r>
            <a:endParaRPr lang="es-ES" sz="900" dirty="0">
              <a:latin typeface="Pontano Sans" pitchFamily="2" charset="0"/>
            </a:endParaRPr>
          </a:p>
        </p:txBody>
      </p:sp>
      <p:sp>
        <p:nvSpPr>
          <p:cNvPr id="1131" name="31 Rectángulo"/>
          <p:cNvSpPr/>
          <p:nvPr>
            <p:custDataLst>
              <p:tags r:id="rId29"/>
            </p:custDataLst>
          </p:nvPr>
        </p:nvSpPr>
        <p:spPr>
          <a:xfrm>
            <a:off x="7662669" y="5873504"/>
            <a:ext cx="108555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i="1" dirty="0" smtClean="0">
                <a:latin typeface="Pontano Sans" pitchFamily="2" charset="0"/>
                <a:sym typeface="Calibri"/>
              </a:rPr>
              <a:t>185,4  </a:t>
            </a:r>
            <a:r>
              <a:rPr lang="es-ES" sz="900" b="1" i="1" dirty="0" smtClean="0">
                <a:latin typeface="Pontano Sans" pitchFamily="2" charset="0"/>
                <a:sym typeface="Calibri"/>
              </a:rPr>
              <a:t>Trillones</a:t>
            </a:r>
            <a:r>
              <a:rPr lang="en-US" sz="900" b="1" i="1" dirty="0" smtClean="0">
                <a:latin typeface="Pontano Sans" pitchFamily="2" charset="0"/>
                <a:sym typeface="Calibri"/>
              </a:rPr>
              <a:t> </a:t>
            </a:r>
            <a:r>
              <a:rPr lang="en-US" sz="900" b="1" i="1" dirty="0">
                <a:latin typeface="Pontano Sans" pitchFamily="2" charset="0"/>
                <a:sym typeface="Calibri"/>
              </a:rPr>
              <a:t>m</a:t>
            </a:r>
            <a:r>
              <a:rPr lang="en-US" sz="900" b="1" i="1" baseline="30000" dirty="0">
                <a:latin typeface="Pontano Sans" pitchFamily="2" charset="0"/>
                <a:sym typeface="Calibri"/>
              </a:rPr>
              <a:t>3</a:t>
            </a:r>
            <a:endParaRPr lang="es-ES" sz="900" dirty="0">
              <a:latin typeface="Pontano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2784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251520" y="1052736"/>
            <a:ext cx="84969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El descubrimiento y explotación de yacimientos de </a:t>
            </a:r>
            <a:r>
              <a:rPr lang="es-ES" sz="1600" i="1" dirty="0">
                <a:solidFill>
                  <a:srgbClr val="404040"/>
                </a:solidFill>
                <a:latin typeface="Pontano Sans" pitchFamily="2" charset="0"/>
              </a:rPr>
              <a:t>shale gas </a:t>
            </a:r>
            <a:r>
              <a:rPr lang="es-ES" sz="1600" i="1" dirty="0" smtClean="0">
                <a:solidFill>
                  <a:srgbClr val="404040"/>
                </a:solidFill>
                <a:latin typeface="Pontano Sans" pitchFamily="2" charset="0"/>
              </a:rPr>
              <a:t>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ha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supuesto una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revolución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del mercado energético en EEUU</a:t>
            </a:r>
            <a:endParaRPr lang="es-ES_tradnl" sz="1600" dirty="0">
              <a:solidFill>
                <a:srgbClr val="40404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8244408" y="6429396"/>
            <a:ext cx="532894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5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478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480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1" name="480 CuadroTexto"/>
          <p:cNvSpPr txBox="1"/>
          <p:nvPr/>
        </p:nvSpPr>
        <p:spPr>
          <a:xfrm>
            <a:off x="7380312" y="116632"/>
            <a:ext cx="15121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3. Aprovisionamiento de gas natural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485" name="484 CuadroTexto"/>
          <p:cNvSpPr txBox="1"/>
          <p:nvPr/>
        </p:nvSpPr>
        <p:spPr>
          <a:xfrm>
            <a:off x="2915816" y="1885258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486" name="485 CuadroTexto"/>
          <p:cNvSpPr txBox="1"/>
          <p:nvPr/>
        </p:nvSpPr>
        <p:spPr>
          <a:xfrm>
            <a:off x="3235696" y="1885258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487" name="486 CuadroTexto"/>
          <p:cNvSpPr txBox="1"/>
          <p:nvPr/>
        </p:nvSpPr>
        <p:spPr>
          <a:xfrm>
            <a:off x="3705844" y="1885258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488" name="487 Rectángulo"/>
          <p:cNvSpPr/>
          <p:nvPr/>
        </p:nvSpPr>
        <p:spPr>
          <a:xfrm>
            <a:off x="325807" y="1761387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490" name="489 CuadroTexto"/>
          <p:cNvSpPr txBox="1"/>
          <p:nvPr/>
        </p:nvSpPr>
        <p:spPr>
          <a:xfrm>
            <a:off x="395536" y="1735417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El recurso técnicamente recuperable de </a:t>
            </a:r>
            <a:r>
              <a:rPr lang="es-ES" sz="1200" i="1" dirty="0">
                <a:solidFill>
                  <a:srgbClr val="404040"/>
                </a:solidFill>
                <a:latin typeface="+mj-lt"/>
              </a:rPr>
              <a:t>shale gas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en el mundo se estima en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7.300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trillones de pies cúbicos, los cuales están distribuidos principalmente en 10 países </a:t>
            </a:r>
            <a:endParaRPr lang="es-ES" sz="1200" dirty="0" smtClean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491" name="490 Conector recto"/>
          <p:cNvCxnSpPr/>
          <p:nvPr/>
        </p:nvCxnSpPr>
        <p:spPr>
          <a:xfrm>
            <a:off x="325807" y="1669059"/>
            <a:ext cx="4174052" cy="5557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4" name="493 Rectángulo"/>
          <p:cNvSpPr/>
          <p:nvPr/>
        </p:nvSpPr>
        <p:spPr>
          <a:xfrm>
            <a:off x="4684520" y="1761654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cxnSp>
        <p:nvCxnSpPr>
          <p:cNvPr id="495" name="494 Conector recto"/>
          <p:cNvCxnSpPr/>
          <p:nvPr/>
        </p:nvCxnSpPr>
        <p:spPr>
          <a:xfrm>
            <a:off x="4684520" y="1673136"/>
            <a:ext cx="4135952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6" name="495 CuadroTexto"/>
          <p:cNvSpPr txBox="1"/>
          <p:nvPr/>
        </p:nvSpPr>
        <p:spPr>
          <a:xfrm>
            <a:off x="4669408" y="1736095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En los últimos años se han investigado y desarrollado en EEUU nuevas formas de extracción de gas natural denominadas “no convencionales”</a:t>
            </a:r>
          </a:p>
        </p:txBody>
      </p:sp>
      <p:cxnSp>
        <p:nvCxnSpPr>
          <p:cNvPr id="497" name="496 Conector recto"/>
          <p:cNvCxnSpPr/>
          <p:nvPr/>
        </p:nvCxnSpPr>
        <p:spPr>
          <a:xfrm>
            <a:off x="4716463" y="5824314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8" name="Rectangle 122"/>
          <p:cNvSpPr>
            <a:spLocks noChangeAspect="1" noChangeArrowheads="1"/>
          </p:cNvSpPr>
          <p:nvPr/>
        </p:nvSpPr>
        <p:spPr bwMode="auto">
          <a:xfrm>
            <a:off x="5524996" y="5805264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EIA,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Annual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Energy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 Outlook 2013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cxnSp>
        <p:nvCxnSpPr>
          <p:cNvPr id="499" name="498 Conector recto"/>
          <p:cNvCxnSpPr/>
          <p:nvPr/>
        </p:nvCxnSpPr>
        <p:spPr>
          <a:xfrm>
            <a:off x="314404" y="5820122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0" name="Rectangle 122"/>
          <p:cNvSpPr>
            <a:spLocks noChangeAspect="1" noChangeArrowheads="1"/>
          </p:cNvSpPr>
          <p:nvPr/>
        </p:nvSpPr>
        <p:spPr bwMode="auto">
          <a:xfrm>
            <a:off x="1178500" y="582722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IA,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Technically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recoverable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shale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oil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 and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shale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 gas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resources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sp>
        <p:nvSpPr>
          <p:cNvPr id="501" name="500 Rectángulo"/>
          <p:cNvSpPr/>
          <p:nvPr/>
        </p:nvSpPr>
        <p:spPr>
          <a:xfrm>
            <a:off x="323850" y="6022222"/>
            <a:ext cx="8496300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502" name="501 CuadroTexto"/>
          <p:cNvSpPr txBox="1"/>
          <p:nvPr/>
        </p:nvSpPr>
        <p:spPr>
          <a:xfrm>
            <a:off x="571472" y="6009840"/>
            <a:ext cx="80010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>
                <a:solidFill>
                  <a:srgbClr val="404040"/>
                </a:solidFill>
                <a:latin typeface="+mj-lt"/>
              </a:rPr>
              <a:t>El éxito del </a:t>
            </a:r>
            <a:r>
              <a:rPr lang="es-ES" sz="1000" i="1" dirty="0">
                <a:solidFill>
                  <a:srgbClr val="404040"/>
                </a:solidFill>
                <a:latin typeface="+mj-lt"/>
              </a:rPr>
              <a:t>shale gas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en EEUU se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debe a la conjunción de una serie de factores, entre los que se encuentran las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características geológicas del terreno, el régimen de propiedad de los derechos minerales, la existencia de una potente industria de servicios que lo apoya, la regulación medioambiental y la accesibilidad a un mercado líquido y transparente</a:t>
            </a:r>
          </a:p>
          <a:p>
            <a:pPr algn="ctr"/>
            <a:endParaRPr lang="es-ES" sz="1000" dirty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503" name="502 Conector recto"/>
          <p:cNvCxnSpPr/>
          <p:nvPr/>
        </p:nvCxnSpPr>
        <p:spPr>
          <a:xfrm>
            <a:off x="323850" y="6028171"/>
            <a:ext cx="84963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07" name="506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73027926"/>
              </p:ext>
            </p:extLst>
          </p:nvPr>
        </p:nvGraphicFramePr>
        <p:xfrm>
          <a:off x="425131" y="2795348"/>
          <a:ext cx="4002853" cy="24276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3818" name="Chart" r:id="rId6" imgW="5886331" imgH="2571657" progId="MSGraph.Chart.8">
                  <p:embed followColorScheme="full"/>
                </p:oleObj>
              </mc:Choice>
              <mc:Fallback>
                <p:oleObj name="Chart" r:id="rId6" imgW="5886331" imgH="2571657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5131" y="2795348"/>
                        <a:ext cx="4002853" cy="2427657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5" name="514 Rectángulo"/>
          <p:cNvSpPr/>
          <p:nvPr/>
        </p:nvSpPr>
        <p:spPr bwMode="auto">
          <a:xfrm flipV="1">
            <a:off x="1395469" y="5098064"/>
            <a:ext cx="212725" cy="7286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pic>
        <p:nvPicPr>
          <p:cNvPr id="518" name="Picture 8" descr="C:\Users\sruizgonza001\Desktop\SRG PWC\Aqua Flag Bubble Avatars\a-e\argentina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82549" y="5131824"/>
            <a:ext cx="288000" cy="288000"/>
          </a:xfrm>
          <a:prstGeom prst="rect">
            <a:avLst/>
          </a:prstGeom>
          <a:noFill/>
        </p:spPr>
      </p:pic>
      <p:pic>
        <p:nvPicPr>
          <p:cNvPr id="519" name="Picture 9" descr="C:\Users\sruizgonza001\Desktop\SRG PWC\Aqua Flag Bubble Avatars\a-e\algeria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420699" y="5131824"/>
            <a:ext cx="288000" cy="288000"/>
          </a:xfrm>
          <a:prstGeom prst="rect">
            <a:avLst/>
          </a:prstGeom>
          <a:noFill/>
        </p:spPr>
      </p:pic>
      <p:pic>
        <p:nvPicPr>
          <p:cNvPr id="520" name="Picture 10" descr="C:\Users\sruizgonza001\Desktop\SRG PWC\Aqua Flag Bubble Avatars\a-e\china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543908" y="5131824"/>
            <a:ext cx="288000" cy="288000"/>
          </a:xfrm>
          <a:prstGeom prst="rect">
            <a:avLst/>
          </a:prstGeom>
          <a:noFill/>
        </p:spPr>
      </p:pic>
      <p:pic>
        <p:nvPicPr>
          <p:cNvPr id="521" name="Picture 11" descr="C:\Users\sruizgonza001\Desktop\SRG PWC\Aqua Flag Bubble Avatars\a-e\canada.pn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2268623" y="5131824"/>
            <a:ext cx="288000" cy="288000"/>
          </a:xfrm>
          <a:prstGeom prst="rect">
            <a:avLst/>
          </a:prstGeom>
          <a:noFill/>
        </p:spPr>
      </p:pic>
      <p:pic>
        <p:nvPicPr>
          <p:cNvPr id="522" name="Picture 12" descr="C:\Users\sruizgonza001\Desktop\SRG PWC\Aqua Flag Bubble Avatars\a-e\australia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137003" y="5131824"/>
            <a:ext cx="288000" cy="288000"/>
          </a:xfrm>
          <a:prstGeom prst="rect">
            <a:avLst/>
          </a:prstGeom>
          <a:noFill/>
        </p:spPr>
      </p:pic>
      <p:pic>
        <p:nvPicPr>
          <p:cNvPr id="523" name="Picture 13" descr="C:\Users\sruizgonza001\Desktop\SRG PWC\Aqua Flag Bubble Avatars\u-z\united_states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833449" y="5131824"/>
            <a:ext cx="288000" cy="288000"/>
          </a:xfrm>
          <a:prstGeom prst="rect">
            <a:avLst/>
          </a:prstGeom>
          <a:noFill/>
        </p:spPr>
      </p:pic>
      <p:pic>
        <p:nvPicPr>
          <p:cNvPr id="524" name="Picture 14" descr="C:\Users\sruizgonza001\Desktop\SRG PWC\Aqua Flag Bubble Avatars\p-t\russian_federation.png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4013831" y="5131824"/>
            <a:ext cx="288000" cy="288000"/>
          </a:xfrm>
          <a:prstGeom prst="rect">
            <a:avLst/>
          </a:prstGeom>
          <a:noFill/>
        </p:spPr>
      </p:pic>
      <p:pic>
        <p:nvPicPr>
          <p:cNvPr id="525" name="Picture 15" descr="C:\Users\sruizgonza001\Desktop\SRG PWC\Aqua Flag Bubble Avatars\p-t\south_africa.pn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3581751" y="5131824"/>
            <a:ext cx="288000" cy="288000"/>
          </a:xfrm>
          <a:prstGeom prst="rect">
            <a:avLst/>
          </a:prstGeom>
          <a:noFill/>
        </p:spPr>
      </p:pic>
      <p:pic>
        <p:nvPicPr>
          <p:cNvPr id="526" name="Picture 16" descr="C:\Users\sruizgonza001\Desktop\SRG PWC\Aqua Flag Bubble Avatars\k-o\mexico.pn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2717655" y="5131824"/>
            <a:ext cx="288000" cy="288000"/>
          </a:xfrm>
          <a:prstGeom prst="rect">
            <a:avLst/>
          </a:prstGeom>
          <a:noFill/>
        </p:spPr>
      </p:pic>
      <p:sp>
        <p:nvSpPr>
          <p:cNvPr id="6" name="5 Rectángulo"/>
          <p:cNvSpPr/>
          <p:nvPr/>
        </p:nvSpPr>
        <p:spPr>
          <a:xfrm>
            <a:off x="505302" y="2641104"/>
            <a:ext cx="41549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 smtClean="0">
                <a:latin typeface="+mj-lt"/>
                <a:sym typeface="Calibri"/>
              </a:rPr>
              <a:t>1.115</a:t>
            </a:r>
            <a:endParaRPr lang="es-ES" sz="1100" dirty="0">
              <a:latin typeface="+mj-lt"/>
            </a:endParaRPr>
          </a:p>
        </p:txBody>
      </p:sp>
      <p:sp>
        <p:nvSpPr>
          <p:cNvPr id="527" name="526 Rectángulo"/>
          <p:cNvSpPr/>
          <p:nvPr/>
        </p:nvSpPr>
        <p:spPr>
          <a:xfrm>
            <a:off x="281852" y="5579243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Reservas de </a:t>
            </a:r>
            <a:r>
              <a:rPr lang="es-ES" sz="1000" i="1" dirty="0" smtClean="0">
                <a:solidFill>
                  <a:schemeClr val="tx1"/>
                </a:solidFill>
                <a:latin typeface="Pontano Sans" pitchFamily="2" charset="0"/>
              </a:rPr>
              <a:t>shale gas </a:t>
            </a:r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a nivel global</a:t>
            </a:r>
          </a:p>
        </p:txBody>
      </p:sp>
      <p:sp>
        <p:nvSpPr>
          <p:cNvPr id="528" name="527 Rectángulo"/>
          <p:cNvSpPr/>
          <p:nvPr/>
        </p:nvSpPr>
        <p:spPr>
          <a:xfrm>
            <a:off x="4617020" y="5582954"/>
            <a:ext cx="42034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Producción de gas natural no convencional en EEUU</a:t>
            </a:r>
          </a:p>
        </p:txBody>
      </p:sp>
      <p:pic>
        <p:nvPicPr>
          <p:cNvPr id="40" name="Picture 39"/>
          <p:cNvPicPr/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21"/>
          <a:stretch/>
        </p:blipFill>
        <p:spPr bwMode="auto">
          <a:xfrm>
            <a:off x="4720353" y="2548007"/>
            <a:ext cx="4032001" cy="281841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482634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sp>
        <p:nvSpPr>
          <p:cNvPr id="96" name="95 CuadroTexto"/>
          <p:cNvSpPr txBox="1"/>
          <p:nvPr/>
        </p:nvSpPr>
        <p:spPr>
          <a:xfrm>
            <a:off x="179512" y="993552"/>
            <a:ext cx="87129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La evolución de las infraestructuras gasistas ha estado intrínsecamente ligada a la existencia de una planificación vinculante que define la construcción de infraestructuras</a:t>
            </a: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8244408" y="6429396"/>
            <a:ext cx="532894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6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73" name="172 Conector recto"/>
          <p:cNvCxnSpPr/>
          <p:nvPr/>
        </p:nvCxnSpPr>
        <p:spPr>
          <a:xfrm>
            <a:off x="325807" y="1669059"/>
            <a:ext cx="8494343" cy="5557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0" name="289 Rectángulo"/>
          <p:cNvSpPr/>
          <p:nvPr/>
        </p:nvSpPr>
        <p:spPr>
          <a:xfrm>
            <a:off x="323850" y="6022222"/>
            <a:ext cx="8496300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91" name="290 CuadroTexto"/>
          <p:cNvSpPr txBox="1"/>
          <p:nvPr/>
        </p:nvSpPr>
        <p:spPr>
          <a:xfrm>
            <a:off x="314404" y="6004760"/>
            <a:ext cx="85314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>
                <a:solidFill>
                  <a:srgbClr val="404040"/>
                </a:solidFill>
                <a:latin typeface="+mj-lt"/>
              </a:rPr>
              <a:t>Las infraestructuras de gas natural actualmente en servicio en España son componen de: 3 yacimientos, 6 plantas de regasificación de GNL en servicio, 4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AA.SS., 6 interconexiones,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más de 12.000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km de gasoductos de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transporte y de 67.000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km de gasoductos de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distribución. Además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, otras instalaciones auxiliares, estaciones de compresión y plantas satélite de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GNL</a:t>
            </a:r>
            <a:endParaRPr lang="es-ES" sz="1000" dirty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292" name="291 Conector recto"/>
          <p:cNvCxnSpPr/>
          <p:nvPr/>
        </p:nvCxnSpPr>
        <p:spPr>
          <a:xfrm>
            <a:off x="323850" y="6028171"/>
            <a:ext cx="84963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19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34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34 CuadroTexto"/>
          <p:cNvSpPr txBox="1"/>
          <p:nvPr/>
        </p:nvSpPr>
        <p:spPr>
          <a:xfrm>
            <a:off x="7380312" y="116632"/>
            <a:ext cx="15121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3. Aprovisionamiento de gas natural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cxnSp>
        <p:nvCxnSpPr>
          <p:cNvPr id="22" name="21 Conector recto"/>
          <p:cNvCxnSpPr/>
          <p:nvPr/>
        </p:nvCxnSpPr>
        <p:spPr>
          <a:xfrm>
            <a:off x="4716463" y="5824314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122"/>
          <p:cNvSpPr>
            <a:spLocks noChangeAspect="1" noChangeArrowheads="1"/>
          </p:cNvSpPr>
          <p:nvPr/>
        </p:nvSpPr>
        <p:spPr bwMode="auto">
          <a:xfrm>
            <a:off x="5524996" y="5805264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Comisión Nacional de la Energía, </a:t>
            </a:r>
            <a:r>
              <a:rPr lang="es-ES" sz="700" dirty="0">
                <a:solidFill>
                  <a:srgbClr val="8A8A8D"/>
                </a:solidFill>
                <a:latin typeface="+mj-lt"/>
              </a:rPr>
              <a:t>CNE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cxnSp>
        <p:nvCxnSpPr>
          <p:cNvPr id="24" name="23 Conector recto"/>
          <p:cNvCxnSpPr/>
          <p:nvPr/>
        </p:nvCxnSpPr>
        <p:spPr>
          <a:xfrm>
            <a:off x="314404" y="5820122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26 Rectángulo"/>
          <p:cNvSpPr/>
          <p:nvPr/>
        </p:nvSpPr>
        <p:spPr>
          <a:xfrm>
            <a:off x="281852" y="5579243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Mapa de infraestructuras gasistas en España</a:t>
            </a:r>
          </a:p>
        </p:txBody>
      </p:sp>
      <p:sp>
        <p:nvSpPr>
          <p:cNvPr id="28" name="27 Rectángulo"/>
          <p:cNvSpPr/>
          <p:nvPr/>
        </p:nvSpPr>
        <p:spPr>
          <a:xfrm>
            <a:off x="4617020" y="5582954"/>
            <a:ext cx="42034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Esquema de las principales infraestructuras gasistas en España</a:t>
            </a:r>
          </a:p>
        </p:txBody>
      </p:sp>
      <p:sp>
        <p:nvSpPr>
          <p:cNvPr id="42" name="Rectangle 122"/>
          <p:cNvSpPr>
            <a:spLocks noChangeAspect="1" noChangeArrowheads="1"/>
          </p:cNvSpPr>
          <p:nvPr/>
        </p:nvSpPr>
        <p:spPr bwMode="auto">
          <a:xfrm>
            <a:off x="1178500" y="582722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CNMC]</a:t>
            </a:r>
          </a:p>
        </p:txBody>
      </p:sp>
      <p:pic>
        <p:nvPicPr>
          <p:cNvPr id="1055180" name="Picture 46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7512" y="2131280"/>
            <a:ext cx="4632268" cy="2862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3850" y="1823159"/>
            <a:ext cx="3923662" cy="355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433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pic>
        <p:nvPicPr>
          <p:cNvPr id="73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4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67 Título"/>
          <p:cNvSpPr>
            <a:spLocks noGrp="1"/>
          </p:cNvSpPr>
          <p:nvPr>
            <p:ph type="title"/>
          </p:nvPr>
        </p:nvSpPr>
        <p:spPr>
          <a:xfrm>
            <a:off x="500034" y="980728"/>
            <a:ext cx="8077200" cy="1071570"/>
          </a:xfrm>
        </p:spPr>
        <p:txBody>
          <a:bodyPr>
            <a:normAutofit/>
          </a:bodyPr>
          <a:lstStyle/>
          <a:p>
            <a:r>
              <a:rPr lang="es-ES" sz="2800" dirty="0" smtClean="0">
                <a:solidFill>
                  <a:srgbClr val="00567C"/>
                </a:solidFill>
              </a:rPr>
              <a:t>4. </a:t>
            </a:r>
            <a:r>
              <a:rPr lang="es-ES" sz="2800" dirty="0">
                <a:solidFill>
                  <a:srgbClr val="00567C"/>
                </a:solidFill>
              </a:rPr>
              <a:t>Comercialización</a:t>
            </a:r>
          </a:p>
        </p:txBody>
      </p:sp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>
          <a:xfrm>
            <a:off x="285720" y="206084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92 Rectángulo"/>
          <p:cNvSpPr/>
          <p:nvPr/>
        </p:nvSpPr>
        <p:spPr>
          <a:xfrm>
            <a:off x="285720" y="2636912"/>
            <a:ext cx="8501122" cy="2585013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95" name="94 CuadroTexto"/>
          <p:cNvSpPr txBox="1"/>
          <p:nvPr/>
        </p:nvSpPr>
        <p:spPr>
          <a:xfrm>
            <a:off x="285720" y="2975156"/>
            <a:ext cx="8568952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La actividad de comercialización de gas, liberalizada en España, engloba todas aquellas transacciones necesarias para suministrar gas a clientes finales. Para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llevar la energía al consumidor, las empresas comercializadoras hacen uso de las redes de transporte y distribución, en condiciones no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discriminatorias y pagando por ello unos peajes regulados</a:t>
            </a: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La Tarifa de Último Recurso (TUR)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es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un precio regulado establecido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como medida de protección de los pequeños consumidores, pero que debe marcar una hoja de ruta hacia la liberalización del mercado y debe fomentar la competencia entre las principales comercializadoras de gas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natural</a:t>
            </a:r>
            <a:endParaRPr lang="es-ES" sz="1400" b="1" dirty="0">
              <a:solidFill>
                <a:srgbClr val="404040"/>
              </a:solidFill>
              <a:latin typeface="+mj-lt"/>
            </a:endParaRP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endParaRPr lang="es-ES" sz="1400" b="1" dirty="0" smtClean="0">
              <a:solidFill>
                <a:srgbClr val="404040"/>
              </a:solidFill>
              <a:latin typeface="+mj-lt"/>
            </a:endParaRPr>
          </a:p>
          <a:p>
            <a:pPr marL="177800" lvl="1" indent="-95250">
              <a:spcAft>
                <a:spcPts val="600"/>
              </a:spcAft>
              <a:buFont typeface="Arial" pitchFamily="34" charset="0"/>
              <a:buChar char="•"/>
            </a:pPr>
            <a:endParaRPr lang="es-ES_tradnl" sz="1300" dirty="0" smtClean="0">
              <a:solidFill>
                <a:srgbClr val="00567C"/>
              </a:solidFill>
              <a:latin typeface="+mj-lt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7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8" name="17 CuadroTexto"/>
          <p:cNvSpPr txBox="1"/>
          <p:nvPr>
            <p:custDataLst>
              <p:tags r:id="rId2"/>
            </p:custDataLst>
          </p:nvPr>
        </p:nvSpPr>
        <p:spPr>
          <a:xfrm>
            <a:off x="7380312" y="116632"/>
            <a:ext cx="1512168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4. Comercialización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97612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5784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070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9ABE"/>
          </a:solidFill>
          <a:ln w="3175">
            <a:noFill/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42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44016" y="1052736"/>
            <a:ext cx="88924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La actividad de comercialización de gas, liberalizada en España, engloba todas aquellas transacciones necesarias para suministrar gas a clientes finales. Para llevar la energía al consumidor, las empresas comercializadoras hacen uso de las redes de transporte y distribución, en condiciones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no discriminatorias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y pagando por ello unos peajes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regulados</a:t>
            </a:r>
            <a:endParaRPr lang="es-ES" sz="1600" dirty="0">
              <a:solidFill>
                <a:srgbClr val="40404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8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62" name="161 Conector recto"/>
          <p:cNvCxnSpPr/>
          <p:nvPr/>
        </p:nvCxnSpPr>
        <p:spPr>
          <a:xfrm>
            <a:off x="323410" y="208828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CuadroTexto"/>
          <p:cNvSpPr txBox="1"/>
          <p:nvPr/>
        </p:nvSpPr>
        <p:spPr>
          <a:xfrm>
            <a:off x="2915816" y="2282019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3235696" y="2282019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6" name="15 CuadroTexto"/>
          <p:cNvSpPr txBox="1"/>
          <p:nvPr/>
        </p:nvSpPr>
        <p:spPr>
          <a:xfrm>
            <a:off x="3705844" y="2282019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325807" y="2158148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8" name="17 CuadroTexto"/>
          <p:cNvSpPr txBox="1"/>
          <p:nvPr/>
        </p:nvSpPr>
        <p:spPr>
          <a:xfrm>
            <a:off x="319350" y="2137828"/>
            <a:ext cx="4252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En la Ley 34/1998  (Ley de Hidrocarburos) se establecen las bases de los derechos de estas empresas, que se desarrollan en el Real Decreto 1434/2002</a:t>
            </a:r>
            <a:endParaRPr lang="es-ES" sz="1200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4684520" y="2158415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1" name="20 CuadroTexto"/>
          <p:cNvSpPr txBox="1"/>
          <p:nvPr/>
        </p:nvSpPr>
        <p:spPr>
          <a:xfrm>
            <a:off x="4669408" y="2132856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La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legislación establece que se podrán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acogerse a la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TUR los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consumidores conectados a redes de presión menor o igual a 4 bar y consumo inferior a 50.000 kWh/año</a:t>
            </a:r>
            <a:endParaRPr lang="es-ES" sz="1200" dirty="0" smtClean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36" name="35 Conector recto"/>
          <p:cNvCxnSpPr/>
          <p:nvPr/>
        </p:nvCxnSpPr>
        <p:spPr>
          <a:xfrm>
            <a:off x="314404" y="6041118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122"/>
          <p:cNvSpPr>
            <a:spLocks noChangeAspect="1" noChangeArrowheads="1"/>
          </p:cNvSpPr>
          <p:nvPr/>
        </p:nvSpPr>
        <p:spPr bwMode="auto">
          <a:xfrm>
            <a:off x="1178500" y="604821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>
                <a:solidFill>
                  <a:srgbClr val="8A8A8D"/>
                </a:solidFill>
              </a:rPr>
              <a:t>[Fuente: </a:t>
            </a:r>
            <a:r>
              <a:rPr lang="es-ES" sz="700" dirty="0">
                <a:solidFill>
                  <a:srgbClr val="8A8A8D"/>
                </a:solidFill>
              </a:rPr>
              <a:t>Comisión Nacional de Mercados y Competencia, CNMC</a:t>
            </a:r>
            <a:r>
              <a:rPr lang="es-ES_tradnl" sz="700" dirty="0">
                <a:solidFill>
                  <a:srgbClr val="8A8A8D"/>
                </a:solidFill>
              </a:rPr>
              <a:t>]</a:t>
            </a:r>
          </a:p>
        </p:txBody>
      </p:sp>
      <p:sp>
        <p:nvSpPr>
          <p:cNvPr id="34" name="33 Rectángulo"/>
          <p:cNvSpPr/>
          <p:nvPr/>
        </p:nvSpPr>
        <p:spPr>
          <a:xfrm>
            <a:off x="281852" y="5800239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Cuotas en el mercado minorista de gas natural en España en 2016</a:t>
            </a:r>
          </a:p>
        </p:txBody>
      </p:sp>
      <p:pic>
        <p:nvPicPr>
          <p:cNvPr id="35" name="Picture 7"/>
          <p:cNvPicPr>
            <a:picLocks noChangeAspect="1" noChangeArrowheads="1"/>
          </p:cNvPicPr>
          <p:nvPr/>
        </p:nvPicPr>
        <p:blipFill>
          <a:blip r:embed="rId43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38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38 CuadroTexto"/>
          <p:cNvSpPr txBox="1"/>
          <p:nvPr/>
        </p:nvSpPr>
        <p:spPr>
          <a:xfrm>
            <a:off x="7380312" y="116632"/>
            <a:ext cx="1512168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4. Comercialización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7789113"/>
              </p:ext>
            </p:extLst>
          </p:nvPr>
        </p:nvGraphicFramePr>
        <p:xfrm>
          <a:off x="793528" y="2872742"/>
          <a:ext cx="2956560" cy="2842895"/>
        </p:xfrm>
        <a:graphic>
          <a:graphicData uri="http://schemas.openxmlformats.org/drawingml/2006/table">
            <a:tbl>
              <a:tblPr firstRow="1" firstCol="1" bandRow="1"/>
              <a:tblGrid>
                <a:gridCol w="2127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93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8650">
                <a:tc gridSpan="2">
                  <a:txBody>
                    <a:bodyPr/>
                    <a:lstStyle/>
                    <a:p>
                      <a:pPr algn="ctr">
                        <a:spcBef>
                          <a:spcPts val="2400"/>
                        </a:spcBef>
                        <a:spcAft>
                          <a:spcPts val="0"/>
                        </a:spcAft>
                      </a:pPr>
                      <a:r>
                        <a:rPr lang="es-ES_tradnl" sz="1050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Evolución de las ventas de gas natural en el mercado minorista por empresas comercializadoras</a:t>
                      </a:r>
                      <a:endParaRPr lang="es-ES" sz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56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as Natural Fenosa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,3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rupo Endesa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,5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UF Gas Comercializadora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,8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Iberdrola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,2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epsa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1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xpo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4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DP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3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alp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P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,4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gie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6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129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s-ES_tradnl" sz="900" b="1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onatrach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solidFill>
                            <a:srgbClr val="00567C"/>
                          </a:solidFill>
                          <a:effectLst/>
                          <a:latin typeface="Pontano Sans" panose="020B060402020202020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%</a:t>
                      </a:r>
                      <a:endParaRPr lang="es-ES" sz="1000" dirty="0">
                        <a:effectLst/>
                        <a:latin typeface="Pontano Sans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cxnSp>
        <p:nvCxnSpPr>
          <p:cNvPr id="40" name="39 Conector recto"/>
          <p:cNvCxnSpPr/>
          <p:nvPr/>
        </p:nvCxnSpPr>
        <p:spPr>
          <a:xfrm>
            <a:off x="4716463" y="6041118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122"/>
          <p:cNvSpPr>
            <a:spLocks noChangeAspect="1" noChangeArrowheads="1"/>
          </p:cNvSpPr>
          <p:nvPr/>
        </p:nvSpPr>
        <p:spPr bwMode="auto">
          <a:xfrm>
            <a:off x="5524996" y="6026260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Comisión Nacional de Mercados y Competencia, CNMC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sp>
        <p:nvSpPr>
          <p:cNvPr id="42" name="41 Rectángulo"/>
          <p:cNvSpPr/>
          <p:nvPr/>
        </p:nvSpPr>
        <p:spPr>
          <a:xfrm>
            <a:off x="4617020" y="5803950"/>
            <a:ext cx="42034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Estructura del mercado de gas natural</a:t>
            </a:r>
            <a:endParaRPr lang="es-ES" sz="1000" dirty="0">
              <a:latin typeface="Pontano Sans" pitchFamily="2" charset="0"/>
            </a:endParaRPr>
          </a:p>
        </p:txBody>
      </p:sp>
      <p:graphicFrame>
        <p:nvGraphicFramePr>
          <p:cNvPr id="58" name="6 Objeto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4626718"/>
              </p:ext>
            </p:extLst>
          </p:nvPr>
        </p:nvGraphicFramePr>
        <p:xfrm>
          <a:off x="5676899" y="2743200"/>
          <a:ext cx="1419278" cy="1419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071" name="Chart" r:id="rId44" imgW="1419278" imgH="1419120" progId="MSGraph.Chart.8">
                  <p:embed followColorScheme="full"/>
                </p:oleObj>
              </mc:Choice>
              <mc:Fallback>
                <p:oleObj name="Chart" r:id="rId44" imgW="1419278" imgH="141912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76899" y="2743200"/>
                        <a:ext cx="1419278" cy="14191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8 Rectángulo"/>
          <p:cNvSpPr/>
          <p:nvPr>
            <p:custDataLst>
              <p:tags r:id="rId5"/>
            </p:custDataLst>
          </p:nvPr>
        </p:nvSpPr>
        <p:spPr bwMode="gray">
          <a:xfrm>
            <a:off x="6424613" y="3676650"/>
            <a:ext cx="419100" cy="1682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3813" tIns="0" rIns="23813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4351C44-22D3-4D94-BF89-398BD83F78A2}" type="datetime'''''''''''''7''''8'''''''''''''',''''''''6''''''''%'''">
              <a:rPr lang="en-US" altLang="en-US" sz="1100">
                <a:solidFill>
                  <a:schemeClr val="bg1"/>
                </a:solidFill>
                <a:latin typeface="+mj-lt"/>
                <a:sym typeface="+mj-lt"/>
              </a:rPr>
              <a:pPr/>
              <a:t>78,6%</a:t>
            </a:fld>
            <a:endParaRPr lang="en-US" sz="1100" dirty="0">
              <a:solidFill>
                <a:schemeClr val="bg1"/>
              </a:solidFill>
              <a:latin typeface="+mj-lt"/>
              <a:sym typeface="+mj-lt"/>
            </a:endParaRPr>
          </a:p>
        </p:txBody>
      </p:sp>
      <p:sp>
        <p:nvSpPr>
          <p:cNvPr id="59" name="2 Marcador de texto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948363" y="3060700"/>
            <a:ext cx="388938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EE2582-3C64-4CF2-B08B-7AD783DE6956}" type="datetime'''''''2''''''''1,''''''''''''5''''''''''''%'''''''''''">
              <a:rPr lang="en-US" altLang="en-US" sz="1100">
                <a:latin typeface="+mj-lt"/>
                <a:sym typeface="+mj-lt"/>
              </a:rPr>
              <a:pPr/>
              <a:t>21,5%</a:t>
            </a:fld>
            <a:endParaRPr lang="en-US" sz="1100" dirty="0">
              <a:latin typeface="+mj-lt"/>
              <a:sym typeface="+mj-lt"/>
            </a:endParaRPr>
          </a:p>
        </p:txBody>
      </p:sp>
      <p:sp>
        <p:nvSpPr>
          <p:cNvPr id="61" name="9 Rectángulo"/>
          <p:cNvSpPr/>
          <p:nvPr>
            <p:custDataLst>
              <p:tags r:id="rId7"/>
            </p:custDataLst>
          </p:nvPr>
        </p:nvSpPr>
        <p:spPr bwMode="auto">
          <a:xfrm>
            <a:off x="7085013" y="3354388"/>
            <a:ext cx="196850" cy="147637"/>
          </a:xfrm>
          <a:prstGeom prst="rect">
            <a:avLst/>
          </a:prstGeom>
          <a:solidFill>
            <a:srgbClr val="A2D68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2" name="10 Rectángulo"/>
          <p:cNvSpPr/>
          <p:nvPr>
            <p:custDataLst>
              <p:tags r:id="rId8"/>
            </p:custDataLst>
          </p:nvPr>
        </p:nvSpPr>
        <p:spPr bwMode="auto">
          <a:xfrm>
            <a:off x="7085013" y="3135313"/>
            <a:ext cx="196850" cy="147637"/>
          </a:xfrm>
          <a:prstGeom prst="rect">
            <a:avLst/>
          </a:prstGeom>
          <a:solidFill>
            <a:srgbClr val="0156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4" name="12 Rectángulo"/>
          <p:cNvSpPr/>
          <p:nvPr>
            <p:custDataLst>
              <p:tags r:id="rId9"/>
            </p:custDataLst>
          </p:nvPr>
        </p:nvSpPr>
        <p:spPr bwMode="auto">
          <a:xfrm>
            <a:off x="7332663" y="3130550"/>
            <a:ext cx="1222375" cy="1682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DD700B0-656A-4321-B318-890B5F91E047}" type="datetime'C''liente''s ''a'''''' ''''''''pr''eci''''o'''' ''lib''re'''''">
              <a:rPr lang="en-US" altLang="en-US" sz="1100">
                <a:solidFill>
                  <a:schemeClr val="tx1"/>
                </a:solidFill>
                <a:latin typeface="+mj-lt"/>
                <a:sym typeface="+mj-lt"/>
              </a:rPr>
              <a:pPr/>
              <a:t>Clientes a precio libre</a:t>
            </a:fld>
            <a:endParaRPr lang="en-US" sz="1100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63" name="11 Rectángulo"/>
          <p:cNvSpPr/>
          <p:nvPr>
            <p:custDataLst>
              <p:tags r:id="rId10"/>
            </p:custDataLst>
          </p:nvPr>
        </p:nvSpPr>
        <p:spPr bwMode="auto">
          <a:xfrm>
            <a:off x="7332663" y="3349625"/>
            <a:ext cx="857250" cy="1682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2D05AD2-8846-4432-BCAF-054F9B581851}" type="datetime'C''li''''''''''''''''e''nte''''''''s ''''a'' T''''''''UR'''''">
              <a:rPr lang="en-US" altLang="en-US" sz="1100">
                <a:solidFill>
                  <a:schemeClr val="tx1"/>
                </a:solidFill>
                <a:latin typeface="+mj-lt"/>
                <a:sym typeface="+mj-lt"/>
              </a:rPr>
              <a:pPr/>
              <a:t>Clientes a TUR</a:t>
            </a:fld>
            <a:endParaRPr lang="en-US" sz="1100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graphicFrame>
        <p:nvGraphicFramePr>
          <p:cNvPr id="65" name="13 Objeto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30043759"/>
              </p:ext>
            </p:extLst>
          </p:nvPr>
        </p:nvGraphicFramePr>
        <p:xfrm>
          <a:off x="4610100" y="4381499"/>
          <a:ext cx="1409824" cy="1438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072" name="Chart" r:id="rId46" imgW="1409824" imgH="1438290" progId="MSGraph.Chart.8">
                  <p:embed followColorScheme="full"/>
                </p:oleObj>
              </mc:Choice>
              <mc:Fallback>
                <p:oleObj name="Chart" r:id="rId46" imgW="1409824" imgH="143829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10100" y="4381499"/>
                        <a:ext cx="1409824" cy="14382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14 Rectángulo"/>
          <p:cNvSpPr/>
          <p:nvPr>
            <p:custDataLst>
              <p:tags r:id="rId12"/>
            </p:custDataLst>
          </p:nvPr>
        </p:nvSpPr>
        <p:spPr bwMode="gray">
          <a:xfrm>
            <a:off x="4672013" y="5091113"/>
            <a:ext cx="381000" cy="168275"/>
          </a:xfrm>
          <a:prstGeom prst="rect">
            <a:avLst/>
          </a:prstGeom>
          <a:solidFill>
            <a:srgbClr val="82BC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3813" tIns="0" rIns="23813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A442CFA-85F4-452B-9E31-5010B73D33A2}" type="datetime'''1''''''''3'''',''''''''3''''''''''''''''%'''''">
              <a:rPr lang="en-US" altLang="en-US" sz="1100">
                <a:solidFill>
                  <a:schemeClr val="bg1"/>
                </a:solidFill>
                <a:latin typeface="+mj-lt"/>
                <a:sym typeface="+mj-lt"/>
              </a:rPr>
              <a:pPr/>
              <a:t>13,3%</a:t>
            </a:fld>
            <a:endParaRPr lang="en-US" sz="1100" dirty="0">
              <a:solidFill>
                <a:schemeClr val="bg1"/>
              </a:solidFill>
              <a:latin typeface="+mj-lt"/>
              <a:sym typeface="+mj-lt"/>
            </a:endParaRPr>
          </a:p>
        </p:txBody>
      </p:sp>
      <p:sp>
        <p:nvSpPr>
          <p:cNvPr id="66" name="2 Marcador de texto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48225" y="4708525"/>
            <a:ext cx="43497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57478C-BF7A-4926-90B9-1BD32A3B775D}" type="datetime'2''''''''''0,''''''''''''''''''''''8''''''''''%'''''">
              <a:rPr lang="en-US" altLang="en-US" sz="1100">
                <a:latin typeface="+mj-lt"/>
                <a:sym typeface="+mj-lt"/>
              </a:rPr>
              <a:pPr/>
              <a:t>20,8%</a:t>
            </a:fld>
            <a:endParaRPr lang="en-US" sz="1100" dirty="0">
              <a:latin typeface="+mj-lt"/>
              <a:sym typeface="+mj-lt"/>
            </a:endParaRPr>
          </a:p>
        </p:txBody>
      </p:sp>
      <p:sp>
        <p:nvSpPr>
          <p:cNvPr id="68" name="2 Marcador de texto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029200" y="5160963"/>
            <a:ext cx="393700" cy="168275"/>
          </a:xfrm>
          <a:prstGeom prst="rect">
            <a:avLst/>
          </a:prstGeom>
          <a:solidFill>
            <a:srgbClr val="B8DCE1"/>
          </a:solidFill>
          <a:extLst/>
        </p:spPr>
        <p:txBody>
          <a:bodyPr vert="horz" wrap="none" lIns="23813" tIns="0" rIns="2381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3EBC20-376F-4A39-8F50-18E2EEEE09F3}" type="datetime'''1''5'''''''''''',''''''''''''''''''4''''''''''''''''''%'''''">
              <a:rPr lang="en-US" altLang="en-US" sz="1100">
                <a:latin typeface="+mj-lt"/>
                <a:sym typeface="+mj-lt"/>
              </a:rPr>
              <a:pPr/>
              <a:t>15,4%</a:t>
            </a:fld>
            <a:endParaRPr lang="en-US" sz="1100" dirty="0">
              <a:latin typeface="+mj-lt"/>
              <a:sym typeface="+mj-lt"/>
            </a:endParaRPr>
          </a:p>
        </p:txBody>
      </p:sp>
      <p:sp>
        <p:nvSpPr>
          <p:cNvPr id="69" name="15 Rectángulo"/>
          <p:cNvSpPr/>
          <p:nvPr>
            <p:custDataLst>
              <p:tags r:id="rId15"/>
            </p:custDataLst>
          </p:nvPr>
        </p:nvSpPr>
        <p:spPr bwMode="gray">
          <a:xfrm>
            <a:off x="5146675" y="5329238"/>
            <a:ext cx="317500" cy="168275"/>
          </a:xfrm>
          <a:prstGeom prst="rect">
            <a:avLst/>
          </a:prstGeom>
          <a:solidFill>
            <a:srgbClr val="C4E76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3813" tIns="0" rIns="23813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0C2A914-472C-45C1-857F-987868A5C53A}" type="datetime'''''''''''''''''''''1'''',''''''''''0%'''''">
              <a:rPr lang="en-US" altLang="en-US" sz="1100">
                <a:solidFill>
                  <a:schemeClr val="tx1"/>
                </a:solidFill>
                <a:latin typeface="+mj-lt"/>
                <a:sym typeface="+mj-lt"/>
              </a:rPr>
              <a:pPr/>
              <a:t>1,0%</a:t>
            </a:fld>
            <a:endParaRPr lang="en-US" sz="1100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70" name="16 Rectángulo"/>
          <p:cNvSpPr/>
          <p:nvPr>
            <p:custDataLst>
              <p:tags r:id="rId16"/>
            </p:custDataLst>
          </p:nvPr>
        </p:nvSpPr>
        <p:spPr bwMode="gray">
          <a:xfrm>
            <a:off x="5159375" y="5497513"/>
            <a:ext cx="342900" cy="168275"/>
          </a:xfrm>
          <a:prstGeom prst="rect">
            <a:avLst/>
          </a:prstGeom>
          <a:solidFill>
            <a:srgbClr val="009AB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3813" tIns="0" rIns="23813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5D026EB-906D-4515-8180-837392E97D28}" type="datetime'''0'''''''''''''''''''''',''''''7''''''''%'''''''''''">
              <a:rPr lang="en-US" altLang="en-US" sz="1100">
                <a:solidFill>
                  <a:schemeClr val="bg1"/>
                </a:solidFill>
                <a:latin typeface="+mj-lt"/>
                <a:sym typeface="+mj-lt"/>
              </a:rPr>
              <a:pPr/>
              <a:t>0,7%</a:t>
            </a:fld>
            <a:endParaRPr lang="en-US" sz="1100" dirty="0">
              <a:solidFill>
                <a:schemeClr val="bg1"/>
              </a:solidFill>
              <a:latin typeface="+mj-lt"/>
              <a:sym typeface="+mj-lt"/>
            </a:endParaRPr>
          </a:p>
        </p:txBody>
      </p:sp>
      <p:sp>
        <p:nvSpPr>
          <p:cNvPr id="73" name="17 Rectángulo"/>
          <p:cNvSpPr/>
          <p:nvPr>
            <p:custDataLst>
              <p:tags r:id="rId17"/>
            </p:custDataLst>
          </p:nvPr>
        </p:nvSpPr>
        <p:spPr bwMode="gray">
          <a:xfrm>
            <a:off x="5476875" y="5006975"/>
            <a:ext cx="433388" cy="1682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3813" tIns="0" rIns="23813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4D4141B-3B03-43DA-8F75-59B3F2970D35}" type="datetime'''4''''''8'''''''''''''''''''''',''''''''''''''''8''%'''''''">
              <a:rPr lang="en-US" altLang="en-US" sz="1100">
                <a:solidFill>
                  <a:schemeClr val="bg1"/>
                </a:solidFill>
                <a:latin typeface="+mj-lt"/>
                <a:sym typeface="+mj-lt"/>
              </a:rPr>
              <a:pPr/>
              <a:t>48,8%</a:t>
            </a:fld>
            <a:endParaRPr lang="en-US" sz="1100" dirty="0">
              <a:solidFill>
                <a:schemeClr val="bg1"/>
              </a:solidFill>
              <a:latin typeface="+mj-lt"/>
              <a:sym typeface="+mj-lt"/>
            </a:endParaRPr>
          </a:p>
        </p:txBody>
      </p:sp>
      <p:sp>
        <p:nvSpPr>
          <p:cNvPr id="74" name="18 CuadroTexto"/>
          <p:cNvSpPr txBox="1"/>
          <p:nvPr>
            <p:custDataLst>
              <p:tags r:id="rId18"/>
            </p:custDataLst>
          </p:nvPr>
        </p:nvSpPr>
        <p:spPr>
          <a:xfrm>
            <a:off x="4554191" y="4121323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 smtClean="0">
                <a:solidFill>
                  <a:srgbClr val="00567C"/>
                </a:solidFill>
                <a:latin typeface="Pontano Sans" pitchFamily="2" charset="0"/>
              </a:rPr>
              <a:t>Clientes a mercado</a:t>
            </a:r>
            <a:endParaRPr lang="en-US" sz="1200" dirty="0">
              <a:solidFill>
                <a:srgbClr val="00567C"/>
              </a:solidFill>
              <a:latin typeface="Pontano Sans" pitchFamily="2" charset="0"/>
            </a:endParaRPr>
          </a:p>
        </p:txBody>
      </p:sp>
      <p:graphicFrame>
        <p:nvGraphicFramePr>
          <p:cNvPr id="75" name="19 Objeto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964535707"/>
              </p:ext>
            </p:extLst>
          </p:nvPr>
        </p:nvGraphicFramePr>
        <p:xfrm>
          <a:off x="7429500" y="4381500"/>
          <a:ext cx="1486001" cy="14858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073" name="Chart" r:id="rId48" imgW="1486001" imgH="1485810" progId="MSGraph.Chart.8">
                  <p:embed followColorScheme="full"/>
                </p:oleObj>
              </mc:Choice>
              <mc:Fallback>
                <p:oleObj name="Chart" r:id="rId48" imgW="1486001" imgH="1485810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429500" y="4381500"/>
                        <a:ext cx="1486001" cy="14858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22 Rectángulo"/>
          <p:cNvSpPr/>
          <p:nvPr>
            <p:custDataLst>
              <p:tags r:id="rId20"/>
            </p:custDataLst>
          </p:nvPr>
        </p:nvSpPr>
        <p:spPr bwMode="gray">
          <a:xfrm>
            <a:off x="7929563" y="5019675"/>
            <a:ext cx="360363" cy="168275"/>
          </a:xfrm>
          <a:prstGeom prst="rect">
            <a:avLst/>
          </a:prstGeom>
          <a:solidFill>
            <a:srgbClr val="B8DCE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3813" tIns="0" rIns="23813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5FFFA36-4BBC-463C-9069-9487E3C9A0E8}" type="datetime'0'''''',''''''''''''''''''''6''''''''''''''%'''''''''''''''''">
              <a:rPr lang="en-US" altLang="en-US" sz="1100">
                <a:solidFill>
                  <a:schemeClr val="tx1"/>
                </a:solidFill>
                <a:latin typeface="+mj-lt"/>
                <a:sym typeface="+mj-lt"/>
              </a:rPr>
              <a:pPr/>
              <a:t>0,6%</a:t>
            </a:fld>
            <a:endParaRPr lang="en-US" sz="1100" dirty="0">
              <a:solidFill>
                <a:schemeClr val="tx1"/>
              </a:solidFill>
              <a:latin typeface="+mj-lt"/>
              <a:sym typeface="+mj-lt"/>
            </a:endParaRPr>
          </a:p>
        </p:txBody>
      </p:sp>
      <p:sp>
        <p:nvSpPr>
          <p:cNvPr id="79" name="2 Marcador de texto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588250" y="4900613"/>
            <a:ext cx="363538" cy="168275"/>
          </a:xfrm>
          <a:prstGeom prst="rect">
            <a:avLst/>
          </a:prstGeom>
          <a:solidFill>
            <a:srgbClr val="C4E76C"/>
          </a:solidFill>
        </p:spPr>
        <p:txBody>
          <a:bodyPr vert="horz" wrap="none" lIns="23813" tIns="0" rIns="2381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566E85E-B6DC-4547-9997-F30A1E4210CC}" type="datetime'''''''''0'',''''''0''%'''''''''''''''''''''''''''">
              <a:rPr lang="en-US" altLang="en-US" sz="1100">
                <a:latin typeface="+mj-lt"/>
                <a:sym typeface="+mj-lt"/>
              </a:rPr>
              <a:pPr/>
              <a:t>0,0%</a:t>
            </a:fld>
            <a:endParaRPr lang="en-US" sz="1100" dirty="0">
              <a:latin typeface="+mj-lt"/>
              <a:sym typeface="+mj-lt"/>
            </a:endParaRPr>
          </a:p>
        </p:txBody>
      </p:sp>
      <p:sp>
        <p:nvSpPr>
          <p:cNvPr id="80" name="20 Rectángulo"/>
          <p:cNvSpPr/>
          <p:nvPr>
            <p:custDataLst>
              <p:tags r:id="rId22"/>
            </p:custDataLst>
          </p:nvPr>
        </p:nvSpPr>
        <p:spPr bwMode="gray">
          <a:xfrm>
            <a:off x="8199438" y="5387975"/>
            <a:ext cx="439738" cy="1682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3813" tIns="0" rIns="23813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82AE773-E00E-4BB1-9FEF-745D7649BEE1}" type="datetime'''''''''80'',''''''''''''''''''''''''''''''''''''4''%'''''''''">
              <a:rPr lang="en-US" altLang="en-US" sz="1100">
                <a:solidFill>
                  <a:schemeClr val="bg1"/>
                </a:solidFill>
                <a:latin typeface="+mj-lt"/>
                <a:sym typeface="+mj-lt"/>
              </a:rPr>
              <a:pPr/>
              <a:t>80,4%</a:t>
            </a:fld>
            <a:endParaRPr lang="en-US" sz="1100" dirty="0">
              <a:solidFill>
                <a:schemeClr val="bg1"/>
              </a:solidFill>
              <a:latin typeface="+mj-lt"/>
              <a:sym typeface="+mj-lt"/>
            </a:endParaRPr>
          </a:p>
        </p:txBody>
      </p:sp>
      <p:sp>
        <p:nvSpPr>
          <p:cNvPr id="76" name="2 Marcador de texto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770813" y="4652963"/>
            <a:ext cx="390525" cy="168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3813" tIns="0" rIns="2381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162F4A-0B72-47A5-85B7-24A8411B2486}" type="datetime'1''''''''''''''''''''''5'',8''''''%'''''''''''">
              <a:rPr lang="en-US" altLang="en-US" sz="1100">
                <a:latin typeface="+mj-lt"/>
                <a:sym typeface="+mj-lt"/>
              </a:rPr>
              <a:pPr/>
              <a:t>15,8%</a:t>
            </a:fld>
            <a:endParaRPr lang="en-US" sz="1100" dirty="0">
              <a:latin typeface="+mj-lt"/>
              <a:sym typeface="+mj-lt"/>
            </a:endParaRPr>
          </a:p>
        </p:txBody>
      </p:sp>
      <p:sp>
        <p:nvSpPr>
          <p:cNvPr id="77" name="21 Rectángulo"/>
          <p:cNvSpPr/>
          <p:nvPr>
            <p:custDataLst>
              <p:tags r:id="rId24"/>
            </p:custDataLst>
          </p:nvPr>
        </p:nvSpPr>
        <p:spPr bwMode="gray">
          <a:xfrm>
            <a:off x="7405688" y="4732338"/>
            <a:ext cx="341313" cy="168275"/>
          </a:xfrm>
          <a:prstGeom prst="rect">
            <a:avLst/>
          </a:prstGeom>
          <a:solidFill>
            <a:srgbClr val="82BC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3813" tIns="0" rIns="23813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34B8E05-F521-43AE-B5DC-00DD6A604B0F}" type="datetime'3'''''''''',''''''''''3''''''''''''''''''''''''''%'''''''''''">
              <a:rPr lang="en-US" altLang="en-US" sz="1100">
                <a:solidFill>
                  <a:schemeClr val="bg1"/>
                </a:solidFill>
                <a:latin typeface="+mj-lt"/>
                <a:sym typeface="+mj-lt"/>
              </a:rPr>
              <a:pPr/>
              <a:t>3,3%</a:t>
            </a:fld>
            <a:endParaRPr lang="en-US" sz="1100" dirty="0">
              <a:solidFill>
                <a:schemeClr val="bg1"/>
              </a:solidFill>
              <a:latin typeface="+mj-lt"/>
              <a:sym typeface="+mj-lt"/>
            </a:endParaRPr>
          </a:p>
        </p:txBody>
      </p:sp>
      <p:sp>
        <p:nvSpPr>
          <p:cNvPr id="122" name="23 Rectángulo"/>
          <p:cNvSpPr/>
          <p:nvPr>
            <p:custDataLst>
              <p:tags r:id="rId25"/>
            </p:custDataLst>
          </p:nvPr>
        </p:nvSpPr>
        <p:spPr bwMode="auto">
          <a:xfrm>
            <a:off x="6053138" y="5418138"/>
            <a:ext cx="142875" cy="106363"/>
          </a:xfrm>
          <a:prstGeom prst="rect">
            <a:avLst/>
          </a:prstGeom>
          <a:solidFill>
            <a:srgbClr val="A2D68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" name="25 Rectángulo"/>
          <p:cNvSpPr/>
          <p:nvPr>
            <p:custDataLst>
              <p:tags r:id="rId26"/>
            </p:custDataLst>
          </p:nvPr>
        </p:nvSpPr>
        <p:spPr bwMode="auto">
          <a:xfrm>
            <a:off x="6053138" y="5072063"/>
            <a:ext cx="142875" cy="106363"/>
          </a:xfrm>
          <a:prstGeom prst="rect">
            <a:avLst/>
          </a:prstGeom>
          <a:solidFill>
            <a:srgbClr val="B8DCE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1" name="24 Rectángulo"/>
          <p:cNvSpPr/>
          <p:nvPr>
            <p:custDataLst>
              <p:tags r:id="rId27"/>
            </p:custDataLst>
          </p:nvPr>
        </p:nvSpPr>
        <p:spPr bwMode="auto">
          <a:xfrm>
            <a:off x="6053138" y="5245100"/>
            <a:ext cx="142875" cy="106363"/>
          </a:xfrm>
          <a:prstGeom prst="rect">
            <a:avLst/>
          </a:prstGeom>
          <a:solidFill>
            <a:srgbClr val="82BC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28 Rectángulo"/>
          <p:cNvSpPr/>
          <p:nvPr>
            <p:custDataLst>
              <p:tags r:id="rId28"/>
            </p:custDataLst>
          </p:nvPr>
        </p:nvSpPr>
        <p:spPr bwMode="auto">
          <a:xfrm>
            <a:off x="6053138" y="4552950"/>
            <a:ext cx="142875" cy="106363"/>
          </a:xfrm>
          <a:prstGeom prst="rect">
            <a:avLst/>
          </a:prstGeom>
          <a:solidFill>
            <a:srgbClr val="01567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0" name="26 Rectángulo"/>
          <p:cNvSpPr/>
          <p:nvPr>
            <p:custDataLst>
              <p:tags r:id="rId29"/>
            </p:custDataLst>
          </p:nvPr>
        </p:nvSpPr>
        <p:spPr bwMode="auto">
          <a:xfrm>
            <a:off x="6053138" y="4899025"/>
            <a:ext cx="142875" cy="106363"/>
          </a:xfrm>
          <a:prstGeom prst="rect">
            <a:avLst/>
          </a:prstGeom>
          <a:solidFill>
            <a:srgbClr val="C4E76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9" name="27 Rectángulo"/>
          <p:cNvSpPr/>
          <p:nvPr>
            <p:custDataLst>
              <p:tags r:id="rId30"/>
            </p:custDataLst>
          </p:nvPr>
        </p:nvSpPr>
        <p:spPr bwMode="auto">
          <a:xfrm>
            <a:off x="6053138" y="4725988"/>
            <a:ext cx="142875" cy="106363"/>
          </a:xfrm>
          <a:prstGeom prst="rect">
            <a:avLst/>
          </a:prstGeom>
          <a:solidFill>
            <a:srgbClr val="009AB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3" name="29 Rectángulo"/>
          <p:cNvSpPr/>
          <p:nvPr>
            <p:custDataLst>
              <p:tags r:id="rId31"/>
            </p:custDataLst>
          </p:nvPr>
        </p:nvSpPr>
        <p:spPr bwMode="auto">
          <a:xfrm>
            <a:off x="6246813" y="5413375"/>
            <a:ext cx="579438" cy="1222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51ABF12-4478-4CDB-AAAA-379EAEFE09F7}" type="datetime'''''Gr''u''''''p''''o'''' ''''''''E''''''''''''''ndes''''a'">
              <a:rPr lang="en-US" altLang="en-US" sz="800">
                <a:solidFill>
                  <a:schemeClr val="tx1"/>
                </a:solidFill>
                <a:sym typeface="+mn-lt"/>
              </a:rPr>
              <a:pPr/>
              <a:t>Grupo Endesa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4" name="30 Rectángulo"/>
          <p:cNvSpPr/>
          <p:nvPr>
            <p:custDataLst>
              <p:tags r:id="rId32"/>
            </p:custDataLst>
          </p:nvPr>
        </p:nvSpPr>
        <p:spPr bwMode="auto">
          <a:xfrm>
            <a:off x="6246813" y="5240338"/>
            <a:ext cx="446088" cy="1222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BAC1927-F50B-4154-BC06-8EA466D66B42}" type="datetime'G''r''''u''''''''''p''''''''''o'' ''''''''''''''E''''DP'''''''">
              <a:rPr lang="en-US" altLang="en-US" sz="800">
                <a:solidFill>
                  <a:schemeClr val="tx1"/>
                </a:solidFill>
                <a:sym typeface="+mn-lt"/>
              </a:rPr>
              <a:pPr/>
              <a:t>Grupo EDP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5" name="31 Rectángulo"/>
          <p:cNvSpPr/>
          <p:nvPr>
            <p:custDataLst>
              <p:tags r:id="rId33"/>
            </p:custDataLst>
          </p:nvPr>
        </p:nvSpPr>
        <p:spPr bwMode="auto">
          <a:xfrm>
            <a:off x="6246813" y="5067300"/>
            <a:ext cx="663575" cy="1222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C903FBB0-D4E3-430C-8B36-98A11686285E}" type="datetime'''''G''rup''''''o'''' Ibe''r''''''''''dro''''l''a'''">
              <a:rPr lang="en-US" altLang="en-US" sz="800">
                <a:solidFill>
                  <a:schemeClr val="tx1"/>
                </a:solidFill>
                <a:sym typeface="+mn-lt"/>
              </a:rPr>
              <a:pPr/>
              <a:t>Grupo Iberdrola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6" name="32 Rectángulo"/>
          <p:cNvSpPr/>
          <p:nvPr>
            <p:custDataLst>
              <p:tags r:id="rId34"/>
            </p:custDataLst>
          </p:nvPr>
        </p:nvSpPr>
        <p:spPr bwMode="auto">
          <a:xfrm>
            <a:off x="6246813" y="4894263"/>
            <a:ext cx="555625" cy="1222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49FF284-26FB-47BC-9ED5-D78E37EA9739}" type="datetime'''''''G''''''''''''r''u''''p''o'''''''' V''''''ies''''g''o'''">
              <a:rPr lang="en-US" altLang="en-US" sz="800">
                <a:solidFill>
                  <a:schemeClr val="tx1"/>
                </a:solidFill>
                <a:sym typeface="+mn-lt"/>
              </a:rPr>
              <a:pPr/>
              <a:t>Grupo Viesgo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7" name="33 Rectángulo"/>
          <p:cNvSpPr/>
          <p:nvPr>
            <p:custDataLst>
              <p:tags r:id="rId35"/>
            </p:custDataLst>
          </p:nvPr>
        </p:nvSpPr>
        <p:spPr bwMode="auto">
          <a:xfrm>
            <a:off x="6246813" y="4721225"/>
            <a:ext cx="228600" cy="1222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6A01281-4BE0-429F-95D4-ABFDD7DC5101}" type="datetime'''O''''''''''''''''''''''''''t''''''ros'''''''''''''''''''''">
              <a:rPr lang="en-US" altLang="en-US" sz="800">
                <a:solidFill>
                  <a:schemeClr val="tx1"/>
                </a:solidFill>
                <a:sym typeface="+mn-lt"/>
              </a:rPr>
              <a:pPr/>
              <a:t>Otros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8" name="34 Rectángulo"/>
          <p:cNvSpPr/>
          <p:nvPr>
            <p:custDataLst>
              <p:tags r:id="rId36"/>
            </p:custDataLst>
          </p:nvPr>
        </p:nvSpPr>
        <p:spPr bwMode="auto">
          <a:xfrm>
            <a:off x="6246813" y="4548188"/>
            <a:ext cx="1082675" cy="1222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02731324-C9A4-47D1-963D-F67FAB81F017}" type="datetime'''''''G''r''upo'' G''as ''''Na''t''ur''al ''''''F''''enosa'''">
              <a:rPr lang="en-US" altLang="en-US" sz="800">
                <a:solidFill>
                  <a:schemeClr val="tx1"/>
                </a:solidFill>
                <a:sym typeface="+mn-lt"/>
              </a:rPr>
              <a:pPr/>
              <a:t>Grupo Gas Natural Fenosa</a:t>
            </a:fld>
            <a:endParaRPr lang="en-US" sz="8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29" name="35 CuadroTexto"/>
          <p:cNvSpPr txBox="1"/>
          <p:nvPr>
            <p:custDataLst>
              <p:tags r:id="rId37"/>
            </p:custDataLst>
          </p:nvPr>
        </p:nvSpPr>
        <p:spPr>
          <a:xfrm>
            <a:off x="7387515" y="4121323"/>
            <a:ext cx="2448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 smtClean="0">
                <a:solidFill>
                  <a:srgbClr val="00567C"/>
                </a:solidFill>
                <a:latin typeface="Pontano Sans" pitchFamily="2" charset="0"/>
              </a:rPr>
              <a:t>Clientes a tarifa TUR</a:t>
            </a:r>
            <a:endParaRPr lang="en-US" sz="1200" dirty="0">
              <a:solidFill>
                <a:srgbClr val="00567C"/>
              </a:solidFill>
              <a:latin typeface="Pontano San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7495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44016" y="1052736"/>
            <a:ext cx="88924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La TUR es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un precio regulado establecido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como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medida de protección de los pequeños consumidores, pero que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debe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marcar una hoja de ruta hacia la liberalización del mercado y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debe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fomentar la competencia entre las principales comercializadoras de gas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natural</a:t>
            </a:r>
            <a:endParaRPr lang="es-ES_tradnl" sz="1600" dirty="0">
              <a:solidFill>
                <a:srgbClr val="40404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19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62" name="161 Conector recto"/>
          <p:cNvCxnSpPr/>
          <p:nvPr/>
        </p:nvCxnSpPr>
        <p:spPr>
          <a:xfrm>
            <a:off x="323410" y="186952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CuadroTexto"/>
          <p:cNvSpPr txBox="1"/>
          <p:nvPr/>
        </p:nvSpPr>
        <p:spPr>
          <a:xfrm>
            <a:off x="2915816" y="2061023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3235696" y="2061023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6" name="15 CuadroTexto"/>
          <p:cNvSpPr txBox="1"/>
          <p:nvPr/>
        </p:nvSpPr>
        <p:spPr>
          <a:xfrm>
            <a:off x="3705844" y="2061023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325807" y="1937152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8" name="17 CuadroTexto"/>
          <p:cNvSpPr txBox="1"/>
          <p:nvPr/>
        </p:nvSpPr>
        <p:spPr>
          <a:xfrm>
            <a:off x="319350" y="1911182"/>
            <a:ext cx="4252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La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TUR se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compone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de un término de facturación fijo (expresado en €/mes) y un término de facturación variable por unidad de energía (expresado en c€/kWh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)</a:t>
            </a:r>
          </a:p>
        </p:txBody>
      </p:sp>
      <p:sp>
        <p:nvSpPr>
          <p:cNvPr id="19" name="18 Rectángulo"/>
          <p:cNvSpPr/>
          <p:nvPr/>
        </p:nvSpPr>
        <p:spPr>
          <a:xfrm>
            <a:off x="4684520" y="1937419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1" name="20 CuadroTexto"/>
          <p:cNvSpPr txBox="1"/>
          <p:nvPr/>
        </p:nvSpPr>
        <p:spPr>
          <a:xfrm>
            <a:off x="4669408" y="1911860"/>
            <a:ext cx="41764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El coste de gestión comercial trata de reflejar el coste de los procesos de gestión de los clientes en Tarifa de Último Recurso</a:t>
            </a:r>
            <a:endParaRPr lang="es-ES" sz="1200" dirty="0" smtClean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36" name="35 Conector recto"/>
          <p:cNvCxnSpPr/>
          <p:nvPr/>
        </p:nvCxnSpPr>
        <p:spPr>
          <a:xfrm>
            <a:off x="314404" y="5820122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122"/>
          <p:cNvSpPr>
            <a:spLocks noChangeAspect="1" noChangeArrowheads="1"/>
          </p:cNvSpPr>
          <p:nvPr/>
        </p:nvSpPr>
        <p:spPr bwMode="auto">
          <a:xfrm>
            <a:off x="1178500" y="582722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laboración propia]</a:t>
            </a:r>
          </a:p>
        </p:txBody>
      </p:sp>
      <p:sp>
        <p:nvSpPr>
          <p:cNvPr id="34" name="33 Rectángulo"/>
          <p:cNvSpPr/>
          <p:nvPr/>
        </p:nvSpPr>
        <p:spPr>
          <a:xfrm>
            <a:off x="281852" y="5579243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División de términos fijos y variables en función del tipo de coste</a:t>
            </a:r>
          </a:p>
        </p:txBody>
      </p:sp>
      <p:pic>
        <p:nvPicPr>
          <p:cNvPr id="35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38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38 CuadroTexto"/>
          <p:cNvSpPr txBox="1"/>
          <p:nvPr/>
        </p:nvSpPr>
        <p:spPr>
          <a:xfrm>
            <a:off x="7380312" y="116632"/>
            <a:ext cx="1512168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4. Comercialización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cxnSp>
        <p:nvCxnSpPr>
          <p:cNvPr id="40" name="39 Conector recto"/>
          <p:cNvCxnSpPr/>
          <p:nvPr/>
        </p:nvCxnSpPr>
        <p:spPr>
          <a:xfrm>
            <a:off x="4716463" y="5820122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ectangle 122"/>
          <p:cNvSpPr>
            <a:spLocks noChangeAspect="1" noChangeArrowheads="1"/>
          </p:cNvSpPr>
          <p:nvPr/>
        </p:nvSpPr>
        <p:spPr bwMode="auto">
          <a:xfrm>
            <a:off x="5524996" y="5805264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elaboración propia]</a:t>
            </a:r>
          </a:p>
        </p:txBody>
      </p:sp>
      <p:sp>
        <p:nvSpPr>
          <p:cNvPr id="42" name="41 Rectángulo"/>
          <p:cNvSpPr/>
          <p:nvPr/>
        </p:nvSpPr>
        <p:spPr>
          <a:xfrm>
            <a:off x="4617020" y="5582954"/>
            <a:ext cx="42034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Costes reconocidos en la TUR vs en el mercado libre</a:t>
            </a:r>
            <a:endParaRPr lang="es-ES" sz="1000" dirty="0">
              <a:latin typeface="Pontano Sans" pitchFamily="2" charset="0"/>
            </a:endParaRPr>
          </a:p>
        </p:txBody>
      </p:sp>
      <p:graphicFrame>
        <p:nvGraphicFramePr>
          <p:cNvPr id="6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9571539"/>
              </p:ext>
            </p:extLst>
          </p:nvPr>
        </p:nvGraphicFramePr>
        <p:xfrm>
          <a:off x="467365" y="2623919"/>
          <a:ext cx="3744595" cy="2821305"/>
        </p:xfrm>
        <a:graphic>
          <a:graphicData uri="http://schemas.openxmlformats.org/drawingml/2006/table">
            <a:tbl>
              <a:tblPr firstRow="1" firstCol="1" bandRow="1"/>
              <a:tblGrid>
                <a:gridCol w="12701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50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67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266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97790">
                <a:tc>
                  <a:txBody>
                    <a:bodyPr/>
                    <a:lstStyle/>
                    <a:p>
                      <a:pPr algn="l"/>
                      <a:endParaRPr lang="es-ES" sz="1000" dirty="0">
                        <a:effectLst/>
                        <a:latin typeface="+mj-lt"/>
                        <a:cs typeface="Times New Roman"/>
                      </a:endParaRPr>
                    </a:p>
                  </a:txBody>
                  <a:tcPr marL="68580" marR="68580" marT="0" marB="0" anchor="b">
                    <a:lnL>
                      <a:noFill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567C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9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Gas Natural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7790">
                <a:tc>
                  <a:txBody>
                    <a:bodyPr/>
                    <a:lstStyle/>
                    <a:p>
                      <a:pPr algn="l"/>
                      <a:endParaRPr lang="es-ES" sz="1000" dirty="0">
                        <a:effectLst/>
                        <a:latin typeface="+mj-lt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9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Término Fijo (€</a:t>
                      </a:r>
                      <a:r>
                        <a:rPr lang="es-ES" sz="900" b="1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/mes)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C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28600"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s-ES" sz="9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Times New Roman"/>
                          <a:cs typeface="Times New Roman"/>
                        </a:rPr>
                        <a:t>Término Variable (c€/kWh)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67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383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_tradnl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Conducción del peaje de transporte y distribución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383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_tradnl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Peaje de regasificación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383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Coste de comercialización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383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_tradnl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Reserva de capacidad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ES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es-ES" sz="1000" dirty="0">
                        <a:effectLst/>
                        <a:latin typeface="+mj-lt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383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_tradnl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Valor medio del peaje de descarga de buques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 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s-ES_tradnl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383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_tradnl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Coste medio del canon de almacenamiento subterráneo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 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s-ES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383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_tradnl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Coste medio del canon de almacenamiento de GNL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_tradnl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 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s-ES_tradnl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383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s-ES_tradnl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Coste de materia prima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  <a:latin typeface="+mj-lt"/>
                          <a:ea typeface="Calibri"/>
                          <a:cs typeface="Arial"/>
                        </a:rPr>
                        <a:t> </a:t>
                      </a:r>
                      <a:endParaRPr lang="es-ES" sz="100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28600"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+mj-lt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2D68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77" name="5 Estrella de 5 puntas"/>
          <p:cNvSpPr>
            <a:spLocks/>
          </p:cNvSpPr>
          <p:nvPr/>
        </p:nvSpPr>
        <p:spPr>
          <a:xfrm>
            <a:off x="3472879" y="3174812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78" name="6 Estrella de 5 puntas"/>
          <p:cNvSpPr>
            <a:spLocks/>
          </p:cNvSpPr>
          <p:nvPr/>
        </p:nvSpPr>
        <p:spPr>
          <a:xfrm>
            <a:off x="3472879" y="5246786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79" name="6 Estrella de 5 puntas"/>
          <p:cNvSpPr>
            <a:spLocks/>
          </p:cNvSpPr>
          <p:nvPr/>
        </p:nvSpPr>
        <p:spPr>
          <a:xfrm>
            <a:off x="3472879" y="4954374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80" name="6 Estrella de 5 puntas"/>
          <p:cNvSpPr>
            <a:spLocks/>
          </p:cNvSpPr>
          <p:nvPr/>
        </p:nvSpPr>
        <p:spPr>
          <a:xfrm>
            <a:off x="3472879" y="4547726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81" name="6 Estrella de 5 puntas"/>
          <p:cNvSpPr>
            <a:spLocks/>
          </p:cNvSpPr>
          <p:nvPr/>
        </p:nvSpPr>
        <p:spPr>
          <a:xfrm>
            <a:off x="3472879" y="4187686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82" name="6 Estrella de 5 puntas"/>
          <p:cNvSpPr>
            <a:spLocks/>
          </p:cNvSpPr>
          <p:nvPr/>
        </p:nvSpPr>
        <p:spPr>
          <a:xfrm>
            <a:off x="3472879" y="3728651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83" name="5 Estrella de 5 puntas"/>
          <p:cNvSpPr>
            <a:spLocks/>
          </p:cNvSpPr>
          <p:nvPr/>
        </p:nvSpPr>
        <p:spPr>
          <a:xfrm>
            <a:off x="3472879" y="3493006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84" name="6 Estrella de 5 puntas"/>
          <p:cNvSpPr>
            <a:spLocks/>
          </p:cNvSpPr>
          <p:nvPr/>
        </p:nvSpPr>
        <p:spPr>
          <a:xfrm>
            <a:off x="2156441" y="3985826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85" name="6 Estrella de 5 puntas"/>
          <p:cNvSpPr>
            <a:spLocks/>
          </p:cNvSpPr>
          <p:nvPr/>
        </p:nvSpPr>
        <p:spPr>
          <a:xfrm>
            <a:off x="2156441" y="3728651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86" name="6 Estrella de 5 puntas"/>
          <p:cNvSpPr>
            <a:spLocks/>
          </p:cNvSpPr>
          <p:nvPr/>
        </p:nvSpPr>
        <p:spPr>
          <a:xfrm>
            <a:off x="2156441" y="3493006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87" name="6 Estrella de 5 puntas"/>
          <p:cNvSpPr>
            <a:spLocks/>
          </p:cNvSpPr>
          <p:nvPr/>
        </p:nvSpPr>
        <p:spPr>
          <a:xfrm>
            <a:off x="2156441" y="3174812"/>
            <a:ext cx="144000" cy="146050"/>
          </a:xfrm>
          <a:prstGeom prst="star5">
            <a:avLst/>
          </a:prstGeom>
          <a:solidFill>
            <a:srgbClr val="C4E76A"/>
          </a:solidFill>
          <a:ln>
            <a:solidFill>
              <a:srgbClr val="6CC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/>
          </a:p>
        </p:txBody>
      </p:sp>
      <p:sp>
        <p:nvSpPr>
          <p:cNvPr id="88" name="AutoShape 54"/>
          <p:cNvSpPr>
            <a:spLocks noChangeArrowheads="1"/>
          </p:cNvSpPr>
          <p:nvPr/>
        </p:nvSpPr>
        <p:spPr bwMode="auto">
          <a:xfrm>
            <a:off x="5004048" y="2968189"/>
            <a:ext cx="1577898" cy="2016224"/>
          </a:xfrm>
          <a:prstGeom prst="roundRect">
            <a:avLst>
              <a:gd name="adj" fmla="val 16667"/>
            </a:avLst>
          </a:prstGeom>
          <a:solidFill>
            <a:srgbClr val="6CC049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lIns="17998" tIns="35995" rIns="72000" bIns="35995" anchor="ctr" anchorCtr="1"/>
          <a:lstStyle/>
          <a:p>
            <a:pPr marL="177800" indent="-95250"/>
            <a:endParaRPr lang="es-ES" sz="1000" dirty="0">
              <a:solidFill>
                <a:srgbClr val="FFFFFF"/>
              </a:solidFill>
              <a:latin typeface="Pontano Sans" pitchFamily="2" charset="0"/>
              <a:cs typeface="Arial" pitchFamily="34" charset="0"/>
            </a:endParaRPr>
          </a:p>
        </p:txBody>
      </p:sp>
      <p:sp>
        <p:nvSpPr>
          <p:cNvPr id="89" name="AutoShape 54"/>
          <p:cNvSpPr>
            <a:spLocks noChangeArrowheads="1"/>
          </p:cNvSpPr>
          <p:nvPr/>
        </p:nvSpPr>
        <p:spPr bwMode="auto">
          <a:xfrm>
            <a:off x="5071611" y="3271461"/>
            <a:ext cx="1440160" cy="416808"/>
          </a:xfrm>
          <a:prstGeom prst="roundRect">
            <a:avLst>
              <a:gd name="adj" fmla="val 1"/>
            </a:avLst>
          </a:prstGeom>
          <a:solidFill>
            <a:srgbClr val="A2D683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lIns="17998" tIns="35995" rIns="72000" bIns="35995" anchor="ctr" anchorCtr="1"/>
          <a:lstStyle/>
          <a:p>
            <a:pPr algn="ctr"/>
            <a:r>
              <a:rPr lang="es-ES" sz="1000" dirty="0" smtClean="0">
                <a:solidFill>
                  <a:srgbClr val="00567C"/>
                </a:solidFill>
                <a:latin typeface="Pontano Sans" pitchFamily="2" charset="0"/>
                <a:cs typeface="Arial" pitchFamily="34" charset="0"/>
              </a:rPr>
              <a:t>Coste energía calculado de forma competitiva</a:t>
            </a:r>
            <a:endParaRPr lang="es-ES" sz="1000" dirty="0">
              <a:solidFill>
                <a:srgbClr val="00567C"/>
              </a:solidFill>
              <a:latin typeface="Pontano Sans" pitchFamily="2" charset="0"/>
              <a:cs typeface="Arial" pitchFamily="34" charset="0"/>
            </a:endParaRPr>
          </a:p>
        </p:txBody>
      </p:sp>
      <p:sp>
        <p:nvSpPr>
          <p:cNvPr id="90" name="AutoShape 54"/>
          <p:cNvSpPr>
            <a:spLocks noChangeArrowheads="1"/>
          </p:cNvSpPr>
          <p:nvPr/>
        </p:nvSpPr>
        <p:spPr bwMode="auto">
          <a:xfrm>
            <a:off x="5076800" y="3832285"/>
            <a:ext cx="1440160" cy="432048"/>
          </a:xfrm>
          <a:prstGeom prst="roundRect">
            <a:avLst>
              <a:gd name="adj" fmla="val 1"/>
            </a:avLst>
          </a:prstGeom>
          <a:solidFill>
            <a:srgbClr val="A2D683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lIns="17998" tIns="35995" rIns="72000" bIns="35995" anchor="ctr" anchorCtr="1"/>
          <a:lstStyle/>
          <a:p>
            <a:pPr algn="ctr"/>
            <a:r>
              <a:rPr lang="es-ES" sz="1000" dirty="0" smtClean="0">
                <a:solidFill>
                  <a:srgbClr val="00567C"/>
                </a:solidFill>
                <a:latin typeface="Pontano Sans" pitchFamily="2" charset="0"/>
                <a:cs typeface="Arial" pitchFamily="34" charset="0"/>
              </a:rPr>
              <a:t>Coste de acceso</a:t>
            </a:r>
            <a:endParaRPr lang="es-ES" sz="1000" dirty="0">
              <a:solidFill>
                <a:srgbClr val="00567C"/>
              </a:solidFill>
              <a:latin typeface="Pontano Sans" pitchFamily="2" charset="0"/>
              <a:cs typeface="Arial" pitchFamily="34" charset="0"/>
            </a:endParaRPr>
          </a:p>
        </p:txBody>
      </p:sp>
      <p:sp>
        <p:nvSpPr>
          <p:cNvPr id="91" name="90 CuadroTexto"/>
          <p:cNvSpPr txBox="1"/>
          <p:nvPr/>
        </p:nvSpPr>
        <p:spPr>
          <a:xfrm>
            <a:off x="5508104" y="2972827"/>
            <a:ext cx="5760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rgbClr val="00567C"/>
                </a:solidFill>
                <a:latin typeface="Pontano Sans" pitchFamily="2" charset="0"/>
              </a:rPr>
              <a:t>TUR</a:t>
            </a:r>
            <a:endParaRPr lang="en-US" sz="1400" b="1" dirty="0">
              <a:solidFill>
                <a:srgbClr val="00567C"/>
              </a:solidFill>
              <a:latin typeface="Pontano Sans" pitchFamily="2" charset="0"/>
            </a:endParaRPr>
          </a:p>
        </p:txBody>
      </p:sp>
      <p:sp>
        <p:nvSpPr>
          <p:cNvPr id="92" name="AutoShape 54"/>
          <p:cNvSpPr>
            <a:spLocks noChangeArrowheads="1"/>
          </p:cNvSpPr>
          <p:nvPr/>
        </p:nvSpPr>
        <p:spPr bwMode="auto">
          <a:xfrm>
            <a:off x="5076800" y="4408349"/>
            <a:ext cx="1440160" cy="432048"/>
          </a:xfrm>
          <a:prstGeom prst="roundRect">
            <a:avLst>
              <a:gd name="adj" fmla="val 1"/>
            </a:avLst>
          </a:prstGeom>
          <a:solidFill>
            <a:srgbClr val="A2D683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lIns="17998" tIns="35995" rIns="72000" bIns="35995" anchor="ctr" anchorCtr="1"/>
          <a:lstStyle/>
          <a:p>
            <a:pPr algn="ctr"/>
            <a:r>
              <a:rPr lang="es-ES" sz="1000" dirty="0" smtClean="0">
                <a:solidFill>
                  <a:srgbClr val="00567C"/>
                </a:solidFill>
                <a:latin typeface="Pontano Sans" pitchFamily="2" charset="0"/>
                <a:cs typeface="Arial" pitchFamily="34" charset="0"/>
              </a:rPr>
              <a:t>Gestión comercial, margen fijado en el BOE</a:t>
            </a:r>
            <a:endParaRPr lang="es-ES" sz="1000" dirty="0">
              <a:solidFill>
                <a:srgbClr val="00567C"/>
              </a:solidFill>
              <a:latin typeface="Pontano Sans" pitchFamily="2" charset="0"/>
              <a:cs typeface="Arial" pitchFamily="34" charset="0"/>
            </a:endParaRPr>
          </a:p>
        </p:txBody>
      </p:sp>
      <p:sp>
        <p:nvSpPr>
          <p:cNvPr id="93" name="AutoShape 54"/>
          <p:cNvSpPr>
            <a:spLocks noChangeArrowheads="1"/>
          </p:cNvSpPr>
          <p:nvPr/>
        </p:nvSpPr>
        <p:spPr bwMode="auto">
          <a:xfrm>
            <a:off x="6948264" y="2977714"/>
            <a:ext cx="1577898" cy="2016224"/>
          </a:xfrm>
          <a:prstGeom prst="roundRect">
            <a:avLst>
              <a:gd name="adj" fmla="val 16667"/>
            </a:avLst>
          </a:prstGeom>
          <a:solidFill>
            <a:srgbClr val="6CC049"/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lIns="17998" tIns="35995" rIns="72000" bIns="35995" anchor="ctr" anchorCtr="1"/>
          <a:lstStyle/>
          <a:p>
            <a:pPr marL="177800" indent="-95250"/>
            <a:endParaRPr lang="es-ES" sz="1000" dirty="0">
              <a:solidFill>
                <a:srgbClr val="FFFFFF"/>
              </a:solidFill>
              <a:latin typeface="Pontano Sans" pitchFamily="2" charset="0"/>
              <a:cs typeface="Arial" pitchFamily="34" charset="0"/>
            </a:endParaRPr>
          </a:p>
        </p:txBody>
      </p:sp>
      <p:sp>
        <p:nvSpPr>
          <p:cNvPr id="94" name="AutoShape 54"/>
          <p:cNvSpPr>
            <a:spLocks noChangeArrowheads="1"/>
          </p:cNvSpPr>
          <p:nvPr/>
        </p:nvSpPr>
        <p:spPr bwMode="auto">
          <a:xfrm>
            <a:off x="7015827" y="3280986"/>
            <a:ext cx="1440160" cy="416808"/>
          </a:xfrm>
          <a:prstGeom prst="roundRect">
            <a:avLst>
              <a:gd name="adj" fmla="val 1"/>
            </a:avLst>
          </a:prstGeom>
          <a:solidFill>
            <a:srgbClr val="A2D683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lIns="17998" tIns="35995" rIns="72000" bIns="35995" anchor="ctr" anchorCtr="1"/>
          <a:lstStyle/>
          <a:p>
            <a:pPr algn="ctr"/>
            <a:r>
              <a:rPr lang="es-ES" sz="1000" dirty="0" smtClean="0">
                <a:solidFill>
                  <a:srgbClr val="00567C"/>
                </a:solidFill>
                <a:latin typeface="Pontano Sans" pitchFamily="2" charset="0"/>
                <a:cs typeface="Arial" pitchFamily="34" charset="0"/>
              </a:rPr>
              <a:t>Coste de energía libre</a:t>
            </a:r>
            <a:endParaRPr lang="es-ES" sz="1000" dirty="0">
              <a:solidFill>
                <a:srgbClr val="00567C"/>
              </a:solidFill>
              <a:latin typeface="Pontano Sans" pitchFamily="2" charset="0"/>
              <a:cs typeface="Arial" pitchFamily="34" charset="0"/>
            </a:endParaRPr>
          </a:p>
        </p:txBody>
      </p:sp>
      <p:sp>
        <p:nvSpPr>
          <p:cNvPr id="95" name="AutoShape 54"/>
          <p:cNvSpPr>
            <a:spLocks noChangeArrowheads="1"/>
          </p:cNvSpPr>
          <p:nvPr/>
        </p:nvSpPr>
        <p:spPr bwMode="auto">
          <a:xfrm>
            <a:off x="7021016" y="3841810"/>
            <a:ext cx="1440160" cy="432048"/>
          </a:xfrm>
          <a:prstGeom prst="roundRect">
            <a:avLst>
              <a:gd name="adj" fmla="val 1"/>
            </a:avLst>
          </a:prstGeom>
          <a:solidFill>
            <a:srgbClr val="A2D683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lIns="17998" tIns="35995" rIns="72000" bIns="35995" anchor="ctr" anchorCtr="1"/>
          <a:lstStyle/>
          <a:p>
            <a:pPr algn="ctr"/>
            <a:r>
              <a:rPr lang="es-ES" sz="1000" dirty="0" smtClean="0">
                <a:solidFill>
                  <a:srgbClr val="00567C"/>
                </a:solidFill>
                <a:latin typeface="Pontano Sans" pitchFamily="2" charset="0"/>
                <a:cs typeface="Arial" pitchFamily="34" charset="0"/>
              </a:rPr>
              <a:t>Coste de acceso</a:t>
            </a:r>
            <a:endParaRPr lang="es-ES" sz="1000" dirty="0">
              <a:solidFill>
                <a:srgbClr val="00567C"/>
              </a:solidFill>
              <a:latin typeface="Pontano Sans" pitchFamily="2" charset="0"/>
              <a:cs typeface="Arial" pitchFamily="34" charset="0"/>
            </a:endParaRPr>
          </a:p>
        </p:txBody>
      </p:sp>
      <p:sp>
        <p:nvSpPr>
          <p:cNvPr id="97" name="96 CuadroTexto"/>
          <p:cNvSpPr txBox="1"/>
          <p:nvPr/>
        </p:nvSpPr>
        <p:spPr>
          <a:xfrm>
            <a:off x="7116663" y="2982352"/>
            <a:ext cx="1368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00" b="1" dirty="0" smtClean="0">
                <a:solidFill>
                  <a:srgbClr val="00567C"/>
                </a:solidFill>
                <a:latin typeface="Pontano Sans" pitchFamily="2" charset="0"/>
              </a:rPr>
              <a:t>Mercado libre</a:t>
            </a:r>
            <a:endParaRPr lang="en-US" sz="1400" b="1" dirty="0">
              <a:solidFill>
                <a:srgbClr val="00567C"/>
              </a:solidFill>
              <a:latin typeface="Pontano Sans" pitchFamily="2" charset="0"/>
            </a:endParaRPr>
          </a:p>
        </p:txBody>
      </p:sp>
      <p:sp>
        <p:nvSpPr>
          <p:cNvPr id="98" name="AutoShape 54"/>
          <p:cNvSpPr>
            <a:spLocks noChangeArrowheads="1"/>
          </p:cNvSpPr>
          <p:nvPr/>
        </p:nvSpPr>
        <p:spPr bwMode="auto">
          <a:xfrm>
            <a:off x="7021016" y="4417874"/>
            <a:ext cx="1440160" cy="432048"/>
          </a:xfrm>
          <a:prstGeom prst="roundRect">
            <a:avLst>
              <a:gd name="adj" fmla="val 1"/>
            </a:avLst>
          </a:prstGeom>
          <a:solidFill>
            <a:srgbClr val="A2D683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lIns="17998" tIns="35995" rIns="72000" bIns="35995" anchor="ctr" anchorCtr="1"/>
          <a:lstStyle/>
          <a:p>
            <a:pPr algn="ctr"/>
            <a:r>
              <a:rPr lang="es-ES" sz="1000" dirty="0" smtClean="0">
                <a:solidFill>
                  <a:srgbClr val="00567C"/>
                </a:solidFill>
                <a:latin typeface="Pontano Sans" pitchFamily="2" charset="0"/>
                <a:cs typeface="Arial" pitchFamily="34" charset="0"/>
              </a:rPr>
              <a:t>Margen comercial libre</a:t>
            </a:r>
            <a:endParaRPr lang="es-ES" sz="1000" dirty="0">
              <a:solidFill>
                <a:srgbClr val="00567C"/>
              </a:solidFill>
              <a:latin typeface="Pontano Sans" pitchFamily="2" charset="0"/>
              <a:cs typeface="Arial" pitchFamily="34" charset="0"/>
            </a:endParaRPr>
          </a:p>
        </p:txBody>
      </p:sp>
      <p:sp>
        <p:nvSpPr>
          <p:cNvPr id="99" name="98 Rectángulo"/>
          <p:cNvSpPr/>
          <p:nvPr/>
        </p:nvSpPr>
        <p:spPr>
          <a:xfrm>
            <a:off x="323850" y="6036736"/>
            <a:ext cx="8496300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01" name="100 CuadroTexto"/>
          <p:cNvSpPr txBox="1"/>
          <p:nvPr/>
        </p:nvSpPr>
        <p:spPr>
          <a:xfrm>
            <a:off x="571472" y="6011654"/>
            <a:ext cx="80010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>
                <a:solidFill>
                  <a:srgbClr val="404040"/>
                </a:solidFill>
                <a:latin typeface="+mj-lt"/>
              </a:rPr>
              <a:t>Para la determinación del coste de la materia prima se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celebraban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subastas, donde los CUR adquieren un porcentaje de la energía que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necesitan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y el resto se fija en base a cotizaciones internacionales de productos petrolíferos o de gas.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Anualmente,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se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celebraban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dos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subastas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y los productos subastados son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gas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de base y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gas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de i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nvierno</a:t>
            </a:r>
            <a:endParaRPr lang="es-ES" sz="1000" dirty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102" name="101 Conector recto"/>
          <p:cNvCxnSpPr/>
          <p:nvPr/>
        </p:nvCxnSpPr>
        <p:spPr>
          <a:xfrm>
            <a:off x="323850" y="6042685"/>
            <a:ext cx="84963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9440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18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sp>
        <p:nvSpPr>
          <p:cNvPr id="8" name="7 Rectángulo"/>
          <p:cNvSpPr/>
          <p:nvPr/>
        </p:nvSpPr>
        <p:spPr>
          <a:xfrm>
            <a:off x="285720" y="1773238"/>
            <a:ext cx="8501122" cy="4320058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cxnSp>
        <p:nvCxnSpPr>
          <p:cNvPr id="10" name="9 Conector recto"/>
          <p:cNvCxnSpPr/>
          <p:nvPr/>
        </p:nvCxnSpPr>
        <p:spPr>
          <a:xfrm>
            <a:off x="285720" y="1556792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67 Título"/>
          <p:cNvSpPr>
            <a:spLocks noGrp="1"/>
          </p:cNvSpPr>
          <p:nvPr>
            <p:ph type="title"/>
          </p:nvPr>
        </p:nvSpPr>
        <p:spPr>
          <a:xfrm>
            <a:off x="323528" y="980728"/>
            <a:ext cx="8496622" cy="576064"/>
          </a:xfrm>
        </p:spPr>
        <p:txBody>
          <a:bodyPr>
            <a:normAutofit/>
          </a:bodyPr>
          <a:lstStyle/>
          <a:p>
            <a:pPr algn="l"/>
            <a:r>
              <a:rPr lang="es-ES" sz="2800" dirty="0" smtClean="0">
                <a:solidFill>
                  <a:srgbClr val="00567C"/>
                </a:solidFill>
              </a:rPr>
              <a:t>Índice</a:t>
            </a:r>
            <a:endParaRPr lang="en-US" sz="2800" dirty="0" smtClean="0">
              <a:solidFill>
                <a:srgbClr val="00567C"/>
              </a:solidFill>
            </a:endParaRPr>
          </a:p>
        </p:txBody>
      </p:sp>
      <p:cxnSp>
        <p:nvCxnSpPr>
          <p:cNvPr id="12" name="11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Rectángulo">
            <a:hlinkClick r:id="rId4" action="ppaction://hlinksldjump"/>
          </p:cNvPr>
          <p:cNvSpPr/>
          <p:nvPr/>
        </p:nvSpPr>
        <p:spPr bwMode="ltGray">
          <a:xfrm>
            <a:off x="611188" y="2420888"/>
            <a:ext cx="7273180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1. El papel del gas natural en España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4" name="13 Rectángulo">
            <a:hlinkClick r:id="rId5" action="ppaction://hlinksldjump"/>
          </p:cNvPr>
          <p:cNvSpPr/>
          <p:nvPr/>
        </p:nvSpPr>
        <p:spPr bwMode="ltGray">
          <a:xfrm>
            <a:off x="611188" y="2780159"/>
            <a:ext cx="6408000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2. Normativa relativa al gas natural en Europa y en España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5" name="14 Rectángulo">
            <a:hlinkClick r:id="rId5" action="ppaction://hlinksldjump"/>
          </p:cNvPr>
          <p:cNvSpPr/>
          <p:nvPr/>
        </p:nvSpPr>
        <p:spPr bwMode="ltGray">
          <a:xfrm>
            <a:off x="611188" y="3140968"/>
            <a:ext cx="7416824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3. Aprovisionamiento de gas natural en España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6" name="15 Rectángulo">
            <a:hlinkClick r:id="" action="ppaction://noaction"/>
          </p:cNvPr>
          <p:cNvSpPr/>
          <p:nvPr/>
        </p:nvSpPr>
        <p:spPr bwMode="ltGray">
          <a:xfrm>
            <a:off x="611188" y="3501008"/>
            <a:ext cx="7416824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4. Comercialización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7" name="16 Rectángulo">
            <a:hlinkClick r:id="" action="ppaction://noaction"/>
          </p:cNvPr>
          <p:cNvSpPr/>
          <p:nvPr/>
        </p:nvSpPr>
        <p:spPr bwMode="ltGray">
          <a:xfrm>
            <a:off x="611560" y="3861048"/>
            <a:ext cx="7416824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5. El mercado mayorista y los </a:t>
            </a:r>
            <a:r>
              <a:rPr lang="es-ES" i="1" dirty="0" smtClean="0">
                <a:solidFill>
                  <a:srgbClr val="404040"/>
                </a:solidFill>
                <a:latin typeface="+mj-lt"/>
              </a:rPr>
              <a:t>hubs</a:t>
            </a:r>
            <a:r>
              <a:rPr lang="es-ES" dirty="0" smtClean="0">
                <a:solidFill>
                  <a:srgbClr val="404040"/>
                </a:solidFill>
                <a:latin typeface="+mj-lt"/>
              </a:rPr>
              <a:t> de gas natural en Europa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9" name="18 Rectángulo">
            <a:hlinkClick r:id="" action="ppaction://noaction"/>
          </p:cNvPr>
          <p:cNvSpPr/>
          <p:nvPr/>
        </p:nvSpPr>
        <p:spPr bwMode="ltGray">
          <a:xfrm>
            <a:off x="611560" y="4221088"/>
            <a:ext cx="7416824" cy="28803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" dirty="0" smtClean="0">
                <a:solidFill>
                  <a:srgbClr val="404040"/>
                </a:solidFill>
                <a:latin typeface="+mj-lt"/>
              </a:rPr>
              <a:t>6. Peajes de acceso y déficit tarifario de gas natural</a:t>
            </a:r>
            <a:endParaRPr lang="en-US" dirty="0" smtClean="0">
              <a:solidFill>
                <a:srgbClr val="40404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94542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pic>
        <p:nvPicPr>
          <p:cNvPr id="73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4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67 Título"/>
          <p:cNvSpPr>
            <a:spLocks noGrp="1"/>
          </p:cNvSpPr>
          <p:nvPr>
            <p:ph type="title"/>
          </p:nvPr>
        </p:nvSpPr>
        <p:spPr>
          <a:xfrm>
            <a:off x="500034" y="980728"/>
            <a:ext cx="8077200" cy="1071570"/>
          </a:xfrm>
        </p:spPr>
        <p:txBody>
          <a:bodyPr>
            <a:normAutofit/>
          </a:bodyPr>
          <a:lstStyle/>
          <a:p>
            <a:r>
              <a:rPr lang="es-ES" sz="2800" dirty="0" smtClean="0">
                <a:solidFill>
                  <a:srgbClr val="00567C"/>
                </a:solidFill>
              </a:rPr>
              <a:t>5. </a:t>
            </a:r>
            <a:r>
              <a:rPr lang="es-ES" sz="2800" dirty="0">
                <a:solidFill>
                  <a:srgbClr val="00567C"/>
                </a:solidFill>
              </a:rPr>
              <a:t>El mercado mayorista y los</a:t>
            </a:r>
            <a:r>
              <a:rPr lang="es-ES" sz="2800" i="1" dirty="0">
                <a:solidFill>
                  <a:srgbClr val="00567C"/>
                </a:solidFill>
              </a:rPr>
              <a:t> hubs </a:t>
            </a:r>
            <a:r>
              <a:rPr lang="es-ES" sz="2800" dirty="0">
                <a:solidFill>
                  <a:srgbClr val="00567C"/>
                </a:solidFill>
              </a:rPr>
              <a:t>de gas natural en </a:t>
            </a:r>
            <a:r>
              <a:rPr lang="es-ES" sz="2800" dirty="0" smtClean="0">
                <a:solidFill>
                  <a:srgbClr val="00567C"/>
                </a:solidFill>
              </a:rPr>
              <a:t>Europa</a:t>
            </a:r>
            <a:endParaRPr lang="es-ES" sz="2800" dirty="0">
              <a:solidFill>
                <a:srgbClr val="00567C"/>
              </a:solidFill>
            </a:endParaRPr>
          </a:p>
        </p:txBody>
      </p:sp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>
          <a:xfrm>
            <a:off x="285720" y="206084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92 Rectángulo"/>
          <p:cNvSpPr/>
          <p:nvPr/>
        </p:nvSpPr>
        <p:spPr>
          <a:xfrm>
            <a:off x="285720" y="2276872"/>
            <a:ext cx="8501122" cy="3643338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95" name="94 CuadroTexto"/>
          <p:cNvSpPr txBox="1"/>
          <p:nvPr/>
        </p:nvSpPr>
        <p:spPr>
          <a:xfrm>
            <a:off x="297509" y="2564904"/>
            <a:ext cx="8489333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Un </a:t>
            </a:r>
            <a:r>
              <a:rPr lang="es-ES" sz="1400" b="1" i="1" dirty="0" smtClean="0">
                <a:solidFill>
                  <a:srgbClr val="404040"/>
                </a:solidFill>
                <a:latin typeface="+mj-lt"/>
              </a:rPr>
              <a:t>hub 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de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gas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es una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ubicación, física o virtual, en la que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los agentes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pueden intercambiar productos y servicios, tanto físicos como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financieros.  Su principal objetivo es agilizar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las transacciones de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gas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y convertirse así en el punto de referencia de los mercados a nivel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internacional</a:t>
            </a:r>
            <a:endParaRPr lang="es-ES" sz="1400" b="1" dirty="0">
              <a:solidFill>
                <a:srgbClr val="404040"/>
              </a:solidFill>
              <a:latin typeface="+mj-lt"/>
            </a:endParaRP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Las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operaciones de compra y venta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en el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mercado español de gas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se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realizan mediante contratos bilaterales, en un mercado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OTC y a través de un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Mercado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Ibérico organizado del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g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as natural operado por MIBGAS,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que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unifica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los mercados gasistas de Portugal y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España</a:t>
            </a: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El diseño de MIBGAS sigue el modelo establecido en el </a:t>
            </a:r>
            <a:r>
              <a:rPr lang="es-ES" sz="1400" b="1" i="1" dirty="0" smtClean="0">
                <a:solidFill>
                  <a:srgbClr val="404040"/>
                </a:solidFill>
                <a:latin typeface="+mj-lt"/>
              </a:rPr>
              <a:t>Gas Target Model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, dentro del objetivo de impulsar un verdadero mercado europeo de la energía</a:t>
            </a:r>
            <a:endParaRPr lang="es-ES" sz="14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0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8" name="17 CuadroTexto"/>
          <p:cNvSpPr txBox="1"/>
          <p:nvPr>
            <p:custDataLst>
              <p:tags r:id="rId2"/>
            </p:custDataLst>
          </p:nvPr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5. El mercado mayorista y los</a:t>
            </a:r>
            <a:r>
              <a:rPr lang="es-ES_tradnl" sz="900" i="1" dirty="0" smtClean="0">
                <a:solidFill>
                  <a:srgbClr val="8A8A8D"/>
                </a:solidFill>
                <a:latin typeface="+mj-lt"/>
              </a:rPr>
              <a:t> hubs </a:t>
            </a: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de gas natural en Europ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5197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07504" y="1042293"/>
            <a:ext cx="9036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Un </a:t>
            </a:r>
            <a:r>
              <a:rPr lang="es-ES" sz="1600" i="1" dirty="0">
                <a:solidFill>
                  <a:srgbClr val="404040"/>
                </a:solidFill>
                <a:latin typeface="Pontano Sans" pitchFamily="2" charset="0"/>
              </a:rPr>
              <a:t>hub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 de gas es una ubicación, física o virtual, en la que los agentes pueden intercambiar productos y servicios, tanto físicos como financieros.  Su principal objetivo es agilizar las transacciones de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gas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y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convertirse,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así en el punto de referencia de los mercados a nivel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internacional</a:t>
            </a:r>
            <a:endParaRPr lang="es-ES" sz="1600" dirty="0">
              <a:solidFill>
                <a:srgbClr val="40404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1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62" name="161 Conector recto"/>
          <p:cNvCxnSpPr/>
          <p:nvPr/>
        </p:nvCxnSpPr>
        <p:spPr>
          <a:xfrm>
            <a:off x="323410" y="190231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CuadroTexto"/>
          <p:cNvSpPr txBox="1"/>
          <p:nvPr/>
        </p:nvSpPr>
        <p:spPr>
          <a:xfrm>
            <a:off x="609282" y="2760783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929162" y="2760783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6" name="15 CuadroTexto"/>
          <p:cNvSpPr txBox="1"/>
          <p:nvPr/>
        </p:nvSpPr>
        <p:spPr>
          <a:xfrm>
            <a:off x="1399310" y="2760783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32" name="31 Rectángulo"/>
          <p:cNvSpPr/>
          <p:nvPr/>
        </p:nvSpPr>
        <p:spPr>
          <a:xfrm>
            <a:off x="323850" y="6036736"/>
            <a:ext cx="8496300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3" name="32 CuadroTexto"/>
          <p:cNvSpPr txBox="1"/>
          <p:nvPr/>
        </p:nvSpPr>
        <p:spPr>
          <a:xfrm>
            <a:off x="319349" y="6006212"/>
            <a:ext cx="849360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El principal objetivo de un </a:t>
            </a:r>
            <a:r>
              <a:rPr lang="es-ES" sz="1000" i="1" dirty="0" smtClean="0">
                <a:solidFill>
                  <a:srgbClr val="404040"/>
                </a:solidFill>
                <a:latin typeface="+mj-lt"/>
              </a:rPr>
              <a:t>hub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 de gas es facilitar los servicios logísticos, de mercado y financieros requeridos para agilizar las transacciones de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gas.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En Europa, los principales mercados son Reino Unido, Holanda, Alemania,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Bélgica, Francia y  España,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que son los países donde el consumo de gas es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mayor</a:t>
            </a:r>
            <a:endParaRPr lang="es-ES" sz="1000" dirty="0">
              <a:solidFill>
                <a:srgbClr val="404040"/>
              </a:solidFill>
              <a:latin typeface="+mj-lt"/>
            </a:endParaRPr>
          </a:p>
          <a:p>
            <a:pPr algn="ctr"/>
            <a:endParaRPr lang="es-ES" sz="1000" dirty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34" name="33 Conector recto"/>
          <p:cNvCxnSpPr/>
          <p:nvPr/>
        </p:nvCxnSpPr>
        <p:spPr>
          <a:xfrm>
            <a:off x="323850" y="6042685"/>
            <a:ext cx="84963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39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39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5. El mercado mayorista y los</a:t>
            </a:r>
            <a:r>
              <a:rPr lang="es-ES_tradnl" sz="900" i="1" dirty="0" smtClean="0">
                <a:solidFill>
                  <a:srgbClr val="8A8A8D"/>
                </a:solidFill>
                <a:latin typeface="+mj-lt"/>
              </a:rPr>
              <a:t> hubs </a:t>
            </a: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de gas natural en Europ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28" name="27 Rectángulo"/>
          <p:cNvSpPr/>
          <p:nvPr/>
        </p:nvSpPr>
        <p:spPr>
          <a:xfrm>
            <a:off x="281852" y="5579242"/>
            <a:ext cx="8394604" cy="2408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Principales </a:t>
            </a:r>
            <a:r>
              <a:rPr lang="es-ES" sz="1000" i="1" dirty="0" smtClean="0">
                <a:solidFill>
                  <a:schemeClr val="tx1"/>
                </a:solidFill>
                <a:latin typeface="Pontano Sans" pitchFamily="2" charset="0"/>
              </a:rPr>
              <a:t>hubs  </a:t>
            </a:r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en Europa</a:t>
            </a:r>
          </a:p>
        </p:txBody>
      </p:sp>
      <p:sp>
        <p:nvSpPr>
          <p:cNvPr id="24" name="23 CuadroTexto"/>
          <p:cNvSpPr txBox="1"/>
          <p:nvPr/>
        </p:nvSpPr>
        <p:spPr>
          <a:xfrm>
            <a:off x="2915816" y="2133593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25" name="24 CuadroTexto"/>
          <p:cNvSpPr txBox="1"/>
          <p:nvPr/>
        </p:nvSpPr>
        <p:spPr>
          <a:xfrm>
            <a:off x="3235696" y="2133593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26" name="25 CuadroTexto"/>
          <p:cNvSpPr txBox="1"/>
          <p:nvPr/>
        </p:nvSpPr>
        <p:spPr>
          <a:xfrm>
            <a:off x="3705844" y="2133593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27" name="26 Rectángulo"/>
          <p:cNvSpPr/>
          <p:nvPr/>
        </p:nvSpPr>
        <p:spPr>
          <a:xfrm>
            <a:off x="325807" y="2009722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9" name="28 CuadroTexto"/>
          <p:cNvSpPr txBox="1"/>
          <p:nvPr/>
        </p:nvSpPr>
        <p:spPr>
          <a:xfrm>
            <a:off x="319350" y="1983752"/>
            <a:ext cx="4252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Los </a:t>
            </a:r>
            <a:r>
              <a:rPr lang="es-ES" sz="1200" i="1" dirty="0">
                <a:solidFill>
                  <a:srgbClr val="404040"/>
                </a:solidFill>
                <a:latin typeface="+mj-lt"/>
              </a:rPr>
              <a:t>hub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  de gas pueden ser lugares físicos en donde varios gasoductos están interconectados o lugares virtuales que representan zonas de balance</a:t>
            </a:r>
          </a:p>
        </p:txBody>
      </p:sp>
      <p:sp>
        <p:nvSpPr>
          <p:cNvPr id="30" name="29 Rectángulo"/>
          <p:cNvSpPr/>
          <p:nvPr/>
        </p:nvSpPr>
        <p:spPr>
          <a:xfrm>
            <a:off x="4684520" y="2009989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1" name="30 CuadroTexto"/>
          <p:cNvSpPr txBox="1"/>
          <p:nvPr/>
        </p:nvSpPr>
        <p:spPr>
          <a:xfrm>
            <a:off x="4669408" y="2062064"/>
            <a:ext cx="41764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El </a:t>
            </a:r>
            <a:r>
              <a:rPr lang="es-ES" sz="1200" i="1" dirty="0">
                <a:solidFill>
                  <a:srgbClr val="404040"/>
                </a:solidFill>
                <a:latin typeface="+mj-lt"/>
              </a:rPr>
              <a:t>National Balancing Point (NBP) 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es el </a:t>
            </a:r>
            <a:r>
              <a:rPr lang="es-ES" sz="1200" i="1" dirty="0">
                <a:solidFill>
                  <a:srgbClr val="404040"/>
                </a:solidFill>
                <a:latin typeface="+mj-lt"/>
              </a:rPr>
              <a:t>hub </a:t>
            </a:r>
            <a:r>
              <a:rPr lang="es-ES" sz="1200" i="1" dirty="0" smtClean="0">
                <a:solidFill>
                  <a:srgbClr val="404040"/>
                </a:solidFill>
                <a:latin typeface="+mj-lt"/>
              </a:rPr>
              <a:t>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más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antiguo de Europa y en el que se genera un mayor nivel de negociación</a:t>
            </a:r>
          </a:p>
        </p:txBody>
      </p:sp>
      <p:sp>
        <p:nvSpPr>
          <p:cNvPr id="37" name="Rectangle 122"/>
          <p:cNvSpPr>
            <a:spLocks noChangeAspect="1" noChangeArrowheads="1"/>
          </p:cNvSpPr>
          <p:nvPr/>
        </p:nvSpPr>
        <p:spPr bwMode="auto">
          <a:xfrm>
            <a:off x="5524996" y="5805264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elaboración propia]</a:t>
            </a:r>
          </a:p>
        </p:txBody>
      </p:sp>
      <p:cxnSp>
        <p:nvCxnSpPr>
          <p:cNvPr id="42" name="41 Conector recto"/>
          <p:cNvCxnSpPr/>
          <p:nvPr/>
        </p:nvCxnSpPr>
        <p:spPr>
          <a:xfrm>
            <a:off x="357158" y="5805264"/>
            <a:ext cx="8463314" cy="1485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/>
          <a:srcRect l="13089"/>
          <a:stretch/>
        </p:blipFill>
        <p:spPr>
          <a:xfrm>
            <a:off x="4826437" y="2627720"/>
            <a:ext cx="3950865" cy="278495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5121" y="2857562"/>
            <a:ext cx="5861056" cy="2834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081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56 Rectángulo"/>
          <p:cNvSpPr/>
          <p:nvPr/>
        </p:nvSpPr>
        <p:spPr bwMode="ltGray">
          <a:xfrm>
            <a:off x="323528" y="2768082"/>
            <a:ext cx="4176000" cy="2965174"/>
          </a:xfrm>
          <a:prstGeom prst="rect">
            <a:avLst/>
          </a:prstGeom>
          <a:solidFill>
            <a:srgbClr val="B8DCE1">
              <a:alpha val="50000"/>
            </a:srgbClr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11113" indent="-22225" algn="ctr" defTabSz="734940"/>
            <a:endParaRPr lang="es-ES" sz="8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319349" y="1036887"/>
            <a:ext cx="85051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550" lvl="1" algn="ctr">
              <a:spcAft>
                <a:spcPts val="600"/>
              </a:spcAft>
              <a:buClr>
                <a:srgbClr val="3FAE29"/>
              </a:buClr>
            </a:pPr>
            <a:r>
              <a:rPr lang="es-ES" sz="1600" dirty="0">
                <a:solidFill>
                  <a:srgbClr val="404040"/>
                </a:solidFill>
                <a:latin typeface="+mj-lt"/>
              </a:rPr>
              <a:t>Las operaciones de compra y venta en el mercado español de gas se realizan mediante contratos bilaterales, en un mercado OTC y a través de un Mercado Ibérico </a:t>
            </a:r>
            <a:r>
              <a:rPr lang="es-ES" sz="1600" dirty="0" smtClean="0">
                <a:solidFill>
                  <a:srgbClr val="404040"/>
                </a:solidFill>
                <a:latin typeface="+mj-lt"/>
              </a:rPr>
              <a:t>organizado del </a:t>
            </a:r>
            <a:r>
              <a:rPr lang="es-ES" sz="1600" dirty="0">
                <a:solidFill>
                  <a:srgbClr val="404040"/>
                </a:solidFill>
                <a:latin typeface="+mj-lt"/>
              </a:rPr>
              <a:t>g</a:t>
            </a:r>
            <a:r>
              <a:rPr lang="es-ES" sz="1600" dirty="0" smtClean="0">
                <a:solidFill>
                  <a:srgbClr val="404040"/>
                </a:solidFill>
                <a:latin typeface="+mj-lt"/>
              </a:rPr>
              <a:t>as </a:t>
            </a:r>
            <a:r>
              <a:rPr lang="es-ES" sz="1600" dirty="0">
                <a:solidFill>
                  <a:srgbClr val="404040"/>
                </a:solidFill>
                <a:latin typeface="+mj-lt"/>
              </a:rPr>
              <a:t>n</a:t>
            </a:r>
            <a:r>
              <a:rPr lang="es-ES" sz="1600" dirty="0" smtClean="0">
                <a:solidFill>
                  <a:srgbClr val="404040"/>
                </a:solidFill>
                <a:latin typeface="+mj-lt"/>
              </a:rPr>
              <a:t>atural operado por MIBGAS, </a:t>
            </a:r>
            <a:r>
              <a:rPr lang="es-ES" sz="1600" dirty="0">
                <a:solidFill>
                  <a:srgbClr val="404040"/>
                </a:solidFill>
                <a:latin typeface="+mj-lt"/>
              </a:rPr>
              <a:t>que unifica los mercados gasistas de Portugal y España</a:t>
            </a: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2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62" name="161 Conector recto"/>
          <p:cNvCxnSpPr/>
          <p:nvPr/>
        </p:nvCxnSpPr>
        <p:spPr>
          <a:xfrm>
            <a:off x="323410" y="1917956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CuadroTexto"/>
          <p:cNvSpPr txBox="1"/>
          <p:nvPr/>
        </p:nvSpPr>
        <p:spPr>
          <a:xfrm>
            <a:off x="2915816" y="2249705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3235696" y="2249705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6" name="15 CuadroTexto"/>
          <p:cNvSpPr txBox="1"/>
          <p:nvPr/>
        </p:nvSpPr>
        <p:spPr>
          <a:xfrm>
            <a:off x="3705844" y="2249705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32" name="31 Rectángulo"/>
          <p:cNvSpPr/>
          <p:nvPr/>
        </p:nvSpPr>
        <p:spPr>
          <a:xfrm>
            <a:off x="323850" y="6036736"/>
            <a:ext cx="8496300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33" name="32 CuadroTexto"/>
          <p:cNvSpPr txBox="1"/>
          <p:nvPr/>
        </p:nvSpPr>
        <p:spPr>
          <a:xfrm>
            <a:off x="569383" y="6106946"/>
            <a:ext cx="80010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A pesar del bajo volumen negociado a día de hoy frente a lo que se negocia bilateralmente, el tiempo que lleva en funcionamiento la plataforma es muy reducido y es por ello que las proyecciones de afianzarse como mercado de referencia son aún muy altas</a:t>
            </a:r>
            <a:endParaRPr lang="es-ES" sz="1000" dirty="0">
              <a:solidFill>
                <a:srgbClr val="404040"/>
              </a:solidFill>
              <a:latin typeface="+mj-lt"/>
            </a:endParaRPr>
          </a:p>
          <a:p>
            <a:pPr marL="0" lvl="1" algn="ctr"/>
            <a:endParaRPr lang="es-ES_tradnl" sz="1000" dirty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34" name="33 Conector recto"/>
          <p:cNvCxnSpPr/>
          <p:nvPr/>
        </p:nvCxnSpPr>
        <p:spPr>
          <a:xfrm>
            <a:off x="323850" y="6042685"/>
            <a:ext cx="8496300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39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39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5. El mercado mayorista y los</a:t>
            </a:r>
            <a:r>
              <a:rPr lang="es-ES_tradnl" sz="900" i="1" dirty="0" smtClean="0">
                <a:solidFill>
                  <a:srgbClr val="8A8A8D"/>
                </a:solidFill>
                <a:latin typeface="+mj-lt"/>
              </a:rPr>
              <a:t> hubs </a:t>
            </a: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de gas natural en Europ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2915816" y="2206163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23" name="22 CuadroTexto"/>
          <p:cNvSpPr txBox="1"/>
          <p:nvPr/>
        </p:nvSpPr>
        <p:spPr>
          <a:xfrm>
            <a:off x="3235696" y="2206163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24" name="23 CuadroTexto"/>
          <p:cNvSpPr txBox="1"/>
          <p:nvPr/>
        </p:nvSpPr>
        <p:spPr>
          <a:xfrm>
            <a:off x="3705844" y="2206163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25" name="24 Rectángulo"/>
          <p:cNvSpPr/>
          <p:nvPr/>
        </p:nvSpPr>
        <p:spPr>
          <a:xfrm>
            <a:off x="325807" y="2082292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6" name="25 CuadroTexto"/>
          <p:cNvSpPr txBox="1"/>
          <p:nvPr/>
        </p:nvSpPr>
        <p:spPr>
          <a:xfrm>
            <a:off x="319350" y="2056322"/>
            <a:ext cx="4252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Las operaciones de compra y venta en el mercado español de gas se realizan mediante contratos bilaterales, en un mercado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OTC</a:t>
            </a:r>
            <a:endParaRPr lang="es-ES" sz="12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27" name="26 Rectángulo"/>
          <p:cNvSpPr/>
          <p:nvPr/>
        </p:nvSpPr>
        <p:spPr>
          <a:xfrm>
            <a:off x="4684520" y="2082559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8" name="27 CuadroTexto"/>
          <p:cNvSpPr txBox="1"/>
          <p:nvPr/>
        </p:nvSpPr>
        <p:spPr>
          <a:xfrm>
            <a:off x="4669408" y="2057000"/>
            <a:ext cx="417646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latin typeface="Pontano Sans" panose="020B0604020202020204" charset="0"/>
                <a:ea typeface="Calibri" panose="020F0502020204030204" pitchFamily="34" charset="0"/>
                <a:cs typeface="Times New Roman" panose="02020603050405020304" pitchFamily="18" charset="0"/>
              </a:rPr>
              <a:t>A día de hoy, el número de agentes que alcanza MIBGAS es de 61, </a:t>
            </a:r>
            <a:r>
              <a:rPr lang="es-ES" sz="1200" dirty="0" smtClean="0">
                <a:latin typeface="Pontano Sans" panose="020B0604020202020204" charset="0"/>
                <a:ea typeface="Calibri" panose="020F0502020204030204" pitchFamily="34" charset="0"/>
                <a:cs typeface="Times New Roman" panose="02020603050405020304" pitchFamily="18" charset="0"/>
              </a:rPr>
              <a:t>con un volumen </a:t>
            </a:r>
            <a:r>
              <a:rPr lang="es-ES" sz="1200" dirty="0">
                <a:latin typeface="Pontano Sans" panose="020B0604020202020204" charset="0"/>
                <a:ea typeface="Calibri" panose="020F0502020204030204" pitchFamily="34" charset="0"/>
                <a:cs typeface="Times New Roman" panose="02020603050405020304" pitchFamily="18" charset="0"/>
              </a:rPr>
              <a:t>negociado </a:t>
            </a:r>
            <a:r>
              <a:rPr lang="es-ES" sz="1200" dirty="0" smtClean="0">
                <a:latin typeface="Pontano Sans" panose="020B0604020202020204" charset="0"/>
                <a:ea typeface="Calibri" panose="020F0502020204030204" pitchFamily="34" charset="0"/>
                <a:cs typeface="Times New Roman" panose="02020603050405020304" pitchFamily="18" charset="0"/>
              </a:rPr>
              <a:t>aún </a:t>
            </a:r>
            <a:r>
              <a:rPr lang="es-ES" sz="1200" dirty="0">
                <a:latin typeface="Pontano Sans" panose="020B0604020202020204" charset="0"/>
                <a:ea typeface="Calibri" panose="020F0502020204030204" pitchFamily="34" charset="0"/>
                <a:cs typeface="Times New Roman" panose="02020603050405020304" pitchFamily="18" charset="0"/>
              </a:rPr>
              <a:t>muy bajo frente a lo que se negocia bilateralmente. </a:t>
            </a:r>
            <a:endParaRPr lang="es-ES" sz="1200" dirty="0">
              <a:solidFill>
                <a:srgbClr val="404040"/>
              </a:solidFill>
              <a:latin typeface="+mj-lt"/>
            </a:endParaRP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842501" y="3933056"/>
            <a:ext cx="1322851" cy="100026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/>
        </p:spPr>
      </p:pic>
      <p:sp>
        <p:nvSpPr>
          <p:cNvPr id="37" name="AutoShape 54"/>
          <p:cNvSpPr>
            <a:spLocks noChangeArrowheads="1"/>
          </p:cNvSpPr>
          <p:nvPr/>
        </p:nvSpPr>
        <p:spPr bwMode="auto">
          <a:xfrm>
            <a:off x="473822" y="3140968"/>
            <a:ext cx="1505890" cy="541514"/>
          </a:xfrm>
          <a:prstGeom prst="roundRect">
            <a:avLst>
              <a:gd name="adj" fmla="val 16667"/>
            </a:avLst>
          </a:prstGeom>
          <a:solidFill>
            <a:srgbClr val="6CC049"/>
          </a:solidFill>
          <a:ln w="28575">
            <a:noFill/>
            <a:round/>
            <a:headEnd/>
            <a:tailEnd/>
          </a:ln>
        </p:spPr>
        <p:txBody>
          <a:bodyPr lIns="17998" tIns="35995" rIns="72000" bIns="35995" anchor="ctr" anchorCtr="1"/>
          <a:lstStyle/>
          <a:p>
            <a:pPr marL="177800" indent="-95250" algn="ctr"/>
            <a:r>
              <a:rPr lang="es-ES" sz="1000" b="1" dirty="0" smtClean="0">
                <a:solidFill>
                  <a:srgbClr val="FFFFFF"/>
                </a:solidFill>
                <a:latin typeface="Pontano Sans" pitchFamily="2" charset="0"/>
                <a:cs typeface="Arial" pitchFamily="34" charset="0"/>
              </a:rPr>
              <a:t>Acuerdos bilaterales Mercado OTC</a:t>
            </a:r>
            <a:endParaRPr lang="es-ES" sz="1000" b="1" dirty="0">
              <a:solidFill>
                <a:srgbClr val="FFFFFF"/>
              </a:solidFill>
              <a:latin typeface="Pontano Sans" pitchFamily="2" charset="0"/>
              <a:cs typeface="Arial" pitchFamily="34" charset="0"/>
            </a:endParaRPr>
          </a:p>
        </p:txBody>
      </p:sp>
      <p:sp>
        <p:nvSpPr>
          <p:cNvPr id="41" name="AutoShape 54"/>
          <p:cNvSpPr>
            <a:spLocks noChangeArrowheads="1"/>
          </p:cNvSpPr>
          <p:nvPr/>
        </p:nvSpPr>
        <p:spPr bwMode="auto">
          <a:xfrm>
            <a:off x="2699792" y="3140968"/>
            <a:ext cx="1577898" cy="541514"/>
          </a:xfrm>
          <a:prstGeom prst="roundRect">
            <a:avLst>
              <a:gd name="adj" fmla="val 16667"/>
            </a:avLst>
          </a:prstGeom>
          <a:solidFill>
            <a:srgbClr val="6CC049"/>
          </a:solidFill>
          <a:ln w="28575">
            <a:noFill/>
            <a:round/>
            <a:headEnd/>
            <a:tailEnd/>
          </a:ln>
        </p:spPr>
        <p:txBody>
          <a:bodyPr lIns="17998" tIns="35995" rIns="72000" bIns="35995" anchor="ctr" anchorCtr="1"/>
          <a:lstStyle/>
          <a:p>
            <a:pPr marL="177800" indent="-95250" algn="ctr"/>
            <a:r>
              <a:rPr lang="es-ES" sz="1000" b="1" dirty="0" smtClean="0">
                <a:solidFill>
                  <a:srgbClr val="FFFFFF"/>
                </a:solidFill>
                <a:latin typeface="Pontano Sans" pitchFamily="2" charset="0"/>
                <a:cs typeface="Arial" pitchFamily="34" charset="0"/>
              </a:rPr>
              <a:t>Navegación anónima a través de la plataforma electrónica de mercado</a:t>
            </a:r>
            <a:endParaRPr lang="es-ES" sz="1000" b="1" dirty="0">
              <a:solidFill>
                <a:srgbClr val="FFFFFF"/>
              </a:solidFill>
              <a:latin typeface="Pontano Sans" pitchFamily="2" charset="0"/>
              <a:cs typeface="Arial" pitchFamily="34" charset="0"/>
            </a:endParaRPr>
          </a:p>
        </p:txBody>
      </p:sp>
      <p:cxnSp>
        <p:nvCxnSpPr>
          <p:cNvPr id="42" name="41 Conector recto de flecha"/>
          <p:cNvCxnSpPr/>
          <p:nvPr/>
        </p:nvCxnSpPr>
        <p:spPr>
          <a:xfrm>
            <a:off x="2024596" y="4507443"/>
            <a:ext cx="776920" cy="0"/>
          </a:xfrm>
          <a:prstGeom prst="straightConnector1">
            <a:avLst/>
          </a:prstGeom>
          <a:ln w="31750">
            <a:solidFill>
              <a:srgbClr val="8A8A8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Picture 55" descr="http://ts3.mm.bing.net/th?id=HN.608002244881222075&amp;w=152&amp;h=150&amp;c=7&amp;rs=1&amp;pid=1.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855" y="3928047"/>
            <a:ext cx="1308918" cy="10821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6" name="39 Conector recto"/>
          <p:cNvCxnSpPr/>
          <p:nvPr/>
        </p:nvCxnSpPr>
        <p:spPr>
          <a:xfrm>
            <a:off x="4716463" y="5898416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122"/>
          <p:cNvSpPr>
            <a:spLocks noChangeAspect="1" noChangeArrowheads="1"/>
          </p:cNvSpPr>
          <p:nvPr/>
        </p:nvSpPr>
        <p:spPr bwMode="auto">
          <a:xfrm>
            <a:off x="5524996" y="588355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" sz="700" dirty="0">
                <a:solidFill>
                  <a:srgbClr val="8A8A8D"/>
                </a:solidFill>
                <a:latin typeface="+mj-lt"/>
              </a:rPr>
              <a:t>[Fuente: MIBGAS y elaboración propia]</a:t>
            </a:r>
          </a:p>
        </p:txBody>
      </p:sp>
      <p:sp>
        <p:nvSpPr>
          <p:cNvPr id="44" name="41 Rectángulo"/>
          <p:cNvSpPr/>
          <p:nvPr/>
        </p:nvSpPr>
        <p:spPr>
          <a:xfrm>
            <a:off x="4617020" y="5661248"/>
            <a:ext cx="42034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Evolución del volumen de gas natural gestionado en MIBGAS en 2016</a:t>
            </a:r>
            <a:endParaRPr lang="es-ES" sz="1000" dirty="0">
              <a:latin typeface="Pontano Sans" pitchFamily="2" charset="0"/>
            </a:endParaRPr>
          </a:p>
        </p:txBody>
      </p:sp>
      <p:pic>
        <p:nvPicPr>
          <p:cNvPr id="45" name="Picture 15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30" y="2796993"/>
            <a:ext cx="3393594" cy="286425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5418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44016" y="1052736"/>
            <a:ext cx="8892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El diseño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de MIBGAS sigue el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modelo establecido en el </a:t>
            </a:r>
            <a:r>
              <a:rPr lang="es-ES" sz="1600" i="1" dirty="0">
                <a:solidFill>
                  <a:srgbClr val="404040"/>
                </a:solidFill>
                <a:latin typeface="Pontano Sans" pitchFamily="2" charset="0"/>
              </a:rPr>
              <a:t>Gas Target Model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, dentro del objetivo de impulsar un verdadero mercado europeo de la energía</a:t>
            </a:r>
            <a:endParaRPr lang="es-ES_tradnl" sz="1600" dirty="0">
              <a:solidFill>
                <a:srgbClr val="40404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3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62" name="161 Conector recto"/>
          <p:cNvCxnSpPr/>
          <p:nvPr/>
        </p:nvCxnSpPr>
        <p:spPr>
          <a:xfrm>
            <a:off x="323410" y="165362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CuadroTexto"/>
          <p:cNvSpPr txBox="1"/>
          <p:nvPr/>
        </p:nvSpPr>
        <p:spPr>
          <a:xfrm>
            <a:off x="2915816" y="2061023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3235696" y="2061023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6" name="15 CuadroTexto"/>
          <p:cNvSpPr txBox="1"/>
          <p:nvPr/>
        </p:nvSpPr>
        <p:spPr>
          <a:xfrm>
            <a:off x="3705844" y="2061023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325807" y="1937152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8" name="17 CuadroTexto"/>
          <p:cNvSpPr txBox="1"/>
          <p:nvPr/>
        </p:nvSpPr>
        <p:spPr>
          <a:xfrm>
            <a:off x="319350" y="1911182"/>
            <a:ext cx="4252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Se está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trabajando en desarrollar unos “códigos de red”, que son normas comunes en las conexiones internacionales que faciliten el uso de las infraestructuras y el uso eficiente del mercado</a:t>
            </a:r>
            <a:endParaRPr lang="es-ES" sz="1200" dirty="0" smtClean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4684520" y="1937419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Cinco son los códigos de red más avanzados en su tramitación</a:t>
            </a:r>
          </a:p>
        </p:txBody>
      </p:sp>
      <p:sp>
        <p:nvSpPr>
          <p:cNvPr id="26" name="2 Marcador de contenido"/>
          <p:cNvSpPr>
            <a:spLocks noGrp="1"/>
          </p:cNvSpPr>
          <p:nvPr>
            <p:ph sz="quarter" idx="4294967295"/>
          </p:nvPr>
        </p:nvSpPr>
        <p:spPr>
          <a:xfrm>
            <a:off x="4971638" y="2636912"/>
            <a:ext cx="3588856" cy="540000"/>
          </a:xfrm>
          <a:prstGeom prst="rect">
            <a:avLst/>
          </a:prstGeom>
          <a:solidFill>
            <a:srgbClr val="00567C"/>
          </a:solidFill>
        </p:spPr>
        <p:txBody>
          <a:bodyPr lIns="108000" rIns="108000" anchor="ctr" anchorCtr="0">
            <a:noAutofit/>
          </a:bodyPr>
          <a:lstStyle/>
          <a:p>
            <a:pPr marL="0" lvl="0" indent="0" algn="ctr">
              <a:buNone/>
            </a:pPr>
            <a:r>
              <a:rPr lang="es-ES" sz="1000" b="1" dirty="0" smtClean="0">
                <a:solidFill>
                  <a:schemeClr val="bg2"/>
                </a:solidFill>
                <a:latin typeface="+mj-lt"/>
              </a:rPr>
              <a:t>CMP. Gestión de las congestiones: </a:t>
            </a:r>
            <a:r>
              <a:rPr lang="es-ES" sz="1000" dirty="0" smtClean="0">
                <a:solidFill>
                  <a:schemeClr val="bg2"/>
                </a:solidFill>
                <a:latin typeface="+mj-lt"/>
              </a:rPr>
              <a:t>Prevención y resolución de las congestiones en las conexiones internacionales</a:t>
            </a:r>
            <a:endParaRPr lang="es-ES" sz="1000" b="1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27" name="2 Marcador de contenido"/>
          <p:cNvSpPr>
            <a:spLocks noGrp="1"/>
          </p:cNvSpPr>
          <p:nvPr>
            <p:ph sz="quarter" idx="4294967295"/>
          </p:nvPr>
        </p:nvSpPr>
        <p:spPr>
          <a:xfrm>
            <a:off x="4972050" y="3362533"/>
            <a:ext cx="3588856" cy="540000"/>
          </a:xfrm>
          <a:prstGeom prst="rect">
            <a:avLst/>
          </a:prstGeom>
          <a:solidFill>
            <a:srgbClr val="82BC00"/>
          </a:solidFill>
        </p:spPr>
        <p:txBody>
          <a:bodyPr vert="horz" lIns="108000" tIns="0" rIns="108000" bIns="0" rtlCol="0" anchor="ctr" anchorCtr="0">
            <a:noAutofit/>
          </a:bodyPr>
          <a:lstStyle/>
          <a:p>
            <a:pPr lvl="0" algn="ctr">
              <a:buNone/>
            </a:pPr>
            <a:r>
              <a:rPr lang="es-ES" sz="1000" b="1" dirty="0" smtClean="0">
                <a:solidFill>
                  <a:srgbClr val="404040"/>
                </a:solidFill>
                <a:latin typeface="+mj-lt"/>
              </a:rPr>
              <a:t>CAM. Asignación de capacidad: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Regulación de la asignación de capacidad disponible en las interconexiones de forma coordinada, mediante subastas de capacidad y plazos</a:t>
            </a:r>
            <a:endParaRPr lang="es-ES" sz="10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28" name="2 Marcador de contenido"/>
          <p:cNvSpPr>
            <a:spLocks noGrp="1"/>
          </p:cNvSpPr>
          <p:nvPr>
            <p:ph sz="quarter" idx="4294967295"/>
          </p:nvPr>
        </p:nvSpPr>
        <p:spPr>
          <a:xfrm>
            <a:off x="4972050" y="4088154"/>
            <a:ext cx="3588856" cy="540000"/>
          </a:xfrm>
          <a:prstGeom prst="rect">
            <a:avLst/>
          </a:prstGeom>
          <a:solidFill>
            <a:srgbClr val="6CC049"/>
          </a:solidFill>
        </p:spPr>
        <p:txBody>
          <a:bodyPr lIns="108000" rIns="108000" anchor="ctr" anchorCtr="0">
            <a:noAutofit/>
          </a:bodyPr>
          <a:lstStyle/>
          <a:p>
            <a:pPr lvl="0" algn="ctr">
              <a:buNone/>
            </a:pPr>
            <a:r>
              <a:rPr lang="es-ES" sz="1000" b="1" dirty="0" smtClean="0">
                <a:solidFill>
                  <a:srgbClr val="404040"/>
                </a:solidFill>
                <a:latin typeface="+mj-lt"/>
              </a:rPr>
              <a:t>Balance: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Armonización de los sistemas de balance de Estados de la UE</a:t>
            </a:r>
            <a:endParaRPr lang="es-ES" sz="10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29" name="2 Marcador de contenido"/>
          <p:cNvSpPr>
            <a:spLocks noGrp="1"/>
          </p:cNvSpPr>
          <p:nvPr>
            <p:ph sz="quarter" idx="4294967295"/>
          </p:nvPr>
        </p:nvSpPr>
        <p:spPr>
          <a:xfrm>
            <a:off x="4972462" y="4813775"/>
            <a:ext cx="3588856" cy="540000"/>
          </a:xfrm>
          <a:prstGeom prst="rect">
            <a:avLst/>
          </a:prstGeom>
          <a:solidFill>
            <a:srgbClr val="A2D683"/>
          </a:solidFill>
        </p:spPr>
        <p:txBody>
          <a:bodyPr vert="horz" lIns="108000" tIns="0" rIns="108000" bIns="0" rtlCol="0" anchor="ctr" anchorCtr="0">
            <a:noAutofit/>
          </a:bodyPr>
          <a:lstStyle/>
          <a:p>
            <a:pPr marL="0" lvl="0" indent="0" algn="ctr">
              <a:buNone/>
            </a:pPr>
            <a:r>
              <a:rPr lang="es-ES" sz="1000" b="1" dirty="0" smtClean="0">
                <a:solidFill>
                  <a:srgbClr val="404040"/>
                </a:solidFill>
                <a:latin typeface="+mj-lt"/>
              </a:rPr>
              <a:t>Interoperabilidad: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Establecimiento de normas comunes en relación con los acuerdos de interconexión entre transportistas en las interconexiones</a:t>
            </a:r>
            <a:endParaRPr lang="es-ES" sz="10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30" name="2 Marcador de contenido"/>
          <p:cNvSpPr>
            <a:spLocks noGrp="1"/>
          </p:cNvSpPr>
          <p:nvPr>
            <p:ph sz="quarter" idx="4294967295"/>
          </p:nvPr>
        </p:nvSpPr>
        <p:spPr>
          <a:xfrm>
            <a:off x="4972462" y="5539395"/>
            <a:ext cx="3588856" cy="540000"/>
          </a:xfrm>
          <a:prstGeom prst="rect">
            <a:avLst/>
          </a:prstGeom>
          <a:solidFill>
            <a:srgbClr val="D2CFCD"/>
          </a:solidFill>
        </p:spPr>
        <p:txBody>
          <a:bodyPr vert="horz" lIns="108000" tIns="0" rIns="108000" bIns="0" rtlCol="0" anchor="ctr" anchorCtr="0">
            <a:noAutofit/>
          </a:bodyPr>
          <a:lstStyle/>
          <a:p>
            <a:pPr marL="0" lvl="0" indent="0" algn="ctr">
              <a:buNone/>
            </a:pPr>
            <a:r>
              <a:rPr lang="es-ES" sz="1000" b="1" dirty="0" smtClean="0">
                <a:solidFill>
                  <a:srgbClr val="404040"/>
                </a:solidFill>
                <a:latin typeface="+mj-lt"/>
              </a:rPr>
              <a:t>Tarifas: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Establecimiento de normas comunes sobre asignación de costes, metodología de cálculo de tarifas, recuperación de costes y precio de salida en subastas</a:t>
            </a:r>
            <a:endParaRPr lang="es-ES" sz="1000" dirty="0">
              <a:solidFill>
                <a:srgbClr val="404040"/>
              </a:solidFill>
              <a:latin typeface="+mj-lt"/>
            </a:endParaRPr>
          </a:p>
        </p:txBody>
      </p:sp>
      <p:pic>
        <p:nvPicPr>
          <p:cNvPr id="31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32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32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5. El mercado mayorista y los</a:t>
            </a:r>
            <a:r>
              <a:rPr lang="es-ES_tradnl" sz="900" i="1" dirty="0" smtClean="0">
                <a:solidFill>
                  <a:srgbClr val="8A8A8D"/>
                </a:solidFill>
                <a:latin typeface="+mj-lt"/>
              </a:rPr>
              <a:t> hubs </a:t>
            </a: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de gas natural en Europ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cxnSp>
        <p:nvCxnSpPr>
          <p:cNvPr id="36" name="35 Conector recto"/>
          <p:cNvCxnSpPr/>
          <p:nvPr/>
        </p:nvCxnSpPr>
        <p:spPr>
          <a:xfrm>
            <a:off x="314404" y="5820122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122"/>
          <p:cNvSpPr>
            <a:spLocks noChangeAspect="1" noChangeArrowheads="1"/>
          </p:cNvSpPr>
          <p:nvPr/>
        </p:nvSpPr>
        <p:spPr bwMode="auto">
          <a:xfrm>
            <a:off x="1199703" y="580443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laboración propia]</a:t>
            </a:r>
          </a:p>
        </p:txBody>
      </p:sp>
      <p:sp>
        <p:nvSpPr>
          <p:cNvPr id="34" name="33 Rectángulo"/>
          <p:cNvSpPr/>
          <p:nvPr/>
        </p:nvSpPr>
        <p:spPr>
          <a:xfrm>
            <a:off x="281852" y="5579243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Proceso de aprobación de los Códigos de Red Europeos</a:t>
            </a:r>
          </a:p>
        </p:txBody>
      </p:sp>
      <p:grpSp>
        <p:nvGrpSpPr>
          <p:cNvPr id="38" name="37 Grupo"/>
          <p:cNvGrpSpPr/>
          <p:nvPr/>
        </p:nvGrpSpPr>
        <p:grpSpPr>
          <a:xfrm>
            <a:off x="395119" y="2572992"/>
            <a:ext cx="3922758" cy="2945063"/>
            <a:chOff x="3465591" y="1628800"/>
            <a:chExt cx="4490785" cy="3463240"/>
          </a:xfrm>
        </p:grpSpPr>
        <p:pic>
          <p:nvPicPr>
            <p:cNvPr id="39" name="38 Imagen"/>
            <p:cNvPicPr/>
            <p:nvPr/>
          </p:nvPicPr>
          <p:blipFill rotWithShape="1">
            <a:blip r:embed="rId5" cstate="print"/>
            <a:srcRect r="87952" b="76789"/>
            <a:stretch/>
          </p:blipFill>
          <p:spPr bwMode="auto">
            <a:xfrm>
              <a:off x="3527429" y="1628800"/>
              <a:ext cx="720080" cy="935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0" name="39 Imagen"/>
            <p:cNvPicPr/>
            <p:nvPr/>
          </p:nvPicPr>
          <p:blipFill rotWithShape="1">
            <a:blip r:embed="rId5" cstate="print"/>
            <a:srcRect t="28092" r="86981" b="61987"/>
            <a:stretch/>
          </p:blipFill>
          <p:spPr bwMode="auto">
            <a:xfrm>
              <a:off x="3465591" y="2696366"/>
              <a:ext cx="843756" cy="385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" name="40 Imagen"/>
            <p:cNvPicPr/>
            <p:nvPr/>
          </p:nvPicPr>
          <p:blipFill rotWithShape="1">
            <a:blip r:embed="rId5" cstate="print"/>
            <a:srcRect l="-2659" t="45543" r="88229" b="43809"/>
            <a:stretch/>
          </p:blipFill>
          <p:spPr bwMode="auto">
            <a:xfrm>
              <a:off x="3487419" y="3213739"/>
              <a:ext cx="800100" cy="4305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2" name="41 Imagen"/>
            <p:cNvPicPr/>
            <p:nvPr/>
          </p:nvPicPr>
          <p:blipFill rotWithShape="1">
            <a:blip r:embed="rId5" cstate="print"/>
            <a:srcRect r="87952" b="76789"/>
            <a:stretch/>
          </p:blipFill>
          <p:spPr bwMode="auto">
            <a:xfrm>
              <a:off x="3527429" y="4156060"/>
              <a:ext cx="720080" cy="9359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3" name="42 Imagen"/>
            <p:cNvPicPr/>
            <p:nvPr/>
          </p:nvPicPr>
          <p:blipFill rotWithShape="1">
            <a:blip r:embed="rId5" cstate="print"/>
            <a:srcRect t="28092" r="86981" b="61987"/>
            <a:stretch/>
          </p:blipFill>
          <p:spPr bwMode="auto">
            <a:xfrm>
              <a:off x="3465591" y="3775843"/>
              <a:ext cx="843756" cy="385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4" name="43 Flecha abajo"/>
            <p:cNvSpPr/>
            <p:nvPr/>
          </p:nvSpPr>
          <p:spPr>
            <a:xfrm>
              <a:off x="3747930" y="2540573"/>
              <a:ext cx="288000" cy="180000"/>
            </a:xfrm>
            <a:prstGeom prst="downArrow">
              <a:avLst/>
            </a:prstGeom>
            <a:solidFill>
              <a:srgbClr val="968C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45" name="44 Flecha abajo"/>
            <p:cNvSpPr/>
            <p:nvPr/>
          </p:nvSpPr>
          <p:spPr>
            <a:xfrm>
              <a:off x="3747930" y="3057946"/>
              <a:ext cx="288000" cy="180000"/>
            </a:xfrm>
            <a:prstGeom prst="downArrow">
              <a:avLst/>
            </a:prstGeom>
            <a:solidFill>
              <a:srgbClr val="968C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46" name="45 Flecha abajo"/>
            <p:cNvSpPr/>
            <p:nvPr/>
          </p:nvSpPr>
          <p:spPr>
            <a:xfrm>
              <a:off x="3747930" y="3620050"/>
              <a:ext cx="288000" cy="180000"/>
            </a:xfrm>
            <a:prstGeom prst="downArrow">
              <a:avLst/>
            </a:prstGeom>
            <a:solidFill>
              <a:srgbClr val="968C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47" name="46 Flecha abajo"/>
            <p:cNvSpPr/>
            <p:nvPr/>
          </p:nvSpPr>
          <p:spPr>
            <a:xfrm>
              <a:off x="3747930" y="4137423"/>
              <a:ext cx="288000" cy="180000"/>
            </a:xfrm>
            <a:prstGeom prst="downArrow">
              <a:avLst/>
            </a:prstGeom>
            <a:solidFill>
              <a:srgbClr val="968C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/>
            </a:p>
          </p:txBody>
        </p:sp>
        <p:sp>
          <p:nvSpPr>
            <p:cNvPr id="48" name="47 Cheurón"/>
            <p:cNvSpPr/>
            <p:nvPr/>
          </p:nvSpPr>
          <p:spPr>
            <a:xfrm rot="5400000">
              <a:off x="4287056" y="1854474"/>
              <a:ext cx="622472" cy="484632"/>
            </a:xfrm>
            <a:prstGeom prst="chevron">
              <a:avLst/>
            </a:prstGeom>
            <a:solidFill>
              <a:srgbClr val="0056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solidFill>
                  <a:schemeClr val="tx1"/>
                </a:solidFill>
              </a:endParaRPr>
            </a:p>
          </p:txBody>
        </p:sp>
        <p:sp>
          <p:nvSpPr>
            <p:cNvPr id="49" name="48 Cheurón"/>
            <p:cNvSpPr/>
            <p:nvPr/>
          </p:nvSpPr>
          <p:spPr>
            <a:xfrm rot="5400000">
              <a:off x="4287056" y="4444783"/>
              <a:ext cx="622472" cy="484632"/>
            </a:xfrm>
            <a:prstGeom prst="chevron">
              <a:avLst/>
            </a:prstGeom>
            <a:solidFill>
              <a:srgbClr val="0056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dirty="0">
                <a:solidFill>
                  <a:schemeClr val="tx1"/>
                </a:solidFill>
              </a:endParaRPr>
            </a:p>
          </p:txBody>
        </p:sp>
        <p:sp>
          <p:nvSpPr>
            <p:cNvPr id="50" name="49 Cheurón"/>
            <p:cNvSpPr/>
            <p:nvPr/>
          </p:nvSpPr>
          <p:spPr>
            <a:xfrm rot="5400000">
              <a:off x="4287056" y="3797205"/>
              <a:ext cx="622472" cy="484632"/>
            </a:xfrm>
            <a:prstGeom prst="chevron">
              <a:avLst/>
            </a:prstGeom>
            <a:solidFill>
              <a:srgbClr val="C4E76A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258067" tIns="40865" rIns="81738" bIns="40865" anchor="ctr"/>
            <a:lstStyle/>
            <a:p>
              <a:pPr algn="ctr" defTabSz="819158"/>
              <a:endParaRPr lang="es-ES" sz="1000" b="1" dirty="0">
                <a:solidFill>
                  <a:schemeClr val="tx1"/>
                </a:solidFill>
                <a:latin typeface="Pontano Sans"/>
                <a:ea typeface="Calibri"/>
                <a:cs typeface="Calibri"/>
              </a:endParaRPr>
            </a:p>
          </p:txBody>
        </p:sp>
        <p:sp>
          <p:nvSpPr>
            <p:cNvPr id="51" name="50 Cheurón"/>
            <p:cNvSpPr/>
            <p:nvPr/>
          </p:nvSpPr>
          <p:spPr>
            <a:xfrm rot="5400000">
              <a:off x="4287056" y="3149628"/>
              <a:ext cx="622472" cy="484632"/>
            </a:xfrm>
            <a:prstGeom prst="chevron">
              <a:avLst/>
            </a:prstGeom>
            <a:solidFill>
              <a:srgbClr val="B8E1DC"/>
            </a:solidFill>
            <a:ln w="3175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100" b="1" dirty="0">
                <a:solidFill>
                  <a:schemeClr val="tx1"/>
                </a:solidFill>
                <a:latin typeface="Pontano Sans"/>
                <a:ea typeface="Calibri"/>
                <a:cs typeface="Calibri"/>
              </a:endParaRPr>
            </a:p>
          </p:txBody>
        </p:sp>
        <p:sp>
          <p:nvSpPr>
            <p:cNvPr id="52" name="51 Cheurón"/>
            <p:cNvSpPr/>
            <p:nvPr/>
          </p:nvSpPr>
          <p:spPr>
            <a:xfrm rot="5400000">
              <a:off x="4287056" y="2502051"/>
              <a:ext cx="622472" cy="484632"/>
            </a:xfrm>
            <a:prstGeom prst="chevron">
              <a:avLst/>
            </a:prstGeom>
            <a:solidFill>
              <a:srgbClr val="C4E76A"/>
            </a:solidFill>
            <a:ln w="12700" algn="ctr">
              <a:noFill/>
              <a:miter lim="800000"/>
              <a:headEnd/>
              <a:tailEnd/>
            </a:ln>
            <a:effectLst/>
          </p:spPr>
          <p:txBody>
            <a:bodyPr wrap="none" lIns="258067" tIns="40865" rIns="81738" bIns="40865" anchor="ctr"/>
            <a:lstStyle/>
            <a:p>
              <a:pPr algn="ctr" defTabSz="819158"/>
              <a:endParaRPr lang="es-ES" sz="1000" b="1" dirty="0">
                <a:solidFill>
                  <a:schemeClr val="tx1"/>
                </a:solidFill>
                <a:latin typeface="Pontano Sans"/>
                <a:ea typeface="Calibri"/>
                <a:cs typeface="Calibri"/>
              </a:endParaRPr>
            </a:p>
          </p:txBody>
        </p:sp>
        <p:sp>
          <p:nvSpPr>
            <p:cNvPr id="53" name="52 Rectángulo"/>
            <p:cNvSpPr/>
            <p:nvPr/>
          </p:nvSpPr>
          <p:spPr>
            <a:xfrm>
              <a:off x="4840608" y="1785554"/>
              <a:ext cx="3115768" cy="396000"/>
            </a:xfrm>
            <a:prstGeom prst="rect">
              <a:avLst/>
            </a:prstGeom>
            <a:solidFill>
              <a:srgbClr val="0056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indent="-85725">
                <a:buFont typeface="Arial" panose="020B0604020202020204" pitchFamily="34" charset="0"/>
                <a:buChar char="•"/>
              </a:pPr>
              <a:r>
                <a:rPr lang="es-ES" sz="700" dirty="0" smtClean="0">
                  <a:solidFill>
                    <a:schemeClr val="bg1"/>
                  </a:solidFill>
                  <a:latin typeface="Pontano Sans" panose="020B0604020202020204" charset="0"/>
                </a:rPr>
                <a:t>Define las áreas prioritarias de desarrollo del Reglamento Europeo</a:t>
              </a:r>
              <a:endParaRPr lang="es-ES" sz="700" dirty="0">
                <a:solidFill>
                  <a:schemeClr val="bg1"/>
                </a:solidFill>
                <a:latin typeface="Pontano Sans" panose="020B0604020202020204" charset="0"/>
              </a:endParaRPr>
            </a:p>
          </p:txBody>
        </p:sp>
        <p:sp>
          <p:nvSpPr>
            <p:cNvPr id="56" name="55 Rectángulo"/>
            <p:cNvSpPr/>
            <p:nvPr/>
          </p:nvSpPr>
          <p:spPr>
            <a:xfrm>
              <a:off x="4840608" y="2433131"/>
              <a:ext cx="3115768" cy="396000"/>
            </a:xfrm>
            <a:prstGeom prst="rect">
              <a:avLst/>
            </a:prstGeom>
            <a:solidFill>
              <a:srgbClr val="C4E7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 indent="-85725">
                <a:buFont typeface="Arial" panose="020B0604020202020204" pitchFamily="34" charset="0"/>
                <a:buChar char="•"/>
              </a:pPr>
              <a:r>
                <a:rPr lang="es-ES" sz="700" dirty="0" smtClean="0">
                  <a:solidFill>
                    <a:srgbClr val="404040"/>
                  </a:solidFill>
                  <a:latin typeface="Pontano Sans" panose="020B0604020202020204" charset="0"/>
                </a:rPr>
                <a:t>Desarrolla las Framework </a:t>
              </a:r>
              <a:r>
                <a:rPr lang="es-ES" sz="700" dirty="0" smtClean="0">
                  <a:solidFill>
                    <a:srgbClr val="404040"/>
                  </a:solidFill>
                  <a:latin typeface="Pontano Sans" panose="020B0604020202020204" charset="0"/>
                </a:rPr>
                <a:t>Guidelines</a:t>
              </a:r>
              <a:r>
                <a:rPr lang="es-ES" sz="700" dirty="0" smtClean="0">
                  <a:solidFill>
                    <a:srgbClr val="404040"/>
                  </a:solidFill>
                  <a:latin typeface="Pontano Sans" panose="020B0604020202020204" charset="0"/>
                </a:rPr>
                <a:t> (FG) y las remite a la Comisión (6 meses)</a:t>
              </a:r>
              <a:endParaRPr lang="es-ES" sz="700" dirty="0">
                <a:solidFill>
                  <a:srgbClr val="404040"/>
                </a:solidFill>
                <a:latin typeface="Pontano Sans" panose="020B0604020202020204" charset="0"/>
              </a:endParaRPr>
            </a:p>
          </p:txBody>
        </p:sp>
        <p:sp>
          <p:nvSpPr>
            <p:cNvPr id="57" name="56 Rectángulo"/>
            <p:cNvSpPr/>
            <p:nvPr/>
          </p:nvSpPr>
          <p:spPr>
            <a:xfrm>
              <a:off x="4840608" y="3082153"/>
              <a:ext cx="3115768" cy="396000"/>
            </a:xfrm>
            <a:prstGeom prst="rect">
              <a:avLst/>
            </a:prstGeom>
            <a:solidFill>
              <a:srgbClr val="B8E1DC"/>
            </a:solidFill>
            <a:ln w="3175">
              <a:noFill/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indent="-85725">
                <a:buFont typeface="Arial" panose="020B0604020202020204" pitchFamily="34" charset="0"/>
                <a:buChar char="•"/>
              </a:pPr>
              <a:r>
                <a:rPr lang="es-ES" sz="700" dirty="0" smtClean="0">
                  <a:solidFill>
                    <a:srgbClr val="404040"/>
                  </a:solidFill>
                  <a:latin typeface="Pontano Sans" panose="020B0604020202020204" charset="0"/>
                </a:rPr>
                <a:t>Desarrolla el Network </a:t>
              </a:r>
              <a:r>
                <a:rPr lang="es-ES" sz="700" dirty="0" smtClean="0">
                  <a:solidFill>
                    <a:srgbClr val="404040"/>
                  </a:solidFill>
                  <a:latin typeface="Pontano Sans" panose="020B0604020202020204" charset="0"/>
                </a:rPr>
                <a:t>Code</a:t>
              </a:r>
              <a:r>
                <a:rPr lang="es-ES" sz="700" dirty="0" smtClean="0">
                  <a:solidFill>
                    <a:srgbClr val="404040"/>
                  </a:solidFill>
                  <a:latin typeface="Pontano Sans" panose="020B0604020202020204" charset="0"/>
                </a:rPr>
                <a:t> (NC) (12 meses)</a:t>
              </a:r>
              <a:endParaRPr lang="es-ES" sz="700" dirty="0">
                <a:solidFill>
                  <a:srgbClr val="404040"/>
                </a:solidFill>
                <a:latin typeface="Pontano Sans" panose="020B0604020202020204" charset="0"/>
              </a:endParaRPr>
            </a:p>
          </p:txBody>
        </p:sp>
        <p:sp>
          <p:nvSpPr>
            <p:cNvPr id="58" name="57 Rectángulo"/>
            <p:cNvSpPr/>
            <p:nvPr/>
          </p:nvSpPr>
          <p:spPr>
            <a:xfrm>
              <a:off x="4840608" y="3741423"/>
              <a:ext cx="3115768" cy="396000"/>
            </a:xfrm>
            <a:prstGeom prst="rect">
              <a:avLst/>
            </a:prstGeom>
            <a:solidFill>
              <a:srgbClr val="C4E7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 indent="-85725">
                <a:buFont typeface="Arial" panose="020B0604020202020204" pitchFamily="34" charset="0"/>
                <a:buChar char="•"/>
              </a:pPr>
              <a:r>
                <a:rPr lang="es-ES" sz="700" dirty="0" smtClean="0">
                  <a:solidFill>
                    <a:srgbClr val="404040"/>
                  </a:solidFill>
                  <a:latin typeface="Pontano Sans" panose="020B0604020202020204" charset="0"/>
                </a:rPr>
                <a:t>Comprueba la adecuación del NC con las FG (3 meses)</a:t>
              </a:r>
            </a:p>
            <a:p>
              <a:pPr marL="85725" indent="-85725">
                <a:buFont typeface="Arial" panose="020B0604020202020204" pitchFamily="34" charset="0"/>
                <a:buChar char="•"/>
              </a:pPr>
              <a:r>
                <a:rPr lang="es-ES" sz="700" dirty="0" smtClean="0">
                  <a:solidFill>
                    <a:srgbClr val="404040"/>
                  </a:solidFill>
                  <a:latin typeface="Pontano Sans" panose="020B0604020202020204" charset="0"/>
                </a:rPr>
                <a:t>Recomienda a la Comisión la adopción del NC</a:t>
              </a:r>
              <a:endParaRPr lang="es-ES" sz="700" dirty="0">
                <a:solidFill>
                  <a:srgbClr val="404040"/>
                </a:solidFill>
                <a:latin typeface="Pontano Sans" panose="020B0604020202020204" charset="0"/>
              </a:endParaRPr>
            </a:p>
          </p:txBody>
        </p:sp>
        <p:sp>
          <p:nvSpPr>
            <p:cNvPr id="59" name="58 Rectángulo"/>
            <p:cNvSpPr/>
            <p:nvPr/>
          </p:nvSpPr>
          <p:spPr>
            <a:xfrm>
              <a:off x="4840608" y="4375863"/>
              <a:ext cx="3115768" cy="396000"/>
            </a:xfrm>
            <a:prstGeom prst="rect">
              <a:avLst/>
            </a:prstGeom>
            <a:solidFill>
              <a:srgbClr val="00567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85725" lvl="0" indent="-85725">
                <a:buFont typeface="Arial" panose="020B0604020202020204" pitchFamily="34" charset="0"/>
                <a:buChar char="•"/>
              </a:pPr>
              <a:r>
                <a:rPr lang="es-ES" sz="700" dirty="0" smtClean="0">
                  <a:solidFill>
                    <a:prstClr val="white"/>
                  </a:solidFill>
                  <a:latin typeface="Pontano Sans" panose="020B0604020202020204" charset="0"/>
                </a:rPr>
                <a:t>Remite el Network </a:t>
              </a:r>
              <a:r>
                <a:rPr lang="es-ES" sz="700" dirty="0" smtClean="0">
                  <a:solidFill>
                    <a:prstClr val="white"/>
                  </a:solidFill>
                  <a:latin typeface="Pontano Sans" panose="020B0604020202020204" charset="0"/>
                </a:rPr>
                <a:t>Code</a:t>
              </a:r>
              <a:r>
                <a:rPr lang="es-ES" sz="700" dirty="0" smtClean="0">
                  <a:solidFill>
                    <a:prstClr val="white"/>
                  </a:solidFill>
                  <a:latin typeface="Pontano Sans" panose="020B0604020202020204" charset="0"/>
                </a:rPr>
                <a:t> a </a:t>
              </a:r>
              <a:r>
                <a:rPr lang="es-ES" sz="700" dirty="0" smtClean="0">
                  <a:solidFill>
                    <a:prstClr val="white"/>
                  </a:solidFill>
                  <a:latin typeface="Pontano Sans" panose="020B0604020202020204" charset="0"/>
                </a:rPr>
                <a:t>Comitología</a:t>
              </a:r>
              <a:r>
                <a:rPr lang="es-ES" sz="700" dirty="0" smtClean="0">
                  <a:solidFill>
                    <a:prstClr val="white"/>
                  </a:solidFill>
                  <a:latin typeface="Pontano Sans" panose="020B0604020202020204" charset="0"/>
                </a:rPr>
                <a:t> (Estados miembro)</a:t>
              </a:r>
            </a:p>
            <a:p>
              <a:pPr marL="85725" lvl="0" indent="-85725">
                <a:buFont typeface="Arial" panose="020B0604020202020204" pitchFamily="34" charset="0"/>
                <a:buChar char="•"/>
              </a:pPr>
              <a:r>
                <a:rPr lang="es-ES" sz="700" dirty="0" smtClean="0">
                  <a:solidFill>
                    <a:prstClr val="white"/>
                  </a:solidFill>
                  <a:latin typeface="Pontano Sans" panose="020B0604020202020204" charset="0"/>
                </a:rPr>
                <a:t>Aprueba mediante Decisión de la Comisión la modificación del Reglamento que se convierte en vinculante</a:t>
              </a:r>
              <a:endParaRPr lang="es-ES" sz="700" dirty="0">
                <a:solidFill>
                  <a:prstClr val="white"/>
                </a:solidFill>
                <a:latin typeface="Pontano Sans" panose="020B060402020202020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2488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pic>
        <p:nvPicPr>
          <p:cNvPr id="73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4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67 Título"/>
          <p:cNvSpPr>
            <a:spLocks noGrp="1"/>
          </p:cNvSpPr>
          <p:nvPr>
            <p:ph type="title"/>
          </p:nvPr>
        </p:nvSpPr>
        <p:spPr>
          <a:xfrm>
            <a:off x="500034" y="980728"/>
            <a:ext cx="8077200" cy="1071570"/>
          </a:xfrm>
        </p:spPr>
        <p:txBody>
          <a:bodyPr>
            <a:normAutofit/>
          </a:bodyPr>
          <a:lstStyle/>
          <a:p>
            <a:r>
              <a:rPr lang="es-ES" sz="2800" dirty="0">
                <a:solidFill>
                  <a:srgbClr val="00567C"/>
                </a:solidFill>
              </a:rPr>
              <a:t>6</a:t>
            </a:r>
            <a:r>
              <a:rPr lang="es-ES" sz="2800" dirty="0" smtClean="0">
                <a:solidFill>
                  <a:srgbClr val="00567C"/>
                </a:solidFill>
              </a:rPr>
              <a:t>. </a:t>
            </a:r>
            <a:r>
              <a:rPr lang="es-ES" sz="2800" dirty="0">
                <a:solidFill>
                  <a:srgbClr val="00567C"/>
                </a:solidFill>
              </a:rPr>
              <a:t>Peajes de acceso y déficit tarifario de gas natural</a:t>
            </a:r>
          </a:p>
        </p:txBody>
      </p:sp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>
          <a:xfrm>
            <a:off x="285720" y="206084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92 Rectángulo"/>
          <p:cNvSpPr/>
          <p:nvPr/>
        </p:nvSpPr>
        <p:spPr>
          <a:xfrm>
            <a:off x="285720" y="2449958"/>
            <a:ext cx="8501122" cy="306727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95" name="94 CuadroTexto"/>
          <p:cNvSpPr txBox="1"/>
          <p:nvPr/>
        </p:nvSpPr>
        <p:spPr>
          <a:xfrm>
            <a:off x="267575" y="2475761"/>
            <a:ext cx="8568952" cy="3185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Los peajes de acceso son únicos en todo el territorio español y con ellos se financia el conjunto de actividades reguladas</a:t>
            </a: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El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déficit tarifario en el sector gasista se ha originado por una evolución desacompasada entre los costes del sistema gasista derivada de la planificación vinculante y la evolución de la demanda en un entorno afectado por la situación económica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desfavorable</a:t>
            </a:r>
            <a:endParaRPr lang="es-ES" sz="1400" b="1" dirty="0">
              <a:solidFill>
                <a:srgbClr val="404040"/>
              </a:solidFill>
              <a:latin typeface="+mj-lt"/>
            </a:endParaRP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La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solución planteada al problema del déficit tarifario en el sector gasista en España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se ha centrado en la contención de costes  y la paralización de aquellas inversiones que no sean absolutamente imprescindibles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y varios ajustes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retributivos, encaminados todos ellos a asegurar la competitividad del gas natural como combustible</a:t>
            </a: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>
                <a:solidFill>
                  <a:srgbClr val="404040"/>
                </a:solidFill>
                <a:latin typeface="+mj-lt"/>
              </a:rPr>
              <a:t>Para garantizar un sistema económicamente sostenible y que ofrezca menores costes a los consumidores, se han introducido mecanismos que permitan velar por su sostenibilidad financiera, modificando la retribución de las actividades reguladas</a:t>
            </a:r>
          </a:p>
          <a:p>
            <a:pPr marL="177800" lvl="1" indent="-95250">
              <a:spcAft>
                <a:spcPts val="600"/>
              </a:spcAft>
              <a:buFont typeface="Arial" pitchFamily="34" charset="0"/>
              <a:buChar char="•"/>
            </a:pPr>
            <a:endParaRPr lang="es-ES_tradnl" sz="1300" dirty="0" smtClean="0">
              <a:solidFill>
                <a:srgbClr val="00567C"/>
              </a:solidFill>
              <a:latin typeface="+mj-lt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4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8" name="17 CuadroTexto"/>
          <p:cNvSpPr txBox="1"/>
          <p:nvPr>
            <p:custDataLst>
              <p:tags r:id="rId2"/>
            </p:custDataLst>
          </p:nvPr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6. Peajes de acceso y déficit tarifario de gas natural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09108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44016" y="1052736"/>
            <a:ext cx="8892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Los peajes de acceso son únicos en todo el territorio español y con ellos se financia el conjunto de actividades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reguladas</a:t>
            </a:r>
            <a:endParaRPr lang="es-ES" sz="1600" dirty="0">
              <a:solidFill>
                <a:srgbClr val="40404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5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62" name="161 Conector recto"/>
          <p:cNvCxnSpPr/>
          <p:nvPr/>
        </p:nvCxnSpPr>
        <p:spPr>
          <a:xfrm>
            <a:off x="323410" y="1666900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12 CuadroTexto"/>
          <p:cNvSpPr txBox="1"/>
          <p:nvPr/>
        </p:nvSpPr>
        <p:spPr>
          <a:xfrm>
            <a:off x="2915816" y="1823740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5" name="14 CuadroTexto"/>
          <p:cNvSpPr txBox="1"/>
          <p:nvPr/>
        </p:nvSpPr>
        <p:spPr>
          <a:xfrm>
            <a:off x="3235696" y="1823740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6" name="15 CuadroTexto"/>
          <p:cNvSpPr txBox="1"/>
          <p:nvPr/>
        </p:nvSpPr>
        <p:spPr>
          <a:xfrm>
            <a:off x="3705844" y="1823740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28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28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6. Peajes de acceso y déficit tarifario de gas natural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31" name="Line 58"/>
          <p:cNvSpPr>
            <a:spLocks noChangeShapeType="1"/>
          </p:cNvSpPr>
          <p:nvPr/>
        </p:nvSpPr>
        <p:spPr bwMode="auto">
          <a:xfrm>
            <a:off x="5772949" y="2920713"/>
            <a:ext cx="2658717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41" name="Line 59"/>
          <p:cNvSpPr>
            <a:spLocks noChangeShapeType="1"/>
          </p:cNvSpPr>
          <p:nvPr/>
        </p:nvSpPr>
        <p:spPr bwMode="auto">
          <a:xfrm>
            <a:off x="5772949" y="3735429"/>
            <a:ext cx="2658717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42" name="Line 60"/>
          <p:cNvSpPr>
            <a:spLocks noChangeShapeType="1"/>
          </p:cNvSpPr>
          <p:nvPr/>
        </p:nvSpPr>
        <p:spPr bwMode="auto">
          <a:xfrm>
            <a:off x="5772949" y="5711250"/>
            <a:ext cx="2658717" cy="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43" name="Rectangle 44"/>
          <p:cNvSpPr>
            <a:spLocks noChangeArrowheads="1"/>
          </p:cNvSpPr>
          <p:nvPr/>
        </p:nvSpPr>
        <p:spPr bwMode="auto">
          <a:xfrm>
            <a:off x="5771538" y="1845187"/>
            <a:ext cx="2660128" cy="4164216"/>
          </a:xfrm>
          <a:prstGeom prst="rect">
            <a:avLst/>
          </a:prstGeom>
          <a:noFill/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20000"/>
              </a:spcAft>
            </a:pPr>
            <a:r>
              <a:rPr lang="es-ES_tradnl" sz="800" dirty="0">
                <a:solidFill>
                  <a:srgbClr val="4A871D"/>
                </a:solidFill>
                <a:latin typeface="+mj-lt"/>
              </a:rPr>
              <a:t>DESCARGA de buques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Buque descargado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kWh descargados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endParaRPr lang="es-ES_tradnl" sz="300" dirty="0">
              <a:solidFill>
                <a:srgbClr val="000000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20000"/>
              </a:spcAft>
            </a:pPr>
            <a:r>
              <a:rPr lang="es-ES_tradnl" sz="800" dirty="0">
                <a:solidFill>
                  <a:srgbClr val="4A871D"/>
                </a:solidFill>
                <a:latin typeface="+mj-lt"/>
              </a:rPr>
              <a:t>Peaje REGASIFICACIÓN</a:t>
            </a:r>
            <a:endParaRPr lang="es-ES_tradnl" sz="800" dirty="0">
              <a:solidFill>
                <a:srgbClr val="000000"/>
              </a:solidFill>
              <a:latin typeface="+mj-lt"/>
            </a:endParaRP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Caudal máximo nominado (*)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kWh regasificados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endParaRPr lang="es-ES_tradnl" sz="300" dirty="0">
              <a:solidFill>
                <a:srgbClr val="000000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20000"/>
              </a:spcAft>
            </a:pPr>
            <a:r>
              <a:rPr lang="es-ES_tradnl" sz="800" dirty="0">
                <a:solidFill>
                  <a:srgbClr val="4A871D"/>
                </a:solidFill>
                <a:latin typeface="+mj-lt"/>
              </a:rPr>
              <a:t>Canon ALMACEN GNL</a:t>
            </a:r>
            <a:endParaRPr lang="es-ES_tradnl" sz="800" dirty="0">
              <a:solidFill>
                <a:srgbClr val="000000"/>
              </a:solidFill>
              <a:latin typeface="+mj-lt"/>
            </a:endParaRP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Volumen GNL almacenado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endParaRPr lang="es-ES_tradnl" sz="300" dirty="0">
              <a:solidFill>
                <a:srgbClr val="000000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20000"/>
              </a:spcAft>
            </a:pPr>
            <a:r>
              <a:rPr lang="es-ES_tradnl" sz="800" dirty="0">
                <a:solidFill>
                  <a:srgbClr val="4A871D"/>
                </a:solidFill>
                <a:latin typeface="+mj-lt"/>
              </a:rPr>
              <a:t>Canon ALMACEN SUBTERRÁNEO</a:t>
            </a:r>
            <a:endParaRPr lang="es-ES_tradnl" sz="800" dirty="0">
              <a:solidFill>
                <a:srgbClr val="000000"/>
              </a:solidFill>
              <a:latin typeface="+mj-lt"/>
            </a:endParaRP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Capacidad contratada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kWh inyectados o extraídos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endParaRPr lang="es-ES_tradnl" sz="300" dirty="0">
              <a:solidFill>
                <a:srgbClr val="000000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20000"/>
              </a:spcAft>
            </a:pPr>
            <a:r>
              <a:rPr lang="es-ES_tradnl" sz="800" dirty="0">
                <a:solidFill>
                  <a:srgbClr val="4A871D"/>
                </a:solidFill>
                <a:latin typeface="+mj-lt"/>
              </a:rPr>
              <a:t>Peaje T&amp;D (Término </a:t>
            </a:r>
            <a:r>
              <a:rPr lang="es-ES_tradnl" sz="800" dirty="0">
                <a:solidFill>
                  <a:srgbClr val="4A871D"/>
                </a:solidFill>
                <a:latin typeface="+mj-lt"/>
              </a:rPr>
              <a:t>Trc</a:t>
            </a:r>
            <a:r>
              <a:rPr lang="es-ES_tradnl" sz="800" dirty="0">
                <a:solidFill>
                  <a:srgbClr val="4A871D"/>
                </a:solidFill>
                <a:latin typeface="+mj-lt"/>
              </a:rPr>
              <a:t>: Reserva capacidad)</a:t>
            </a:r>
            <a:endParaRPr lang="es-ES_tradnl" sz="800" dirty="0">
              <a:solidFill>
                <a:srgbClr val="000000"/>
              </a:solidFill>
              <a:latin typeface="+mj-lt"/>
            </a:endParaRP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Caudal máximo nominado (*)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endParaRPr lang="es-ES_tradnl" sz="300" dirty="0">
              <a:solidFill>
                <a:srgbClr val="000000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20000"/>
              </a:spcAft>
            </a:pPr>
            <a:r>
              <a:rPr lang="es-ES_tradnl" sz="800" dirty="0">
                <a:solidFill>
                  <a:srgbClr val="4A871D"/>
                </a:solidFill>
                <a:latin typeface="+mj-lt"/>
              </a:rPr>
              <a:t>Peaje T&amp;D (Término Tc: Conducción)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</a:pPr>
            <a:r>
              <a:rPr lang="es-ES_tradnl" sz="800" u="sng" dirty="0">
                <a:solidFill>
                  <a:srgbClr val="000000"/>
                </a:solidFill>
                <a:latin typeface="+mj-lt"/>
              </a:rPr>
              <a:t>Grupo 1 y Grupo 2 con telemedida</a:t>
            </a:r>
            <a:endParaRPr lang="es-ES_tradnl" sz="800" dirty="0">
              <a:solidFill>
                <a:srgbClr val="000000"/>
              </a:solidFill>
              <a:latin typeface="+mj-lt"/>
            </a:endParaRP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Caudal máximo medido (*)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kWh consumidos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endParaRPr lang="es-ES_tradnl" sz="300" dirty="0">
              <a:solidFill>
                <a:srgbClr val="000000"/>
              </a:solidFill>
              <a:latin typeface="+mj-lt"/>
            </a:endParaRP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</a:pPr>
            <a:r>
              <a:rPr lang="es-ES_tradnl" sz="800" u="sng" dirty="0">
                <a:solidFill>
                  <a:srgbClr val="000000"/>
                </a:solidFill>
                <a:latin typeface="+mj-lt"/>
              </a:rPr>
              <a:t>Grupo 2 sin telemedida</a:t>
            </a:r>
            <a:endParaRPr lang="es-ES_tradnl" sz="800" dirty="0">
              <a:solidFill>
                <a:srgbClr val="000000"/>
              </a:solidFill>
              <a:latin typeface="+mj-lt"/>
            </a:endParaRP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Caudal contratado o medio mes si es mayor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kWh consumidos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endParaRPr lang="es-ES_tradnl" sz="300" dirty="0">
              <a:solidFill>
                <a:srgbClr val="000000"/>
              </a:solidFill>
              <a:latin typeface="+mj-lt"/>
            </a:endParaRP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</a:pPr>
            <a:r>
              <a:rPr lang="es-ES_tradnl" sz="800" u="sng" dirty="0">
                <a:solidFill>
                  <a:srgbClr val="000000"/>
                </a:solidFill>
                <a:latin typeface="+mj-lt"/>
              </a:rPr>
              <a:t>Grupo 3</a:t>
            </a:r>
            <a:endParaRPr lang="es-ES_tradnl" sz="800" dirty="0">
              <a:solidFill>
                <a:srgbClr val="000000"/>
              </a:solidFill>
              <a:latin typeface="+mj-lt"/>
            </a:endParaRP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Fijo por cliente</a:t>
            </a: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kWh consumidos</a:t>
            </a:r>
            <a:endParaRPr lang="es-ES_tradnl" sz="800" b="1" dirty="0">
              <a:solidFill>
                <a:srgbClr val="000000"/>
              </a:solidFill>
              <a:latin typeface="+mj-lt"/>
            </a:endParaRPr>
          </a:p>
          <a:p>
            <a:pPr marL="282575" lvl="1" indent="-92075" eaLnBrk="0" fontAlgn="base" hangingPunct="0"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endParaRPr lang="es-ES_tradnl" sz="300" b="1" dirty="0">
              <a:solidFill>
                <a:srgbClr val="000000"/>
              </a:solidFill>
              <a:latin typeface="+mj-lt"/>
            </a:endParaRPr>
          </a:p>
          <a:p>
            <a:pPr eaLnBrk="0" fontAlgn="base" hangingPunct="0">
              <a:spcBef>
                <a:spcPct val="0"/>
              </a:spcBef>
              <a:spcAft>
                <a:spcPct val="20000"/>
              </a:spcAft>
            </a:pPr>
            <a:r>
              <a:rPr lang="es-ES_tradnl" sz="800" dirty="0">
                <a:solidFill>
                  <a:srgbClr val="000000"/>
                </a:solidFill>
                <a:latin typeface="+mj-lt"/>
              </a:rPr>
              <a:t>(*) </a:t>
            </a:r>
            <a:r>
              <a:rPr lang="es-ES_tradnl" sz="800" dirty="0">
                <a:solidFill>
                  <a:srgbClr val="000000"/>
                </a:solidFill>
                <a:latin typeface="+mj-lt"/>
              </a:rPr>
              <a:t>Mín</a:t>
            </a:r>
            <a:r>
              <a:rPr lang="es-ES_tradnl" sz="800" dirty="0">
                <a:solidFill>
                  <a:srgbClr val="000000"/>
                </a:solidFill>
                <a:latin typeface="+mj-lt"/>
              </a:rPr>
              <a:t> 85% contratado, &gt; 105% penalizado.</a:t>
            </a:r>
            <a:endParaRPr lang="es-ES_tradnl" sz="8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44" name="Rectangle 3"/>
          <p:cNvSpPr>
            <a:spLocks noChangeArrowheads="1"/>
          </p:cNvSpPr>
          <p:nvPr/>
        </p:nvSpPr>
        <p:spPr bwMode="auto">
          <a:xfrm>
            <a:off x="3319720" y="1908791"/>
            <a:ext cx="1127387" cy="1387763"/>
          </a:xfrm>
          <a:prstGeom prst="rect">
            <a:avLst/>
          </a:prstGeom>
          <a:solidFill>
            <a:srgbClr val="DDDDDD"/>
          </a:solidFill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45" name="Rectangle 4"/>
          <p:cNvSpPr>
            <a:spLocks noChangeArrowheads="1"/>
          </p:cNvSpPr>
          <p:nvPr/>
        </p:nvSpPr>
        <p:spPr bwMode="auto">
          <a:xfrm>
            <a:off x="1943211" y="1908791"/>
            <a:ext cx="1127387" cy="1387763"/>
          </a:xfrm>
          <a:prstGeom prst="rect">
            <a:avLst/>
          </a:prstGeom>
          <a:solidFill>
            <a:srgbClr val="DDDDDD"/>
          </a:solidFill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46" name="Rectangle 6"/>
          <p:cNvSpPr>
            <a:spLocks noChangeArrowheads="1"/>
          </p:cNvSpPr>
          <p:nvPr/>
        </p:nvSpPr>
        <p:spPr bwMode="auto">
          <a:xfrm>
            <a:off x="3720851" y="2617113"/>
            <a:ext cx="337793" cy="46212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47" name="Oval 7"/>
          <p:cNvSpPr>
            <a:spLocks noChangeArrowheads="1"/>
          </p:cNvSpPr>
          <p:nvPr/>
        </p:nvSpPr>
        <p:spPr bwMode="auto">
          <a:xfrm>
            <a:off x="3720851" y="2719808"/>
            <a:ext cx="337793" cy="359434"/>
          </a:xfrm>
          <a:prstGeom prst="ellipse">
            <a:avLst/>
          </a:prstGeom>
          <a:solidFill>
            <a:srgbClr val="A2D68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48" name="Rectangle 8"/>
          <p:cNvSpPr>
            <a:spLocks noChangeArrowheads="1"/>
          </p:cNvSpPr>
          <p:nvPr/>
        </p:nvSpPr>
        <p:spPr bwMode="auto">
          <a:xfrm>
            <a:off x="3720851" y="2925199"/>
            <a:ext cx="337793" cy="154043"/>
          </a:xfrm>
          <a:prstGeom prst="rect">
            <a:avLst/>
          </a:prstGeom>
          <a:solidFill>
            <a:srgbClr val="A2D683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49" name="AutoShape 9"/>
          <p:cNvSpPr>
            <a:spLocks noChangeArrowheads="1"/>
          </p:cNvSpPr>
          <p:nvPr/>
        </p:nvSpPr>
        <p:spPr bwMode="auto">
          <a:xfrm>
            <a:off x="1011465" y="2387424"/>
            <a:ext cx="202676" cy="807350"/>
          </a:xfrm>
          <a:prstGeom prst="can">
            <a:avLst>
              <a:gd name="adj" fmla="val 27006"/>
            </a:avLst>
          </a:prstGeom>
          <a:solidFill>
            <a:srgbClr val="00487E"/>
          </a:solidFill>
          <a:ln w="9525" cap="rnd">
            <a:noFill/>
            <a:prstDash val="sysDot"/>
            <a:round/>
            <a:headEnd/>
            <a:tailEnd/>
          </a:ln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000" dirty="0">
              <a:solidFill>
                <a:srgbClr val="4A871D"/>
              </a:solidFill>
              <a:latin typeface="+mj-lt"/>
            </a:endParaRPr>
          </a:p>
        </p:txBody>
      </p:sp>
      <p:sp>
        <p:nvSpPr>
          <p:cNvPr id="50" name="AutoShape 10"/>
          <p:cNvSpPr>
            <a:spLocks noChangeArrowheads="1"/>
          </p:cNvSpPr>
          <p:nvPr/>
        </p:nvSpPr>
        <p:spPr bwMode="auto">
          <a:xfrm>
            <a:off x="2093811" y="2732645"/>
            <a:ext cx="337793" cy="462129"/>
          </a:xfrm>
          <a:prstGeom prst="can">
            <a:avLst>
              <a:gd name="adj" fmla="val 35000"/>
            </a:avLst>
          </a:prstGeom>
          <a:solidFill>
            <a:srgbClr val="A2D683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grpSp>
        <p:nvGrpSpPr>
          <p:cNvPr id="51" name="50 Grupo"/>
          <p:cNvGrpSpPr/>
          <p:nvPr/>
        </p:nvGrpSpPr>
        <p:grpSpPr>
          <a:xfrm>
            <a:off x="2121962" y="2395676"/>
            <a:ext cx="768481" cy="200806"/>
            <a:chOff x="2126275" y="2090738"/>
            <a:chExt cx="800100" cy="231775"/>
          </a:xfrm>
          <a:solidFill>
            <a:srgbClr val="00487E"/>
          </a:solidFill>
        </p:grpSpPr>
        <p:sp>
          <p:nvSpPr>
            <p:cNvPr id="95" name="Arc 12"/>
            <p:cNvSpPr>
              <a:spLocks/>
            </p:cNvSpPr>
            <p:nvPr/>
          </p:nvSpPr>
          <p:spPr bwMode="auto">
            <a:xfrm>
              <a:off x="2204716" y="2108067"/>
              <a:ext cx="184337" cy="123469"/>
            </a:xfrm>
            <a:custGeom>
              <a:avLst/>
              <a:gdLst>
                <a:gd name="T0" fmla="*/ 0 w 43200"/>
                <a:gd name="T1" fmla="*/ 0 h 22430"/>
                <a:gd name="T2" fmla="*/ 0 w 43200"/>
                <a:gd name="T3" fmla="*/ 0 h 22430"/>
                <a:gd name="T4" fmla="*/ 0 w 43200"/>
                <a:gd name="T5" fmla="*/ 0 h 22430"/>
                <a:gd name="T6" fmla="*/ 0 60000 65536"/>
                <a:gd name="T7" fmla="*/ 0 60000 65536"/>
                <a:gd name="T8" fmla="*/ 0 60000 65536"/>
                <a:gd name="T9" fmla="*/ 0 w 43200"/>
                <a:gd name="T10" fmla="*/ 0 h 22430"/>
                <a:gd name="T11" fmla="*/ 43200 w 43200"/>
                <a:gd name="T12" fmla="*/ 22430 h 224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22430" fill="none" extrusionOk="0">
                  <a:moveTo>
                    <a:pt x="15" y="22430"/>
                  </a:moveTo>
                  <a:cubicBezTo>
                    <a:pt x="5" y="22153"/>
                    <a:pt x="0" y="2187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21616"/>
                    <a:pt x="43199" y="21633"/>
                    <a:pt x="43199" y="21649"/>
                  </a:cubicBezTo>
                </a:path>
                <a:path w="43200" h="22430" stroke="0" extrusionOk="0">
                  <a:moveTo>
                    <a:pt x="15" y="22430"/>
                  </a:moveTo>
                  <a:cubicBezTo>
                    <a:pt x="5" y="22153"/>
                    <a:pt x="0" y="2187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21616"/>
                    <a:pt x="43199" y="21633"/>
                    <a:pt x="43199" y="21649"/>
                  </a:cubicBezTo>
                  <a:lnTo>
                    <a:pt x="21600" y="21600"/>
                  </a:lnTo>
                  <a:close/>
                </a:path>
              </a:pathLst>
            </a:custGeom>
            <a:grpFill/>
            <a:ln w="9525" cap="rnd">
              <a:noFill/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800" dirty="0">
                <a:solidFill>
                  <a:srgbClr val="447D1B"/>
                </a:solidFill>
                <a:latin typeface="+mj-lt"/>
              </a:endParaRPr>
            </a:p>
          </p:txBody>
        </p:sp>
        <p:sp>
          <p:nvSpPr>
            <p:cNvPr id="97" name="Arc 13"/>
            <p:cNvSpPr>
              <a:spLocks/>
            </p:cNvSpPr>
            <p:nvPr/>
          </p:nvSpPr>
          <p:spPr bwMode="auto">
            <a:xfrm>
              <a:off x="2392975" y="2108067"/>
              <a:ext cx="184337" cy="123469"/>
            </a:xfrm>
            <a:custGeom>
              <a:avLst/>
              <a:gdLst>
                <a:gd name="T0" fmla="*/ 0 w 43200"/>
                <a:gd name="T1" fmla="*/ 0 h 22430"/>
                <a:gd name="T2" fmla="*/ 0 w 43200"/>
                <a:gd name="T3" fmla="*/ 0 h 22430"/>
                <a:gd name="T4" fmla="*/ 0 w 43200"/>
                <a:gd name="T5" fmla="*/ 0 h 22430"/>
                <a:gd name="T6" fmla="*/ 0 60000 65536"/>
                <a:gd name="T7" fmla="*/ 0 60000 65536"/>
                <a:gd name="T8" fmla="*/ 0 60000 65536"/>
                <a:gd name="T9" fmla="*/ 0 w 43200"/>
                <a:gd name="T10" fmla="*/ 0 h 22430"/>
                <a:gd name="T11" fmla="*/ 43200 w 43200"/>
                <a:gd name="T12" fmla="*/ 22430 h 224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22430" fill="none" extrusionOk="0">
                  <a:moveTo>
                    <a:pt x="15" y="22430"/>
                  </a:moveTo>
                  <a:cubicBezTo>
                    <a:pt x="5" y="22153"/>
                    <a:pt x="0" y="2187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21616"/>
                    <a:pt x="43199" y="21633"/>
                    <a:pt x="43199" y="21649"/>
                  </a:cubicBezTo>
                </a:path>
                <a:path w="43200" h="22430" stroke="0" extrusionOk="0">
                  <a:moveTo>
                    <a:pt x="15" y="22430"/>
                  </a:moveTo>
                  <a:cubicBezTo>
                    <a:pt x="5" y="22153"/>
                    <a:pt x="0" y="2187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21616"/>
                    <a:pt x="43199" y="21633"/>
                    <a:pt x="43199" y="21649"/>
                  </a:cubicBezTo>
                  <a:lnTo>
                    <a:pt x="21600" y="21600"/>
                  </a:lnTo>
                  <a:close/>
                </a:path>
              </a:pathLst>
            </a:custGeom>
            <a:grpFill/>
            <a:ln w="9525" cap="rnd">
              <a:noFill/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800" dirty="0">
                <a:solidFill>
                  <a:srgbClr val="447D1B"/>
                </a:solidFill>
                <a:latin typeface="+mj-lt"/>
              </a:endParaRPr>
            </a:p>
          </p:txBody>
        </p:sp>
        <p:sp>
          <p:nvSpPr>
            <p:cNvPr id="98" name="Arc 14"/>
            <p:cNvSpPr>
              <a:spLocks/>
            </p:cNvSpPr>
            <p:nvPr/>
          </p:nvSpPr>
          <p:spPr bwMode="auto">
            <a:xfrm>
              <a:off x="2581234" y="2108067"/>
              <a:ext cx="184337" cy="123469"/>
            </a:xfrm>
            <a:custGeom>
              <a:avLst/>
              <a:gdLst>
                <a:gd name="T0" fmla="*/ 0 w 43200"/>
                <a:gd name="T1" fmla="*/ 0 h 22430"/>
                <a:gd name="T2" fmla="*/ 0 w 43200"/>
                <a:gd name="T3" fmla="*/ 0 h 22430"/>
                <a:gd name="T4" fmla="*/ 0 w 43200"/>
                <a:gd name="T5" fmla="*/ 0 h 22430"/>
                <a:gd name="T6" fmla="*/ 0 60000 65536"/>
                <a:gd name="T7" fmla="*/ 0 60000 65536"/>
                <a:gd name="T8" fmla="*/ 0 60000 65536"/>
                <a:gd name="T9" fmla="*/ 0 w 43200"/>
                <a:gd name="T10" fmla="*/ 0 h 22430"/>
                <a:gd name="T11" fmla="*/ 43200 w 43200"/>
                <a:gd name="T12" fmla="*/ 22430 h 224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22430" fill="none" extrusionOk="0">
                  <a:moveTo>
                    <a:pt x="15" y="22430"/>
                  </a:moveTo>
                  <a:cubicBezTo>
                    <a:pt x="5" y="22153"/>
                    <a:pt x="0" y="2187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21616"/>
                    <a:pt x="43199" y="21633"/>
                    <a:pt x="43199" y="21649"/>
                  </a:cubicBezTo>
                </a:path>
                <a:path w="43200" h="22430" stroke="0" extrusionOk="0">
                  <a:moveTo>
                    <a:pt x="15" y="22430"/>
                  </a:moveTo>
                  <a:cubicBezTo>
                    <a:pt x="5" y="22153"/>
                    <a:pt x="0" y="21876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21616"/>
                    <a:pt x="43199" y="21633"/>
                    <a:pt x="43199" y="21649"/>
                  </a:cubicBezTo>
                  <a:lnTo>
                    <a:pt x="21600" y="21600"/>
                  </a:lnTo>
                  <a:close/>
                </a:path>
              </a:pathLst>
            </a:custGeom>
            <a:grpFill/>
            <a:ln w="9525" cap="rnd">
              <a:noFill/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800" dirty="0">
                <a:solidFill>
                  <a:srgbClr val="447D1B"/>
                </a:solidFill>
                <a:latin typeface="+mj-lt"/>
              </a:endParaRPr>
            </a:p>
          </p:txBody>
        </p:sp>
        <p:sp>
          <p:nvSpPr>
            <p:cNvPr id="99" name="Freeform 15"/>
            <p:cNvSpPr>
              <a:spLocks/>
            </p:cNvSpPr>
            <p:nvPr/>
          </p:nvSpPr>
          <p:spPr bwMode="auto">
            <a:xfrm>
              <a:off x="2126275" y="2090738"/>
              <a:ext cx="800100" cy="231775"/>
            </a:xfrm>
            <a:custGeom>
              <a:avLst/>
              <a:gdLst>
                <a:gd name="T0" fmla="*/ 0 w 408"/>
                <a:gd name="T1" fmla="*/ 41 h 107"/>
                <a:gd name="T2" fmla="*/ 338 w 408"/>
                <a:gd name="T3" fmla="*/ 38 h 107"/>
                <a:gd name="T4" fmla="*/ 338 w 408"/>
                <a:gd name="T5" fmla="*/ 0 h 107"/>
                <a:gd name="T6" fmla="*/ 401 w 408"/>
                <a:gd name="T7" fmla="*/ 0 h 107"/>
                <a:gd name="T8" fmla="*/ 408 w 408"/>
                <a:gd name="T9" fmla="*/ 36 h 107"/>
                <a:gd name="T10" fmla="*/ 393 w 408"/>
                <a:gd name="T11" fmla="*/ 107 h 107"/>
                <a:gd name="T12" fmla="*/ 39 w 408"/>
                <a:gd name="T13" fmla="*/ 107 h 107"/>
                <a:gd name="T14" fmla="*/ 0 w 408"/>
                <a:gd name="T15" fmla="*/ 41 h 10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08"/>
                <a:gd name="T25" fmla="*/ 0 h 107"/>
                <a:gd name="T26" fmla="*/ 408 w 408"/>
                <a:gd name="T27" fmla="*/ 107 h 10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08" h="107">
                  <a:moveTo>
                    <a:pt x="0" y="41"/>
                  </a:moveTo>
                  <a:lnTo>
                    <a:pt x="338" y="38"/>
                  </a:lnTo>
                  <a:lnTo>
                    <a:pt x="338" y="0"/>
                  </a:lnTo>
                  <a:lnTo>
                    <a:pt x="401" y="0"/>
                  </a:lnTo>
                  <a:lnTo>
                    <a:pt x="408" y="36"/>
                  </a:lnTo>
                  <a:lnTo>
                    <a:pt x="393" y="107"/>
                  </a:lnTo>
                  <a:lnTo>
                    <a:pt x="39" y="107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9525" cap="rnd">
              <a:noFill/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s-ES" sz="2800" dirty="0">
                <a:solidFill>
                  <a:srgbClr val="447D1B"/>
                </a:solidFill>
                <a:latin typeface="+mj-lt"/>
              </a:endParaRPr>
            </a:p>
          </p:txBody>
        </p:sp>
      </p:grpSp>
      <p:sp>
        <p:nvSpPr>
          <p:cNvPr id="52" name="Text Box 35"/>
          <p:cNvSpPr txBox="1">
            <a:spLocks noChangeArrowheads="1"/>
          </p:cNvSpPr>
          <p:nvPr/>
        </p:nvSpPr>
        <p:spPr bwMode="auto">
          <a:xfrm>
            <a:off x="703227" y="1919794"/>
            <a:ext cx="10668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Gasoducto internacional</a:t>
            </a:r>
          </a:p>
        </p:txBody>
      </p:sp>
      <p:sp>
        <p:nvSpPr>
          <p:cNvPr id="53" name="Text Box 36"/>
          <p:cNvSpPr txBox="1">
            <a:spLocks noChangeArrowheads="1"/>
          </p:cNvSpPr>
          <p:nvPr/>
        </p:nvSpPr>
        <p:spPr bwMode="auto">
          <a:xfrm>
            <a:off x="2044550" y="1919794"/>
            <a:ext cx="102604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Planta de regasificación</a:t>
            </a:r>
          </a:p>
        </p:txBody>
      </p:sp>
      <p:sp>
        <p:nvSpPr>
          <p:cNvPr id="56" name="Text Box 37"/>
          <p:cNvSpPr txBox="1">
            <a:spLocks noChangeArrowheads="1"/>
          </p:cNvSpPr>
          <p:nvPr/>
        </p:nvSpPr>
        <p:spPr bwMode="auto">
          <a:xfrm>
            <a:off x="3429721" y="1986458"/>
            <a:ext cx="98100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Almacén subterráneo</a:t>
            </a:r>
          </a:p>
        </p:txBody>
      </p:sp>
      <p:sp>
        <p:nvSpPr>
          <p:cNvPr id="57" name="Rectangle 46"/>
          <p:cNvSpPr>
            <a:spLocks noChangeArrowheads="1"/>
          </p:cNvSpPr>
          <p:nvPr/>
        </p:nvSpPr>
        <p:spPr bwMode="auto">
          <a:xfrm>
            <a:off x="473809" y="5587946"/>
            <a:ext cx="4515176" cy="433247"/>
          </a:xfrm>
          <a:prstGeom prst="rect">
            <a:avLst/>
          </a:prstGeom>
          <a:noFill/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58" name="Rectangle 47"/>
          <p:cNvSpPr>
            <a:spLocks noChangeArrowheads="1"/>
          </p:cNvSpPr>
          <p:nvPr/>
        </p:nvSpPr>
        <p:spPr bwMode="auto">
          <a:xfrm>
            <a:off x="631446" y="5719982"/>
            <a:ext cx="188602" cy="165046"/>
          </a:xfrm>
          <a:prstGeom prst="rect">
            <a:avLst/>
          </a:prstGeom>
          <a:solidFill>
            <a:srgbClr val="00567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59" name="Text Box 48"/>
          <p:cNvSpPr txBox="1">
            <a:spLocks noChangeArrowheads="1"/>
          </p:cNvSpPr>
          <p:nvPr/>
        </p:nvSpPr>
        <p:spPr bwMode="auto">
          <a:xfrm>
            <a:off x="805973" y="5702103"/>
            <a:ext cx="96411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5000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Internacional</a:t>
            </a:r>
          </a:p>
        </p:txBody>
      </p:sp>
      <p:sp>
        <p:nvSpPr>
          <p:cNvPr id="61" name="Rectangle 50"/>
          <p:cNvSpPr>
            <a:spLocks noChangeArrowheads="1"/>
          </p:cNvSpPr>
          <p:nvPr/>
        </p:nvSpPr>
        <p:spPr bwMode="auto">
          <a:xfrm>
            <a:off x="2846810" y="5719982"/>
            <a:ext cx="188602" cy="165046"/>
          </a:xfrm>
          <a:prstGeom prst="rect">
            <a:avLst/>
          </a:prstGeom>
          <a:solidFill>
            <a:srgbClr val="82BC0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62" name="Text Box 51"/>
          <p:cNvSpPr txBox="1">
            <a:spLocks noChangeArrowheads="1"/>
          </p:cNvSpPr>
          <p:nvPr/>
        </p:nvSpPr>
        <p:spPr bwMode="auto">
          <a:xfrm>
            <a:off x="1941804" y="5702103"/>
            <a:ext cx="82900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5000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Red Básica</a:t>
            </a:r>
          </a:p>
        </p:txBody>
      </p:sp>
      <p:sp>
        <p:nvSpPr>
          <p:cNvPr id="63" name="Text Box 52"/>
          <p:cNvSpPr txBox="1">
            <a:spLocks noChangeArrowheads="1"/>
          </p:cNvSpPr>
          <p:nvPr/>
        </p:nvSpPr>
        <p:spPr bwMode="auto">
          <a:xfrm>
            <a:off x="3035411" y="5633062"/>
            <a:ext cx="1949351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5000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Tpte. secundario (&gt;16 y &lt; 60 bar) y Distribución </a:t>
            </a:r>
            <a:r>
              <a:rPr lang="es-ES_tradnl" sz="1000" dirty="0" smtClean="0">
                <a:solidFill>
                  <a:srgbClr val="000000"/>
                </a:solidFill>
                <a:latin typeface="+mj-lt"/>
              </a:rPr>
              <a:t>(&lt; </a:t>
            </a:r>
            <a:r>
              <a:rPr lang="es-ES_tradnl" sz="1000" dirty="0">
                <a:solidFill>
                  <a:srgbClr val="000000"/>
                </a:solidFill>
                <a:latin typeface="+mj-lt"/>
              </a:rPr>
              <a:t>16 bar)</a:t>
            </a:r>
          </a:p>
        </p:txBody>
      </p:sp>
      <p:sp>
        <p:nvSpPr>
          <p:cNvPr id="64" name="Rectangle 16"/>
          <p:cNvSpPr>
            <a:spLocks noChangeArrowheads="1"/>
          </p:cNvSpPr>
          <p:nvPr/>
        </p:nvSpPr>
        <p:spPr bwMode="auto">
          <a:xfrm>
            <a:off x="487883" y="3588134"/>
            <a:ext cx="4235089" cy="1919833"/>
          </a:xfrm>
          <a:prstGeom prst="rect">
            <a:avLst/>
          </a:prstGeom>
          <a:solidFill>
            <a:srgbClr val="DDDDDD"/>
          </a:solidFill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65" name="AutoShape 17"/>
          <p:cNvSpPr>
            <a:spLocks noChangeArrowheads="1"/>
          </p:cNvSpPr>
          <p:nvPr/>
        </p:nvSpPr>
        <p:spPr bwMode="auto">
          <a:xfrm>
            <a:off x="1010058" y="3625270"/>
            <a:ext cx="202676" cy="264074"/>
          </a:xfrm>
          <a:prstGeom prst="can">
            <a:avLst>
              <a:gd name="adj" fmla="val 23889"/>
            </a:avLst>
          </a:prstGeom>
          <a:solidFill>
            <a:srgbClr val="A2D683"/>
          </a:solidFill>
          <a:ln w="9525">
            <a:solidFill>
              <a:srgbClr val="4A871D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000" dirty="0">
              <a:solidFill>
                <a:srgbClr val="4A871D"/>
              </a:solidFill>
              <a:latin typeface="+mj-lt"/>
            </a:endParaRPr>
          </a:p>
        </p:txBody>
      </p:sp>
      <p:sp>
        <p:nvSpPr>
          <p:cNvPr id="66" name="AutoShape 18"/>
          <p:cNvSpPr>
            <a:spLocks noChangeArrowheads="1"/>
          </p:cNvSpPr>
          <p:nvPr/>
        </p:nvSpPr>
        <p:spPr bwMode="auto">
          <a:xfrm flipV="1">
            <a:off x="3174751" y="4417492"/>
            <a:ext cx="67558" cy="594166"/>
          </a:xfrm>
          <a:prstGeom prst="can">
            <a:avLst>
              <a:gd name="adj" fmla="val 10708"/>
            </a:avLst>
          </a:prstGeom>
          <a:solidFill>
            <a:srgbClr val="82BC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67" name="AutoShape 19"/>
          <p:cNvSpPr>
            <a:spLocks noChangeArrowheads="1"/>
          </p:cNvSpPr>
          <p:nvPr/>
        </p:nvSpPr>
        <p:spPr bwMode="auto">
          <a:xfrm rot="10800000" flipH="1" flipV="1">
            <a:off x="2019216" y="3889344"/>
            <a:ext cx="135118" cy="528148"/>
          </a:xfrm>
          <a:prstGeom prst="can">
            <a:avLst>
              <a:gd name="adj" fmla="val 6444"/>
            </a:avLst>
          </a:prstGeom>
          <a:solidFill>
            <a:srgbClr val="82BC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68" name="AutoShape 20"/>
          <p:cNvSpPr>
            <a:spLocks noChangeArrowheads="1"/>
          </p:cNvSpPr>
          <p:nvPr/>
        </p:nvSpPr>
        <p:spPr bwMode="auto">
          <a:xfrm rot="16200000" flipV="1">
            <a:off x="3292184" y="3088358"/>
            <a:ext cx="112782" cy="2639013"/>
          </a:xfrm>
          <a:prstGeom prst="can">
            <a:avLst>
              <a:gd name="adj" fmla="val 28265"/>
            </a:avLst>
          </a:prstGeom>
          <a:solidFill>
            <a:srgbClr val="82BC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69" name="AutoShape 21"/>
          <p:cNvSpPr>
            <a:spLocks noChangeArrowheads="1"/>
          </p:cNvSpPr>
          <p:nvPr/>
        </p:nvSpPr>
        <p:spPr bwMode="auto">
          <a:xfrm rot="16200000" flipV="1">
            <a:off x="3899666" y="4241838"/>
            <a:ext cx="66018" cy="1473625"/>
          </a:xfrm>
          <a:prstGeom prst="can">
            <a:avLst>
              <a:gd name="adj" fmla="val 25953"/>
            </a:avLst>
          </a:prstGeom>
          <a:solidFill>
            <a:srgbClr val="82BC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70" name="AutoShape 23"/>
          <p:cNvSpPr>
            <a:spLocks noChangeArrowheads="1"/>
          </p:cNvSpPr>
          <p:nvPr/>
        </p:nvSpPr>
        <p:spPr bwMode="auto">
          <a:xfrm>
            <a:off x="2393603" y="3645901"/>
            <a:ext cx="202676" cy="264074"/>
          </a:xfrm>
          <a:prstGeom prst="can">
            <a:avLst>
              <a:gd name="adj" fmla="val 23889"/>
            </a:avLst>
          </a:prstGeom>
          <a:solidFill>
            <a:srgbClr val="A2D683"/>
          </a:solidFill>
          <a:ln w="9525">
            <a:solidFill>
              <a:srgbClr val="4A871D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000" dirty="0">
              <a:solidFill>
                <a:srgbClr val="4A871D"/>
              </a:solidFill>
              <a:latin typeface="+mj-lt"/>
            </a:endParaRPr>
          </a:p>
        </p:txBody>
      </p:sp>
      <p:sp>
        <p:nvSpPr>
          <p:cNvPr id="73" name="AutoShape 24"/>
          <p:cNvSpPr>
            <a:spLocks noChangeArrowheads="1"/>
          </p:cNvSpPr>
          <p:nvPr/>
        </p:nvSpPr>
        <p:spPr bwMode="auto">
          <a:xfrm>
            <a:off x="3778558" y="3625270"/>
            <a:ext cx="202676" cy="264074"/>
          </a:xfrm>
          <a:prstGeom prst="can">
            <a:avLst>
              <a:gd name="adj" fmla="val 23889"/>
            </a:avLst>
          </a:prstGeom>
          <a:solidFill>
            <a:srgbClr val="A2D683"/>
          </a:solidFill>
          <a:ln w="9525">
            <a:solidFill>
              <a:srgbClr val="4A871D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000" dirty="0">
              <a:solidFill>
                <a:srgbClr val="4A871D"/>
              </a:solidFill>
              <a:latin typeface="+mj-lt"/>
            </a:endParaRPr>
          </a:p>
        </p:txBody>
      </p:sp>
      <p:sp>
        <p:nvSpPr>
          <p:cNvPr id="74" name="Text Box 25"/>
          <p:cNvSpPr txBox="1">
            <a:spLocks noChangeArrowheads="1"/>
          </p:cNvSpPr>
          <p:nvPr/>
        </p:nvSpPr>
        <p:spPr bwMode="auto">
          <a:xfrm>
            <a:off x="520256" y="4761340"/>
            <a:ext cx="102112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Sistema de Transporte y Distribución</a:t>
            </a:r>
          </a:p>
        </p:txBody>
      </p:sp>
      <p:sp>
        <p:nvSpPr>
          <p:cNvPr id="75" name="Text Box 26"/>
          <p:cNvSpPr txBox="1">
            <a:spLocks noChangeArrowheads="1"/>
          </p:cNvSpPr>
          <p:nvPr/>
        </p:nvSpPr>
        <p:spPr bwMode="auto">
          <a:xfrm>
            <a:off x="3552601" y="3951238"/>
            <a:ext cx="87556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Red </a:t>
            </a:r>
            <a:r>
              <a:rPr lang="es-ES_tradnl" sz="1000" dirty="0">
                <a:solidFill>
                  <a:srgbClr val="000000"/>
                </a:solidFill>
                <a:latin typeface="+mj-lt"/>
                <a:sym typeface="Symbol" pitchFamily="18" charset="2"/>
              </a:rPr>
              <a:t></a:t>
            </a:r>
            <a:r>
              <a:rPr lang="es-ES_tradnl" sz="1000" dirty="0">
                <a:solidFill>
                  <a:srgbClr val="000000"/>
                </a:solidFill>
                <a:latin typeface="+mj-lt"/>
              </a:rPr>
              <a:t> 60 bar</a:t>
            </a:r>
          </a:p>
        </p:txBody>
      </p:sp>
      <p:sp>
        <p:nvSpPr>
          <p:cNvPr id="76" name="Text Box 27"/>
          <p:cNvSpPr txBox="1">
            <a:spLocks noChangeArrowheads="1"/>
          </p:cNvSpPr>
          <p:nvPr/>
        </p:nvSpPr>
        <p:spPr bwMode="auto">
          <a:xfrm>
            <a:off x="3426472" y="4491766"/>
            <a:ext cx="11320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Red &gt;4 y &lt; 60 bar</a:t>
            </a:r>
          </a:p>
        </p:txBody>
      </p:sp>
      <p:sp>
        <p:nvSpPr>
          <p:cNvPr id="77" name="Text Box 28"/>
          <p:cNvSpPr txBox="1">
            <a:spLocks noChangeArrowheads="1"/>
          </p:cNvSpPr>
          <p:nvPr/>
        </p:nvSpPr>
        <p:spPr bwMode="auto">
          <a:xfrm>
            <a:off x="3593284" y="5030917"/>
            <a:ext cx="79701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Red </a:t>
            </a:r>
            <a:r>
              <a:rPr lang="es-ES_tradnl" sz="1000" dirty="0" smtClean="0">
                <a:solidFill>
                  <a:srgbClr val="000000"/>
                </a:solidFill>
                <a:latin typeface="+mj-lt"/>
              </a:rPr>
              <a:t>≤ 4 </a:t>
            </a:r>
            <a:r>
              <a:rPr lang="es-ES_tradnl" sz="1000" dirty="0">
                <a:solidFill>
                  <a:srgbClr val="000000"/>
                </a:solidFill>
                <a:latin typeface="+mj-lt"/>
              </a:rPr>
              <a:t>bar</a:t>
            </a:r>
          </a:p>
        </p:txBody>
      </p:sp>
      <p:sp>
        <p:nvSpPr>
          <p:cNvPr id="78" name="Line 29"/>
          <p:cNvSpPr>
            <a:spLocks noChangeShapeType="1"/>
          </p:cNvSpPr>
          <p:nvPr/>
        </p:nvSpPr>
        <p:spPr bwMode="auto">
          <a:xfrm>
            <a:off x="1115617" y="3354319"/>
            <a:ext cx="0" cy="19393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79" name="Line 30"/>
          <p:cNvSpPr>
            <a:spLocks noChangeShapeType="1"/>
          </p:cNvSpPr>
          <p:nvPr/>
        </p:nvSpPr>
        <p:spPr bwMode="auto">
          <a:xfrm>
            <a:off x="2506201" y="3354319"/>
            <a:ext cx="0" cy="19393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80" name="Line 31"/>
          <p:cNvSpPr>
            <a:spLocks noChangeShapeType="1"/>
          </p:cNvSpPr>
          <p:nvPr/>
        </p:nvSpPr>
        <p:spPr bwMode="auto">
          <a:xfrm>
            <a:off x="3881302" y="3354319"/>
            <a:ext cx="0" cy="19393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81" name="Line 32"/>
          <p:cNvSpPr>
            <a:spLocks noChangeShapeType="1"/>
          </p:cNvSpPr>
          <p:nvPr/>
        </p:nvSpPr>
        <p:spPr bwMode="auto">
          <a:xfrm rot="16200000">
            <a:off x="4867238" y="3768111"/>
            <a:ext cx="0" cy="198454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82" name="Line 33"/>
          <p:cNvSpPr>
            <a:spLocks noChangeShapeType="1"/>
          </p:cNvSpPr>
          <p:nvPr/>
        </p:nvSpPr>
        <p:spPr bwMode="auto">
          <a:xfrm rot="16200000">
            <a:off x="4867238" y="4308639"/>
            <a:ext cx="0" cy="198454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83" name="Line 34"/>
          <p:cNvSpPr>
            <a:spLocks noChangeShapeType="1"/>
          </p:cNvSpPr>
          <p:nvPr/>
        </p:nvSpPr>
        <p:spPr bwMode="auto">
          <a:xfrm rot="16200000">
            <a:off x="4867238" y="4869797"/>
            <a:ext cx="0" cy="198454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84" name="Text Box 38"/>
          <p:cNvSpPr txBox="1">
            <a:spLocks noChangeArrowheads="1"/>
          </p:cNvSpPr>
          <p:nvPr/>
        </p:nvSpPr>
        <p:spPr bwMode="auto">
          <a:xfrm>
            <a:off x="4892930" y="3764184"/>
            <a:ext cx="70724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Grupo 1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(&gt; 60 bar)</a:t>
            </a:r>
            <a:endParaRPr lang="es-ES_tradnl" sz="10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85" name="Text Box 39"/>
          <p:cNvSpPr txBox="1">
            <a:spLocks noChangeArrowheads="1"/>
          </p:cNvSpPr>
          <p:nvPr/>
        </p:nvSpPr>
        <p:spPr bwMode="auto">
          <a:xfrm>
            <a:off x="4892226" y="4308837"/>
            <a:ext cx="70724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Grupo 2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(&gt;4, </a:t>
            </a:r>
            <a:r>
              <a:rPr lang="es-ES_tradnl" sz="1000" dirty="0" smtClean="0">
                <a:solidFill>
                  <a:srgbClr val="000000"/>
                </a:solidFill>
                <a:latin typeface="+mj-lt"/>
              </a:rPr>
              <a:t>&lt; </a:t>
            </a:r>
            <a:r>
              <a:rPr lang="es-ES_tradnl" sz="1000" dirty="0">
                <a:solidFill>
                  <a:srgbClr val="000000"/>
                </a:solidFill>
                <a:latin typeface="+mj-lt"/>
              </a:rPr>
              <a:t>60)</a:t>
            </a:r>
          </a:p>
        </p:txBody>
      </p:sp>
      <p:sp>
        <p:nvSpPr>
          <p:cNvPr id="86" name="Text Box 40"/>
          <p:cNvSpPr txBox="1">
            <a:spLocks noChangeArrowheads="1"/>
          </p:cNvSpPr>
          <p:nvPr/>
        </p:nvSpPr>
        <p:spPr bwMode="auto">
          <a:xfrm>
            <a:off x="4931598" y="4861742"/>
            <a:ext cx="62709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Grupo 3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 smtClean="0">
                <a:solidFill>
                  <a:srgbClr val="000000"/>
                </a:solidFill>
                <a:latin typeface="+mj-lt"/>
              </a:rPr>
              <a:t>(&lt; </a:t>
            </a:r>
            <a:r>
              <a:rPr lang="es-ES_tradnl" sz="1000" dirty="0">
                <a:solidFill>
                  <a:srgbClr val="000000"/>
                </a:solidFill>
                <a:latin typeface="+mj-lt"/>
              </a:rPr>
              <a:t>4 bar)</a:t>
            </a:r>
            <a:endParaRPr lang="es-ES_tradnl" sz="1000" b="1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87" name="Text Box 42"/>
          <p:cNvSpPr txBox="1">
            <a:spLocks noChangeArrowheads="1"/>
          </p:cNvSpPr>
          <p:nvPr/>
        </p:nvSpPr>
        <p:spPr bwMode="auto">
          <a:xfrm>
            <a:off x="1114209" y="4024133"/>
            <a:ext cx="85433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Almacén Operativo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dirty="0">
                <a:solidFill>
                  <a:srgbClr val="000000"/>
                </a:solidFill>
                <a:latin typeface="+mj-lt"/>
              </a:rPr>
              <a:t>Comercial</a:t>
            </a:r>
          </a:p>
        </p:txBody>
      </p:sp>
      <p:sp>
        <p:nvSpPr>
          <p:cNvPr id="88" name="Text Box 53"/>
          <p:cNvSpPr txBox="1">
            <a:spLocks noChangeArrowheads="1"/>
          </p:cNvSpPr>
          <p:nvPr/>
        </p:nvSpPr>
        <p:spPr bwMode="auto">
          <a:xfrm>
            <a:off x="1136729" y="3333691"/>
            <a:ext cx="3529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b="1" dirty="0">
                <a:solidFill>
                  <a:srgbClr val="447D1B"/>
                </a:solidFill>
                <a:latin typeface="+mj-lt"/>
              </a:rPr>
              <a:t>Trc</a:t>
            </a:r>
            <a:endParaRPr lang="es-ES_tradnl" sz="1000" b="1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89" name="Text Box 54"/>
          <p:cNvSpPr txBox="1">
            <a:spLocks noChangeArrowheads="1"/>
          </p:cNvSpPr>
          <p:nvPr/>
        </p:nvSpPr>
        <p:spPr bwMode="auto">
          <a:xfrm>
            <a:off x="2575168" y="3333691"/>
            <a:ext cx="35298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b="1" dirty="0">
                <a:solidFill>
                  <a:srgbClr val="447D1B"/>
                </a:solidFill>
                <a:latin typeface="+mj-lt"/>
              </a:rPr>
              <a:t>Trc</a:t>
            </a:r>
            <a:endParaRPr lang="es-ES_tradnl" sz="1000" b="1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90" name="Text Box 55"/>
          <p:cNvSpPr txBox="1">
            <a:spLocks noChangeArrowheads="1"/>
          </p:cNvSpPr>
          <p:nvPr/>
        </p:nvSpPr>
        <p:spPr bwMode="auto">
          <a:xfrm>
            <a:off x="4722973" y="3608766"/>
            <a:ext cx="3161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b="1" dirty="0">
                <a:solidFill>
                  <a:srgbClr val="447D1B"/>
                </a:solidFill>
                <a:latin typeface="+mj-lt"/>
              </a:rPr>
              <a:t>Tc</a:t>
            </a:r>
          </a:p>
        </p:txBody>
      </p:sp>
      <p:sp>
        <p:nvSpPr>
          <p:cNvPr id="91" name="Text Box 56"/>
          <p:cNvSpPr txBox="1">
            <a:spLocks noChangeArrowheads="1"/>
          </p:cNvSpPr>
          <p:nvPr/>
        </p:nvSpPr>
        <p:spPr bwMode="auto">
          <a:xfrm>
            <a:off x="4722973" y="4179552"/>
            <a:ext cx="3161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b="1" dirty="0">
                <a:solidFill>
                  <a:srgbClr val="447D1B"/>
                </a:solidFill>
                <a:latin typeface="+mj-lt"/>
              </a:rPr>
              <a:t>Tc</a:t>
            </a:r>
          </a:p>
        </p:txBody>
      </p:sp>
      <p:sp>
        <p:nvSpPr>
          <p:cNvPr id="92" name="Text Box 57"/>
          <p:cNvSpPr txBox="1">
            <a:spLocks noChangeArrowheads="1"/>
          </p:cNvSpPr>
          <p:nvPr/>
        </p:nvSpPr>
        <p:spPr bwMode="auto">
          <a:xfrm>
            <a:off x="4722973" y="4742086"/>
            <a:ext cx="31611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1000" b="1" dirty="0">
                <a:solidFill>
                  <a:srgbClr val="447D1B"/>
                </a:solidFill>
                <a:latin typeface="+mj-lt"/>
              </a:rPr>
              <a:t>Tc</a:t>
            </a:r>
          </a:p>
        </p:txBody>
      </p:sp>
      <p:sp>
        <p:nvSpPr>
          <p:cNvPr id="93" name="Oval 61"/>
          <p:cNvSpPr>
            <a:spLocks noChangeArrowheads="1"/>
          </p:cNvSpPr>
          <p:nvPr/>
        </p:nvSpPr>
        <p:spPr bwMode="auto">
          <a:xfrm>
            <a:off x="1439336" y="3775189"/>
            <a:ext cx="177341" cy="16229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sp>
        <p:nvSpPr>
          <p:cNvPr id="94" name="AutoShape 22"/>
          <p:cNvSpPr>
            <a:spLocks noChangeArrowheads="1"/>
          </p:cNvSpPr>
          <p:nvPr/>
        </p:nvSpPr>
        <p:spPr bwMode="auto">
          <a:xfrm rot="16200000" flipV="1">
            <a:off x="2542994" y="1828870"/>
            <a:ext cx="198055" cy="4054932"/>
          </a:xfrm>
          <a:prstGeom prst="can">
            <a:avLst>
              <a:gd name="adj" fmla="val 31863"/>
            </a:avLst>
          </a:prstGeom>
          <a:solidFill>
            <a:srgbClr val="A2D683"/>
          </a:solidFill>
          <a:ln w="9525">
            <a:solidFill>
              <a:srgbClr val="4A871D"/>
            </a:solidFill>
            <a:round/>
            <a:headEnd/>
            <a:tailEnd/>
          </a:ln>
        </p:spPr>
        <p:txBody>
          <a:bodyPr rot="10800000" vert="eaVert" wrap="none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000" dirty="0">
              <a:solidFill>
                <a:srgbClr val="4A871D"/>
              </a:solidFill>
              <a:latin typeface="+mj-lt"/>
            </a:endParaRPr>
          </a:p>
        </p:txBody>
      </p:sp>
      <p:sp>
        <p:nvSpPr>
          <p:cNvPr id="101" name="Rectangle 50"/>
          <p:cNvSpPr>
            <a:spLocks noChangeArrowheads="1"/>
          </p:cNvSpPr>
          <p:nvPr/>
        </p:nvSpPr>
        <p:spPr bwMode="auto">
          <a:xfrm>
            <a:off x="1754609" y="5719982"/>
            <a:ext cx="188602" cy="165046"/>
          </a:xfrm>
          <a:prstGeom prst="rect">
            <a:avLst/>
          </a:prstGeom>
          <a:solidFill>
            <a:srgbClr val="A2D68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s-ES" sz="2800" dirty="0">
              <a:solidFill>
                <a:srgbClr val="447D1B"/>
              </a:solidFill>
              <a:latin typeface="+mj-lt"/>
            </a:endParaRPr>
          </a:p>
        </p:txBody>
      </p:sp>
      <p:cxnSp>
        <p:nvCxnSpPr>
          <p:cNvPr id="102" name="101 Conector recto"/>
          <p:cNvCxnSpPr/>
          <p:nvPr/>
        </p:nvCxnSpPr>
        <p:spPr>
          <a:xfrm>
            <a:off x="289620" y="6359248"/>
            <a:ext cx="8530852" cy="9606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22"/>
          <p:cNvSpPr>
            <a:spLocks noChangeAspect="1" noChangeArrowheads="1"/>
          </p:cNvSpPr>
          <p:nvPr/>
        </p:nvSpPr>
        <p:spPr bwMode="auto">
          <a:xfrm>
            <a:off x="5486896" y="635924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laboración propia]</a:t>
            </a:r>
          </a:p>
        </p:txBody>
      </p:sp>
      <p:sp>
        <p:nvSpPr>
          <p:cNvPr id="104" name="103 Rectángulo"/>
          <p:cNvSpPr/>
          <p:nvPr/>
        </p:nvSpPr>
        <p:spPr>
          <a:xfrm>
            <a:off x="281852" y="6150743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Esquema de los peajes vigentes en España</a:t>
            </a:r>
          </a:p>
        </p:txBody>
      </p:sp>
    </p:spTree>
    <p:extLst>
      <p:ext uri="{BB962C8B-B14F-4D97-AF65-F5344CB8AC3E}">
        <p14:creationId xmlns:p14="http://schemas.microsoft.com/office/powerpoint/2010/main" val="642022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30537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248" name="think-cell Slide" r:id="rId65" imgW="270" imgH="270" progId="TCLayout.ActiveDocument.1">
                  <p:embed/>
                </p:oleObj>
              </mc:Choice>
              <mc:Fallback>
                <p:oleObj name="think-cell Slide" r:id="rId6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9ABE"/>
          </a:solidFill>
          <a:ln w="3175">
            <a:noFill/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s-ES" sz="800" b="1" dirty="0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67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44016" y="1052736"/>
            <a:ext cx="88924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El déficit tarifario en el sector gasista se ha originado por una evolución desacompasada entre los costes del sistema gasista derivada de la planificación vinculante y la evolución de la demanda en un entorno afectado por la situación económica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desfavorable</a:t>
            </a:r>
            <a:endParaRPr lang="es-ES" sz="1600" dirty="0">
              <a:solidFill>
                <a:srgbClr val="40404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6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162" name="161 Conector recto"/>
          <p:cNvCxnSpPr/>
          <p:nvPr/>
        </p:nvCxnSpPr>
        <p:spPr>
          <a:xfrm>
            <a:off x="323410" y="1858776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7"/>
          <p:cNvPicPr>
            <a:picLocks noChangeAspect="1" noChangeArrowheads="1"/>
          </p:cNvPicPr>
          <p:nvPr/>
        </p:nvPicPr>
        <p:blipFill>
          <a:blip r:embed="rId68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28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28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6. Peajes de acceso y déficit tarifario de gas natural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102" name="101 CuadroTexto"/>
          <p:cNvSpPr txBox="1"/>
          <p:nvPr/>
        </p:nvSpPr>
        <p:spPr>
          <a:xfrm>
            <a:off x="2915816" y="2061023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03" name="102 CuadroTexto"/>
          <p:cNvSpPr txBox="1"/>
          <p:nvPr/>
        </p:nvSpPr>
        <p:spPr>
          <a:xfrm>
            <a:off x="3235696" y="2061023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04" name="103 CuadroTexto"/>
          <p:cNvSpPr txBox="1"/>
          <p:nvPr/>
        </p:nvSpPr>
        <p:spPr>
          <a:xfrm>
            <a:off x="3705844" y="2061023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105" name="104 Rectángulo"/>
          <p:cNvSpPr/>
          <p:nvPr/>
        </p:nvSpPr>
        <p:spPr>
          <a:xfrm>
            <a:off x="325807" y="1937152"/>
            <a:ext cx="41740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06" name="105 CuadroTexto"/>
          <p:cNvSpPr txBox="1"/>
          <p:nvPr/>
        </p:nvSpPr>
        <p:spPr>
          <a:xfrm>
            <a:off x="319350" y="1911182"/>
            <a:ext cx="42526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L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a crisis económica ha provocado una importante bajada del consumo que combinada con nuevas inversiones ha provocado la aparición de un déficit anual cada vez mayor</a:t>
            </a:r>
          </a:p>
        </p:txBody>
      </p:sp>
      <p:sp>
        <p:nvSpPr>
          <p:cNvPr id="107" name="106 Rectángulo"/>
          <p:cNvSpPr/>
          <p:nvPr/>
        </p:nvSpPr>
        <p:spPr>
          <a:xfrm>
            <a:off x="4684520" y="1937419"/>
            <a:ext cx="4135952" cy="57150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08" name="107 CuadroTexto"/>
          <p:cNvSpPr txBox="1"/>
          <p:nvPr/>
        </p:nvSpPr>
        <p:spPr>
          <a:xfrm>
            <a:off x="4669408" y="1911860"/>
            <a:ext cx="41764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El incremento del coste, unido al descenso de ingresos, han provocado la aparición de un incipiente déficit en el sector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gasista</a:t>
            </a:r>
            <a:endParaRPr lang="es-ES" sz="1200" dirty="0">
              <a:solidFill>
                <a:srgbClr val="404040"/>
              </a:solidFill>
              <a:latin typeface="+mj-lt"/>
            </a:endParaRPr>
          </a:p>
          <a:p>
            <a:pPr algn="ctr"/>
            <a:endParaRPr lang="es-ES" sz="1200" dirty="0" smtClean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232" name="231 Conector recto"/>
          <p:cNvCxnSpPr/>
          <p:nvPr/>
        </p:nvCxnSpPr>
        <p:spPr>
          <a:xfrm>
            <a:off x="4716463" y="5824314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Rectangle 122"/>
          <p:cNvSpPr>
            <a:spLocks noChangeAspect="1" noChangeArrowheads="1"/>
          </p:cNvSpPr>
          <p:nvPr/>
        </p:nvSpPr>
        <p:spPr bwMode="auto">
          <a:xfrm>
            <a:off x="5524996" y="5805264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>
                <a:solidFill>
                  <a:srgbClr val="8A8A8D"/>
                </a:solidFill>
                <a:latin typeface="+mj-lt"/>
              </a:rPr>
              <a:t>[Fuente: elaboración propia; BOE]</a:t>
            </a:r>
            <a:endParaRPr lang="es-ES_tradnl" sz="700" dirty="0" smtClean="0">
              <a:solidFill>
                <a:srgbClr val="8A8A8D"/>
              </a:solidFill>
              <a:latin typeface="+mj-lt"/>
            </a:endParaRPr>
          </a:p>
        </p:txBody>
      </p:sp>
      <p:cxnSp>
        <p:nvCxnSpPr>
          <p:cNvPr id="234" name="233 Conector recto"/>
          <p:cNvCxnSpPr/>
          <p:nvPr/>
        </p:nvCxnSpPr>
        <p:spPr>
          <a:xfrm>
            <a:off x="314404" y="5820122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Rectangle 122"/>
          <p:cNvSpPr>
            <a:spLocks noChangeAspect="1" noChangeArrowheads="1"/>
          </p:cNvSpPr>
          <p:nvPr/>
        </p:nvSpPr>
        <p:spPr bwMode="auto">
          <a:xfrm>
            <a:off x="1178500" y="582722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" sz="700" dirty="0" smtClean="0">
                <a:solidFill>
                  <a:srgbClr val="8A8A8D"/>
                </a:solidFill>
                <a:latin typeface="+mj-lt"/>
              </a:rPr>
              <a:t>Comisión Nacional de Mercados y Competencia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, CNMC]</a:t>
            </a:r>
          </a:p>
        </p:txBody>
      </p:sp>
      <p:sp>
        <p:nvSpPr>
          <p:cNvPr id="25" name="24 Rectángulo"/>
          <p:cNvSpPr/>
          <p:nvPr/>
        </p:nvSpPr>
        <p:spPr>
          <a:xfrm>
            <a:off x="281852" y="5579243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Evolución del déficit de tarifa del sector gasista en España</a:t>
            </a:r>
          </a:p>
        </p:txBody>
      </p:sp>
      <p:sp>
        <p:nvSpPr>
          <p:cNvPr id="26" name="25 Rectángulo"/>
          <p:cNvSpPr/>
          <p:nvPr/>
        </p:nvSpPr>
        <p:spPr>
          <a:xfrm>
            <a:off x="4617020" y="5582954"/>
            <a:ext cx="42034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Evolución de los costes regulados y demanda de gas natural</a:t>
            </a:r>
            <a:endParaRPr lang="es-ES" sz="1000" dirty="0">
              <a:latin typeface="Pontano Sans" pitchFamily="2" charset="0"/>
            </a:endParaRPr>
          </a:p>
        </p:txBody>
      </p:sp>
      <p:sp>
        <p:nvSpPr>
          <p:cNvPr id="514" name="TextBox 513"/>
          <p:cNvSpPr txBox="1"/>
          <p:nvPr/>
        </p:nvSpPr>
        <p:spPr>
          <a:xfrm>
            <a:off x="4953013" y="5202083"/>
            <a:ext cx="4478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2010</a:t>
            </a:r>
            <a:endParaRPr lang="es-ES" sz="1000" dirty="0"/>
          </a:p>
        </p:txBody>
      </p:sp>
      <p:sp>
        <p:nvSpPr>
          <p:cNvPr id="515" name="TextBox 514"/>
          <p:cNvSpPr txBox="1"/>
          <p:nvPr/>
        </p:nvSpPr>
        <p:spPr>
          <a:xfrm>
            <a:off x="5399269" y="5202083"/>
            <a:ext cx="4478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2011</a:t>
            </a:r>
            <a:endParaRPr lang="es-ES" sz="1000" dirty="0"/>
          </a:p>
        </p:txBody>
      </p:sp>
      <p:sp>
        <p:nvSpPr>
          <p:cNvPr id="516" name="TextBox 515"/>
          <p:cNvSpPr txBox="1"/>
          <p:nvPr/>
        </p:nvSpPr>
        <p:spPr>
          <a:xfrm>
            <a:off x="5845525" y="5202083"/>
            <a:ext cx="4478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2012</a:t>
            </a:r>
            <a:endParaRPr lang="es-ES" sz="1000" dirty="0"/>
          </a:p>
        </p:txBody>
      </p:sp>
      <p:sp>
        <p:nvSpPr>
          <p:cNvPr id="517" name="TextBox 516"/>
          <p:cNvSpPr txBox="1"/>
          <p:nvPr/>
        </p:nvSpPr>
        <p:spPr>
          <a:xfrm>
            <a:off x="6291781" y="5202083"/>
            <a:ext cx="4478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2013</a:t>
            </a:r>
            <a:endParaRPr lang="es-ES" sz="1000" dirty="0"/>
          </a:p>
        </p:txBody>
      </p:sp>
      <p:sp>
        <p:nvSpPr>
          <p:cNvPr id="518" name="TextBox 517"/>
          <p:cNvSpPr txBox="1"/>
          <p:nvPr/>
        </p:nvSpPr>
        <p:spPr>
          <a:xfrm>
            <a:off x="6738037" y="5202083"/>
            <a:ext cx="4478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2014</a:t>
            </a:r>
            <a:endParaRPr lang="es-ES" sz="1000" dirty="0"/>
          </a:p>
        </p:txBody>
      </p:sp>
      <p:sp>
        <p:nvSpPr>
          <p:cNvPr id="519" name="TextBox 518"/>
          <p:cNvSpPr txBox="1"/>
          <p:nvPr/>
        </p:nvSpPr>
        <p:spPr>
          <a:xfrm>
            <a:off x="7184293" y="5202083"/>
            <a:ext cx="4478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2015</a:t>
            </a:r>
            <a:endParaRPr lang="es-ES" sz="1000" dirty="0"/>
          </a:p>
        </p:txBody>
      </p:sp>
      <p:sp>
        <p:nvSpPr>
          <p:cNvPr id="520" name="TextBox 519"/>
          <p:cNvSpPr txBox="1"/>
          <p:nvPr/>
        </p:nvSpPr>
        <p:spPr>
          <a:xfrm>
            <a:off x="7630549" y="5202083"/>
            <a:ext cx="4478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2016</a:t>
            </a:r>
            <a:endParaRPr lang="es-ES" sz="1000" dirty="0"/>
          </a:p>
        </p:txBody>
      </p:sp>
      <p:sp>
        <p:nvSpPr>
          <p:cNvPr id="521" name="TextBox 520"/>
          <p:cNvSpPr txBox="1"/>
          <p:nvPr/>
        </p:nvSpPr>
        <p:spPr>
          <a:xfrm>
            <a:off x="8076804" y="5202083"/>
            <a:ext cx="5932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 smtClean="0"/>
              <a:t>2017 E</a:t>
            </a:r>
            <a:endParaRPr lang="es-ES" sz="1000" dirty="0"/>
          </a:p>
        </p:txBody>
      </p:sp>
      <p:graphicFrame>
        <p:nvGraphicFramePr>
          <p:cNvPr id="227" name="Object 22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15301303"/>
              </p:ext>
            </p:extLst>
          </p:nvPr>
        </p:nvGraphicFramePr>
        <p:xfrm>
          <a:off x="4991100" y="2362200"/>
          <a:ext cx="3819410" cy="117153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249" name="Chart" r:id="rId69" imgW="3819410" imgH="1171530" progId="MSGraph.Chart.8">
                  <p:embed followColorScheme="full"/>
                </p:oleObj>
              </mc:Choice>
              <mc:Fallback>
                <p:oleObj name="Chart" r:id="rId69" imgW="3819410" imgH="117153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4991100" y="2362200"/>
                        <a:ext cx="3819410" cy="117153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0" name="Object 169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47244117"/>
              </p:ext>
            </p:extLst>
          </p:nvPr>
        </p:nvGraphicFramePr>
        <p:xfrm>
          <a:off x="4838699" y="3086100"/>
          <a:ext cx="3762412" cy="2238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250" name="Chart" r:id="rId71" imgW="3762412" imgH="2238300" progId="MSGraph.Chart.8">
                  <p:embed followColorScheme="full"/>
                </p:oleObj>
              </mc:Choice>
              <mc:Fallback>
                <p:oleObj name="Chart" r:id="rId71" imgW="3762412" imgH="22383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4838699" y="3086100"/>
                        <a:ext cx="3762412" cy="2238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7" name="2 Marcador de texto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848475" y="3240088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4E76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961711-2F9F-4862-B296-AA3CEA7168D9}" type="datetime'''''''''''1''''''1''''''''''''''''''''''''''%'''''''">
              <a:rPr lang="es-ES" altLang="en-US" sz="800">
                <a:sym typeface="+mn-lt"/>
              </a:rPr>
              <a:pPr/>
              <a:t>11%</a:t>
            </a:fld>
            <a:endParaRPr lang="es-ES" sz="800" dirty="0">
              <a:sym typeface="+mn-lt"/>
            </a:endParaRPr>
          </a:p>
        </p:txBody>
      </p:sp>
      <p:sp>
        <p:nvSpPr>
          <p:cNvPr id="208" name="2 Marcador de texto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873875" y="3125788"/>
            <a:ext cx="158750" cy="122238"/>
          </a:xfrm>
          <a:prstGeom prst="rect">
            <a:avLst/>
          </a:prstGeom>
          <a:solidFill>
            <a:srgbClr val="B8DCE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AB29D2-3738-4D7C-8940-56E01C6518A0}" type="datetime'''''''''1''''%'''''''''''''''''''''''''''''''''''''''''">
              <a:rPr lang="es-ES" altLang="en-US" sz="800">
                <a:sym typeface="+mn-lt"/>
              </a:rPr>
              <a:pPr/>
              <a:t>1%</a:t>
            </a:fld>
            <a:endParaRPr lang="es-ES" sz="800" dirty="0">
              <a:sym typeface="+mn-lt"/>
            </a:endParaRPr>
          </a:p>
        </p:txBody>
      </p:sp>
      <p:sp>
        <p:nvSpPr>
          <p:cNvPr id="201" name="2 Marcador de texto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64288" y="3278188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C921C7-2997-41DB-8B7E-04BDBA1C8B08}" type="datetime'3''''.''''''''''''''20''''5'''''''''''''''''''''''''''">
              <a:rPr lang="es-ES" altLang="en-US" sz="1000" b="1"/>
              <a:pPr/>
              <a:t>3.205</a:t>
            </a:fld>
            <a:endParaRPr lang="es-ES" sz="1000" b="1" dirty="0">
              <a:sym typeface="+mn-lt"/>
            </a:endParaRPr>
          </a:p>
        </p:txBody>
      </p:sp>
      <p:sp>
        <p:nvSpPr>
          <p:cNvPr id="178" name="2 Marcador de texto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405563" y="5011738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D2CFCD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1050EA-A716-4742-9020-AE6565260987}" type="datetime'1''''''''''''''''1''%'''''''''">
              <a:rPr lang="es-ES" altLang="en-US" sz="8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s-ES" sz="800" dirty="0">
              <a:sym typeface="+mn-lt"/>
            </a:endParaRPr>
          </a:p>
        </p:txBody>
      </p:sp>
      <p:sp>
        <p:nvSpPr>
          <p:cNvPr id="179" name="2 Marcador de texto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405563" y="4525963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567C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3E2882-0EB6-4DFD-96B5-CFFA09156228}" type="datetime'4''''''''''''''''''''''7''''''''''''''%'''''''''''''''''''''">
              <a:rPr lang="es-ES" altLang="en-US" sz="8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2" name="2 Marcador de texto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405563" y="3892550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3FAE2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D8EEAB-DAD1-448A-A26E-FE8E83AF55F7}" type="datetime'''''''''''''''''''''''''''''''2''''''''''''''''''''''8''''''%'">
              <a:rPr lang="es-ES" altLang="en-US" sz="800">
                <a:solidFill>
                  <a:schemeClr val="bg1"/>
                </a:solidFill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3" name="2 Marcador de texto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405563" y="3544888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4E76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F3F64FD-0322-44C2-919B-AB3108AD5F87}" type="datetime'''''''''''''''''''''''1''''''''''3''''''''''''''''''''''''%'">
              <a:rPr lang="es-ES" altLang="en-US" sz="8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s-ES" sz="800" dirty="0">
              <a:sym typeface="+mn-lt"/>
            </a:endParaRPr>
          </a:p>
        </p:txBody>
      </p:sp>
      <p:sp>
        <p:nvSpPr>
          <p:cNvPr id="204" name="2 Marcador de texto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430963" y="3430588"/>
            <a:ext cx="158750" cy="122238"/>
          </a:xfrm>
          <a:prstGeom prst="rect">
            <a:avLst/>
          </a:prstGeom>
          <a:solidFill>
            <a:srgbClr val="B8DCE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1BE397-17B1-4C62-8A67-49BC014022DE}" type="datetime'''''''''''''''''''''''1''%'''''''''''''''''''''''''''''">
              <a:rPr lang="es-ES" altLang="en-US" sz="8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s-ES" sz="800" dirty="0">
              <a:sym typeface="+mn-lt"/>
            </a:endParaRPr>
          </a:p>
        </p:txBody>
      </p:sp>
      <p:sp>
        <p:nvSpPr>
          <p:cNvPr id="213" name="2 Marcador de texto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921375" y="3240088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16D3A5-E0E8-4A2D-880C-7476D3C12215}" type="datetime'3''''''.''''''''''''2''8''8'''''''''''''''''''''''''''''''">
              <a:rPr lang="es-ES" altLang="en-US" sz="1000" b="1"/>
              <a:pPr/>
              <a:t>3.288</a:t>
            </a:fld>
            <a:endParaRPr lang="es-ES" sz="1000" b="1" dirty="0">
              <a:sym typeface="+mn-lt"/>
            </a:endParaRPr>
          </a:p>
        </p:txBody>
      </p:sp>
      <p:sp>
        <p:nvSpPr>
          <p:cNvPr id="176" name="2 Marcador de texto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962650" y="4987925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D2CFCD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C4BA2B-8EBC-4C2F-94B6-9BD5F281D9B9}" type="datetime'''''1''''''''''''''''4''''''''''''''''''''''''''''''''''''''%'">
              <a:rPr lang="es-ES" altLang="en-US" sz="800">
                <a:sym typeface="+mn-lt"/>
              </a:rPr>
              <a:pPr/>
              <a:t>14%</a:t>
            </a:fld>
            <a:endParaRPr lang="es-ES" sz="800" dirty="0">
              <a:sym typeface="+mn-lt"/>
            </a:endParaRPr>
          </a:p>
        </p:txBody>
      </p:sp>
      <p:sp>
        <p:nvSpPr>
          <p:cNvPr id="177" name="2 Marcador de texto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962650" y="4487863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567C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121661-61AF-4A6C-B68A-B3F9DEB20DFF}" type="datetime'''''4''''''5''''''%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45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4" name="2 Marcador de texto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962650" y="3868738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3FAE2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3FB60F-6936-4424-9795-E2C9EFAC5521}" type="datetime'''''2''''''''''''''''''''''''''''''''7''''''''''''%''''''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27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5" name="2 Marcador de texto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962650" y="3516313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4E76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6F1A4A-FDE1-44E3-B688-3834536A298D}" type="datetime'''''''1''''''''''''''''''''''''''''4''''''''''%'''''''''">
              <a:rPr lang="es-ES" altLang="en-US" sz="800">
                <a:sym typeface="+mn-lt"/>
              </a:rPr>
              <a:pPr/>
              <a:t>14%</a:t>
            </a:fld>
            <a:endParaRPr lang="es-ES" sz="800" dirty="0">
              <a:sym typeface="+mn-lt"/>
            </a:endParaRPr>
          </a:p>
        </p:txBody>
      </p:sp>
      <p:sp>
        <p:nvSpPr>
          <p:cNvPr id="200" name="2 Marcador de texto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5988050" y="3392488"/>
            <a:ext cx="158750" cy="122238"/>
          </a:xfrm>
          <a:prstGeom prst="rect">
            <a:avLst/>
          </a:prstGeom>
          <a:solidFill>
            <a:srgbClr val="B8DCE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4CDF49-56F1-4C17-8D0D-EBE2936FEABE}" type="datetime'''''''''''''''''''''''''''''1''''''''''''%'''''''''''''''''''">
              <a:rPr lang="es-ES" altLang="en-US" sz="800">
                <a:sym typeface="+mn-lt"/>
              </a:rPr>
              <a:pPr/>
              <a:t>1%</a:t>
            </a:fld>
            <a:endParaRPr lang="es-ES" sz="800" dirty="0">
              <a:sym typeface="+mn-lt"/>
            </a:endParaRPr>
          </a:p>
        </p:txBody>
      </p:sp>
      <p:sp>
        <p:nvSpPr>
          <p:cNvPr id="191" name="2 Marcador de texto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483225" y="3346450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D24DEB-54C5-4802-8900-FB1D13D1B5EE}" type="datetime'''''''''''''''''''''''''''3''''.''12''''''''''5'''''''">
              <a:rPr lang="es-ES" altLang="en-US" sz="1000" b="1"/>
              <a:pPr/>
              <a:t>3.125</a:t>
            </a:fld>
            <a:endParaRPr lang="es-ES" sz="1000" b="1" dirty="0">
              <a:sym typeface="+mn-lt"/>
            </a:endParaRPr>
          </a:p>
        </p:txBody>
      </p:sp>
      <p:sp>
        <p:nvSpPr>
          <p:cNvPr id="212" name="2 Marcador de texto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549900" y="5087938"/>
            <a:ext cx="158750" cy="122238"/>
          </a:xfrm>
          <a:prstGeom prst="rect">
            <a:avLst/>
          </a:prstGeom>
          <a:solidFill>
            <a:srgbClr val="D2CFCD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357B11-6126-4A7D-880B-8015B53C9621}" type="datetime'2''''''''''%'''''''''''''''''''''''''''''''''''''">
              <a:rPr lang="es-ES" altLang="en-US" sz="800">
                <a:sym typeface="+mn-lt"/>
              </a:rPr>
              <a:pPr/>
              <a:t>2%</a:t>
            </a:fld>
            <a:endParaRPr lang="es-ES" sz="800" dirty="0">
              <a:sym typeface="+mn-lt"/>
            </a:endParaRPr>
          </a:p>
        </p:txBody>
      </p:sp>
      <p:sp>
        <p:nvSpPr>
          <p:cNvPr id="171" name="2 Marcador de texto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524500" y="4673600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567C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6B543E-A0BF-4515-AFEA-60781FA57C3C}" type="datetime'''''4''''''''''''9''''''''''''''''''''''''''%''''''''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49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72" name="2 Marcador de texto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524500" y="4059238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3FAE2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DF2565-906E-49A2-BB7D-04FC56038696}" type="datetime'''2''''''''''''''6''''''''''''''%'''">
              <a:rPr lang="es-ES" altLang="en-US" sz="800">
                <a:solidFill>
                  <a:schemeClr val="bg1"/>
                </a:solidFill>
                <a:sym typeface="+mn-lt"/>
              </a:rPr>
              <a:pPr/>
              <a:t>26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74" name="2 Marcador de texto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524500" y="3697288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4E76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C6E966-5AB0-42CB-BFDD-B7CBF6EF5134}" type="datetime'''''''''''''''''18''''%'''">
              <a:rPr lang="es-ES" altLang="en-US" sz="800">
                <a:sym typeface="+mn-lt"/>
              </a:rPr>
              <a:pPr/>
              <a:t>18%</a:t>
            </a:fld>
            <a:endParaRPr lang="es-ES" sz="800" dirty="0">
              <a:sym typeface="+mn-lt"/>
            </a:endParaRPr>
          </a:p>
        </p:txBody>
      </p:sp>
      <p:sp>
        <p:nvSpPr>
          <p:cNvPr id="175" name="2 Marcador de texto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549900" y="3506788"/>
            <a:ext cx="158750" cy="122238"/>
          </a:xfrm>
          <a:prstGeom prst="rect">
            <a:avLst/>
          </a:prstGeom>
          <a:solidFill>
            <a:srgbClr val="B8DCE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F05ABA-DAB7-4794-8D6F-DDC4F3E09889}" type="datetime'''''''''''''''''''''''''''''''''''''5''''%'''''''">
              <a:rPr lang="es-ES" altLang="en-US" sz="800">
                <a:sym typeface="+mn-lt"/>
              </a:rPr>
              <a:pPr/>
              <a:t>5%</a:t>
            </a:fld>
            <a:endParaRPr lang="es-ES" sz="800" dirty="0">
              <a:sym typeface="+mn-lt"/>
            </a:endParaRPr>
          </a:p>
        </p:txBody>
      </p:sp>
      <p:sp>
        <p:nvSpPr>
          <p:cNvPr id="194" name="2 Marcador de texto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045075" y="3382963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E675D7-90C4-4C9A-B40D-B5DC563722E5}" type="datetime'''''''''''''3''''''''''''''.''''''''''''''''''''0''''''5''''7'">
              <a:rPr lang="es-ES" altLang="en-US" sz="1000" b="1"/>
              <a:pPr/>
              <a:t>3.057</a:t>
            </a:fld>
            <a:endParaRPr lang="es-ES" sz="1000" b="1" dirty="0">
              <a:sym typeface="+mn-lt"/>
            </a:endParaRPr>
          </a:p>
        </p:txBody>
      </p:sp>
      <p:sp>
        <p:nvSpPr>
          <p:cNvPr id="188" name="2 Marcador de texto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111750" y="5068888"/>
            <a:ext cx="158750" cy="122238"/>
          </a:xfrm>
          <a:prstGeom prst="rect">
            <a:avLst/>
          </a:prstGeom>
          <a:solidFill>
            <a:srgbClr val="D2CFCD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ACBC7A-4537-450E-ACF8-6CB508C1D279}" type="datetime'4''%'''''''''''''''">
              <a:rPr lang="es-ES" altLang="en-US" sz="800">
                <a:sym typeface="+mn-lt"/>
              </a:rPr>
              <a:pPr/>
              <a:t>4%</a:t>
            </a:fld>
            <a:endParaRPr lang="es-ES" sz="800" dirty="0">
              <a:sym typeface="+mn-lt"/>
            </a:endParaRPr>
          </a:p>
        </p:txBody>
      </p:sp>
      <p:sp>
        <p:nvSpPr>
          <p:cNvPr id="189" name="2 Marcador de texto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086350" y="4630738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567C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687C25-B997-499D-A4AE-0879CA9EFFA7}" type="datetime'''''''''''''''''''''''''''''5''''''''1''''''''''''''''%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51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2" name="2 Marcador de texto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086350" y="4016375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3FAE2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0A498D-1490-4A9E-8E09-692B2419BF9F}" type="datetime'''''2''''''6''''''''''%''''''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26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5" name="2 Marcador de texto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086350" y="3687763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4E76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F59B5E-E96B-49AD-808D-60DA26C15C04}" type="datetime'''''''''''''''''''''''''''''''''''''''''''''''1''5''''%'''''''">
              <a:rPr lang="es-ES" altLang="en-US" sz="800">
                <a:sym typeface="+mn-lt"/>
              </a:rPr>
              <a:pPr/>
              <a:t>15%</a:t>
            </a:fld>
            <a:endParaRPr lang="es-ES" sz="800" dirty="0">
              <a:sym typeface="+mn-lt"/>
            </a:endParaRPr>
          </a:p>
        </p:txBody>
      </p:sp>
      <p:sp>
        <p:nvSpPr>
          <p:cNvPr id="196" name="2 Marcador de texto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111750" y="3535363"/>
            <a:ext cx="158750" cy="122238"/>
          </a:xfrm>
          <a:prstGeom prst="rect">
            <a:avLst/>
          </a:prstGeom>
          <a:solidFill>
            <a:srgbClr val="B8DCE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42F9A6-4BAB-412E-9FA8-908D05F813D7}" type="datetime'''''''''''''''''''''''4''''''''''''''''%'''''''''''''''''">
              <a:rPr lang="es-ES" altLang="en-US" sz="800">
                <a:sym typeface="+mn-lt"/>
              </a:rPr>
              <a:pPr/>
              <a:t>4%</a:t>
            </a:fld>
            <a:endParaRPr lang="es-ES" sz="800" dirty="0">
              <a:sym typeface="+mn-lt"/>
            </a:endParaRPr>
          </a:p>
        </p:txBody>
      </p:sp>
      <p:sp>
        <p:nvSpPr>
          <p:cNvPr id="206" name="2 Marcador de texto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848475" y="3578225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3FAE2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0CEE12-DA8D-4D63-9CE0-6F678513E95A}" type="datetime'''''''''''''''''''''''''''''''''2''''''''3''''''''''''''%'''">
              <a:rPr lang="es-ES" altLang="en-US" sz="800">
                <a:solidFill>
                  <a:schemeClr val="bg1"/>
                </a:solidFill>
                <a:sym typeface="+mn-lt"/>
              </a:rPr>
              <a:pPr/>
              <a:t>23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1" name="2 Marcador de texto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848475" y="4183063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567C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93F2D9-38FF-47A3-A0FA-62CF9B7E8E18}" type="datetime'''''3''''''''''''8%''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38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6" name="2 Marcador de texto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286625" y="3759200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4E76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6E160D-95F5-4E8D-AC30-C58132F17943}" type="datetime'''''''''''''''''''''''''''1''''''''''''5''''''''''''''%'">
              <a:rPr lang="es-ES" altLang="en-US" sz="800">
                <a:sym typeface="+mn-lt"/>
              </a:rPr>
              <a:pPr/>
              <a:t>15%</a:t>
            </a:fld>
            <a:endParaRPr lang="es-ES" sz="800" dirty="0">
              <a:sym typeface="+mn-lt"/>
            </a:endParaRPr>
          </a:p>
        </p:txBody>
      </p:sp>
      <p:sp>
        <p:nvSpPr>
          <p:cNvPr id="221" name="2 Marcador de texto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750175" y="3654425"/>
            <a:ext cx="158750" cy="122238"/>
          </a:xfrm>
          <a:prstGeom prst="rect">
            <a:avLst/>
          </a:prstGeom>
          <a:solidFill>
            <a:srgbClr val="B8DCE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850708-3734-475C-8142-327339C9F7B5}" type="datetime'''''''''''''1''''''''''''''''''''''''''''%'''''''''''''''''''">
              <a:rPr lang="es-ES" altLang="en-US" sz="800">
                <a:sym typeface="+mn-lt"/>
              </a:rPr>
              <a:pPr/>
              <a:t>1%</a:t>
            </a:fld>
            <a:endParaRPr lang="es-ES" sz="800" dirty="0">
              <a:sym typeface="+mn-lt"/>
            </a:endParaRPr>
          </a:p>
        </p:txBody>
      </p:sp>
      <p:sp>
        <p:nvSpPr>
          <p:cNvPr id="223" name="2 Marcador de texto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162925" y="4749800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567C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B12BE3-C0D4-4994-8CC9-12F027651416}" type="datetime'''''''''4''''''''''''''''''9''''''''''''''''''''''''''''''''%'">
              <a:rPr lang="es-ES" altLang="en-US" sz="800">
                <a:solidFill>
                  <a:schemeClr val="bg1"/>
                </a:solidFill>
                <a:sym typeface="+mn-lt"/>
              </a:rPr>
              <a:pPr/>
              <a:t>49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20" name="2 Marcador de texto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724775" y="3778250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4E76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FE58AC-A2D0-4F30-B860-45BB16956FA6}" type="datetime'''''''''''''1''''''''''5''''''''''''''''''''''''%'''''''">
              <a:rPr lang="es-ES" altLang="en-US" sz="800">
                <a:sym typeface="+mn-lt"/>
              </a:rPr>
              <a:pPr/>
              <a:t>15%</a:t>
            </a:fld>
            <a:endParaRPr lang="es-ES" sz="800" dirty="0">
              <a:sym typeface="+mn-lt"/>
            </a:endParaRPr>
          </a:p>
        </p:txBody>
      </p:sp>
      <p:sp>
        <p:nvSpPr>
          <p:cNvPr id="222" name="2 Marcador de texto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8121650" y="3546475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3CEEAF-9995-42F1-9386-8AE390360DE2}" type="datetime'2''.''''7''''''''''''''''5''''''''''''''0'''''''''''''''''">
              <a:rPr lang="es-ES" altLang="en-US" sz="1000" b="1"/>
              <a:pPr/>
              <a:t>2.750</a:t>
            </a:fld>
            <a:endParaRPr lang="es-ES" sz="1000" b="1" dirty="0">
              <a:sym typeface="+mn-lt"/>
            </a:endParaRPr>
          </a:p>
        </p:txBody>
      </p:sp>
      <p:sp>
        <p:nvSpPr>
          <p:cNvPr id="226" name="2 Marcador de texto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8188325" y="3711575"/>
            <a:ext cx="158750" cy="122238"/>
          </a:xfrm>
          <a:prstGeom prst="rect">
            <a:avLst/>
          </a:prstGeom>
          <a:solidFill>
            <a:srgbClr val="B8DCE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5C2C77-0C39-4F33-834A-B8513BC24E62}" type="datetime'''7''''''''''''''''''''''''%'''''''''''''''">
              <a:rPr lang="es-ES" altLang="en-US" sz="8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s-ES" sz="800" dirty="0">
              <a:sym typeface="+mn-lt"/>
            </a:endParaRPr>
          </a:p>
        </p:txBody>
      </p:sp>
      <p:sp>
        <p:nvSpPr>
          <p:cNvPr id="224" name="2 Marcador de texto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162925" y="4187825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3FAE2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6CA7F3-058F-4402-8149-29AAACA811B0}" type="datetime'''3''''''''''''''''''''''''''''''''0''''''''''%''''''''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30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5" name="2 Marcador de texto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807200" y="2973388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ECAA60-E215-48D0-98BB-7FE97E255157}" type="datetime'''''''''3''.''''7''9''''''''''''''''''0'''''''''''''''''''''">
              <a:rPr lang="es-ES" altLang="en-US" sz="1000" b="1"/>
              <a:pPr/>
              <a:t>3.790</a:t>
            </a:fld>
            <a:endParaRPr lang="es-ES" sz="1000" b="1" dirty="0">
              <a:sym typeface="+mn-lt"/>
            </a:endParaRPr>
          </a:p>
        </p:txBody>
      </p:sp>
      <p:sp>
        <p:nvSpPr>
          <p:cNvPr id="180" name="2 Marcador de texto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848475" y="4830763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D2CFCD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200E3E-4A80-4BFF-BEE9-72FE6FB673C2}" type="datetime'2''''''''''''''''7''''''''''''''%'''''''''''''''">
              <a:rPr lang="es-ES" altLang="en-US" sz="800">
                <a:sym typeface="+mn-lt"/>
              </a:rPr>
              <a:pPr/>
              <a:t>27%</a:t>
            </a:fld>
            <a:endParaRPr lang="es-ES" sz="800" dirty="0">
              <a:sym typeface="+mn-lt"/>
            </a:endParaRPr>
          </a:p>
        </p:txBody>
      </p:sp>
      <p:sp>
        <p:nvSpPr>
          <p:cNvPr id="187" name="2 Marcador de texto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312025" y="3635375"/>
            <a:ext cx="158750" cy="122238"/>
          </a:xfrm>
          <a:prstGeom prst="rect">
            <a:avLst/>
          </a:prstGeom>
          <a:solidFill>
            <a:srgbClr val="B8DCE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F2F56D-6B00-4CA9-ABC8-18B9206BDE3D}" type="datetime'''''''''''''''''''''''1''''''''''''''''''''''''%'''''">
              <a:rPr lang="es-ES" altLang="en-US" sz="800">
                <a:sym typeface="+mn-lt"/>
              </a:rPr>
              <a:pPr/>
              <a:t>1%</a:t>
            </a:fld>
            <a:endParaRPr lang="es-ES" sz="800" dirty="0">
              <a:sym typeface="+mn-lt"/>
            </a:endParaRPr>
          </a:p>
        </p:txBody>
      </p:sp>
      <p:sp>
        <p:nvSpPr>
          <p:cNvPr id="182" name="2 Marcador de texto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7245350" y="3482975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5A3799-70AC-4E20-A9E5-E677A5A48593}" type="datetime'2.''''''8''''''''''''''2''''''1'">
              <a:rPr lang="es-ES" altLang="en-US" sz="1000" b="1"/>
              <a:pPr/>
              <a:t>2.821</a:t>
            </a:fld>
            <a:endParaRPr lang="es-ES" sz="1000" b="1" dirty="0">
              <a:sym typeface="+mn-lt"/>
            </a:endParaRPr>
          </a:p>
        </p:txBody>
      </p:sp>
      <p:sp>
        <p:nvSpPr>
          <p:cNvPr id="218" name="2 Marcador de texto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724775" y="4668838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567C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4C18FD-A747-4D69-B88D-DE48CEB93D06}" type="datetime'''4''''8''''''''''''''''''''''''''''''''''''''''''''''%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48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25" name="2 Marcador de texto"/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8162925" y="3868738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4E76A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BF7636-BAA8-4354-A340-EE1A7AC75E00}" type="datetime'''1''''5''''%'''''''''''''''''''''''">
              <a:rPr lang="es-ES" altLang="en-US" sz="8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%</a:t>
            </a:fld>
            <a:endParaRPr lang="es-ES" sz="800" dirty="0">
              <a:sym typeface="+mn-lt"/>
            </a:endParaRPr>
          </a:p>
        </p:txBody>
      </p:sp>
      <p:sp>
        <p:nvSpPr>
          <p:cNvPr id="183" name="2 Marcador de texto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312025" y="5049838"/>
            <a:ext cx="158750" cy="122238"/>
          </a:xfrm>
          <a:prstGeom prst="rect">
            <a:avLst/>
          </a:prstGeom>
          <a:solidFill>
            <a:srgbClr val="D2CFCD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D27801-0815-4ADD-B26E-141B9EB18E2E}" type="datetime'''''''7''''''''''''%'''''''''''''''''">
              <a:rPr lang="es-ES" altLang="en-US" sz="800">
                <a:sym typeface="+mn-lt"/>
              </a:rPr>
              <a:pPr/>
              <a:t>7%</a:t>
            </a:fld>
            <a:endParaRPr lang="es-ES" sz="800" dirty="0">
              <a:sym typeface="+mn-lt"/>
            </a:endParaRPr>
          </a:p>
        </p:txBody>
      </p:sp>
      <p:sp>
        <p:nvSpPr>
          <p:cNvPr id="184" name="2 Marcador de texto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7286625" y="4640263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567C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F20EB74-1BA6-4C8D-872B-CA258C376DF3}" type="datetime'''4''''9''''''''%''''''''''''''''''''''''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49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5" name="2 Marcador de texto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286625" y="4078288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3FAE2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FEDA90-4255-418E-B5AD-BB531ACB447A}" type="datetime'''''''''''''''''''''''''''''''''''28''''%''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28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7" name="2 Marcador de texto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750175" y="5059363"/>
            <a:ext cx="158750" cy="122238"/>
          </a:xfrm>
          <a:prstGeom prst="rect">
            <a:avLst/>
          </a:prstGeom>
          <a:solidFill>
            <a:srgbClr val="D2CFCD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6A74A7-F550-4D2B-B6F5-7A10A0EFCD9B}" type="datetime'''''''''''''''''''''''''''''''6%'''''''">
              <a:rPr lang="es-ES" altLang="en-US" sz="800">
                <a:sym typeface="+mn-lt"/>
              </a:rPr>
              <a:pPr/>
              <a:t>6%</a:t>
            </a:fld>
            <a:endParaRPr lang="es-ES" sz="800" dirty="0">
              <a:sym typeface="+mn-lt"/>
            </a:endParaRPr>
          </a:p>
        </p:txBody>
      </p:sp>
      <p:sp>
        <p:nvSpPr>
          <p:cNvPr id="216" name="2 Marcador de texto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683500" y="3502025"/>
            <a:ext cx="2936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187F56-7D73-4580-AAA5-9B1A3DD588DB}" type="datetime'''''''2''''''''''''''''''''''''''''''''.''''7''''''''87'">
              <a:rPr lang="es-ES" altLang="en-US" sz="1000" b="1"/>
              <a:pPr/>
              <a:t>2.787</a:t>
            </a:fld>
            <a:endParaRPr lang="es-ES" sz="1000" b="1" dirty="0">
              <a:sym typeface="+mn-lt"/>
            </a:endParaRPr>
          </a:p>
        </p:txBody>
      </p:sp>
      <p:sp>
        <p:nvSpPr>
          <p:cNvPr id="219" name="2 Marcador de texto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7724775" y="4106863"/>
            <a:ext cx="209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3FAE29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C419E3-6C8D-4814-A035-5EE3114E68FD}" type="datetime'''''''''''3''''''''''''''0''''''''''%'''''''">
              <a:rPr lang="es-ES" altLang="en-US" sz="800">
                <a:solidFill>
                  <a:schemeClr val="bg1"/>
                </a:solidFill>
                <a:sym typeface="+mn-lt"/>
              </a:rPr>
              <a:pPr/>
              <a:t>30%</a:t>
            </a:fld>
            <a:endParaRPr lang="es-ES" sz="800" dirty="0">
              <a:solidFill>
                <a:schemeClr val="bg1"/>
              </a:solidFill>
              <a:sym typeface="+mn-lt"/>
            </a:endParaRP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>
          <a:blip r:embed="rId73"/>
          <a:stretch>
            <a:fillRect/>
          </a:stretch>
        </p:blipFill>
        <p:spPr>
          <a:xfrm>
            <a:off x="323410" y="3108391"/>
            <a:ext cx="4160774" cy="2457706"/>
          </a:xfrm>
          <a:prstGeom prst="rect">
            <a:avLst/>
          </a:prstGeom>
        </p:spPr>
      </p:pic>
      <p:sp>
        <p:nvSpPr>
          <p:cNvPr id="68" name="Rectangle 67"/>
          <p:cNvSpPr/>
          <p:nvPr>
            <p:custDataLst>
              <p:tags r:id="rId53"/>
            </p:custDataLst>
          </p:nvPr>
        </p:nvSpPr>
        <p:spPr bwMode="auto">
          <a:xfrm>
            <a:off x="6491288" y="5467350"/>
            <a:ext cx="142875" cy="106363"/>
          </a:xfrm>
          <a:prstGeom prst="rect">
            <a:avLst/>
          </a:prstGeom>
          <a:solidFill>
            <a:srgbClr val="3FAE29"/>
          </a:solidFill>
          <a:ln w="9525">
            <a:solidFill>
              <a:srgbClr val="FFFFFF"/>
            </a:solidFill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9" name="Rectangle 68"/>
          <p:cNvSpPr/>
          <p:nvPr>
            <p:custDataLst>
              <p:tags r:id="rId54"/>
            </p:custDataLst>
          </p:nvPr>
        </p:nvSpPr>
        <p:spPr bwMode="auto">
          <a:xfrm>
            <a:off x="7250113" y="5467350"/>
            <a:ext cx="142875" cy="106363"/>
          </a:xfrm>
          <a:prstGeom prst="rect">
            <a:avLst/>
          </a:prstGeom>
          <a:solidFill>
            <a:srgbClr val="00567C"/>
          </a:solidFill>
          <a:ln w="9525">
            <a:solidFill>
              <a:srgbClr val="FFFFFF"/>
            </a:solidFill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0" name="Rectangle 69"/>
          <p:cNvSpPr/>
          <p:nvPr>
            <p:custDataLst>
              <p:tags r:id="rId55"/>
            </p:custDataLst>
          </p:nvPr>
        </p:nvSpPr>
        <p:spPr bwMode="auto">
          <a:xfrm>
            <a:off x="8056563" y="5467350"/>
            <a:ext cx="142875" cy="106363"/>
          </a:xfrm>
          <a:prstGeom prst="rect">
            <a:avLst/>
          </a:prstGeom>
          <a:solidFill>
            <a:srgbClr val="D2CFCD"/>
          </a:solidFill>
          <a:ln w="9525">
            <a:solidFill>
              <a:srgbClr val="FFFFFF"/>
            </a:solidFill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7" name="Rectangle 66"/>
          <p:cNvSpPr/>
          <p:nvPr>
            <p:custDataLst>
              <p:tags r:id="rId56"/>
            </p:custDataLst>
          </p:nvPr>
        </p:nvSpPr>
        <p:spPr bwMode="auto">
          <a:xfrm>
            <a:off x="5595938" y="5467350"/>
            <a:ext cx="142875" cy="106363"/>
          </a:xfrm>
          <a:prstGeom prst="rect">
            <a:avLst/>
          </a:prstGeom>
          <a:solidFill>
            <a:srgbClr val="C4E76A"/>
          </a:solidFill>
          <a:ln w="9525">
            <a:solidFill>
              <a:srgbClr val="FFFFFF"/>
            </a:solidFill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6" name="Rectangle 65"/>
          <p:cNvSpPr/>
          <p:nvPr>
            <p:custDataLst>
              <p:tags r:id="rId57"/>
            </p:custDataLst>
          </p:nvPr>
        </p:nvSpPr>
        <p:spPr bwMode="auto">
          <a:xfrm>
            <a:off x="5027613" y="5467350"/>
            <a:ext cx="142875" cy="106363"/>
          </a:xfrm>
          <a:prstGeom prst="rect">
            <a:avLst/>
          </a:prstGeom>
          <a:solidFill>
            <a:srgbClr val="B8DCE1"/>
          </a:solidFill>
          <a:ln w="9525">
            <a:solidFill>
              <a:srgbClr val="FFFFFF"/>
            </a:solidFill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6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250238" y="5462588"/>
            <a:ext cx="2349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79BD711-5C34-461F-951A-114EB2CF0084}" type="datetime'''''''''''O''''t''r''o''''''''''''''''''''s'''''''''''''">
              <a:rPr lang="es-ES" altLang="en-US" sz="8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Otros</a:t>
            </a:fld>
            <a:endParaRPr lang="es-ES" sz="800" b="1" dirty="0">
              <a:sym typeface="+mn-lt"/>
            </a:endParaRPr>
          </a:p>
        </p:txBody>
      </p:sp>
      <p:sp>
        <p:nvSpPr>
          <p:cNvPr id="231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5789613" y="5462588"/>
            <a:ext cx="6000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8C66E1-9082-4EC8-BB9D-D2F4980B90A8}" type="datetime'R''e''g''''asi''''''''f''''ic''''a''''c''''ió''''''''n'">
              <a:rPr lang="es-ES" altLang="en-US" sz="8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Regasificación</a:t>
            </a:fld>
            <a:endParaRPr lang="es-ES" sz="800" b="1" dirty="0">
              <a:sym typeface="+mn-lt"/>
            </a:endParaRPr>
          </a:p>
        </p:txBody>
      </p:sp>
      <p:sp>
        <p:nvSpPr>
          <p:cNvPr id="239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443788" y="5462588"/>
            <a:ext cx="5111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877F7F7-406C-4808-8395-7A5E125F58FD}" type="datetime'D''''i''''s''''t''''''''ri''b''''''''''''uc''''''i''ó''''n'''">
              <a:rPr lang="es-ES" altLang="en-US" sz="8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istribución</a:t>
            </a:fld>
            <a:endParaRPr lang="es-ES" sz="800" b="1" dirty="0">
              <a:sym typeface="+mn-lt"/>
            </a:endParaRPr>
          </a:p>
        </p:txBody>
      </p:sp>
      <p:sp>
        <p:nvSpPr>
          <p:cNvPr id="238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684963" y="5462588"/>
            <a:ext cx="4635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3FB652-817A-499A-A9F8-9C2DB9F11258}" type="datetime'''T''''r''''''''an''''''s''p''o''''''''''''''''''rte'''''''">
              <a:rPr lang="es-ES" altLang="en-US" sz="8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Transporte</a:t>
            </a:fld>
            <a:endParaRPr lang="es-ES" sz="800" b="1" dirty="0">
              <a:sym typeface="+mn-lt"/>
            </a:endParaRPr>
          </a:p>
        </p:txBody>
      </p:sp>
      <p:sp>
        <p:nvSpPr>
          <p:cNvPr id="237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5221288" y="5462588"/>
            <a:ext cx="2730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02F784-0809-4236-A530-362C25693DB0}" type="datetime'A''''''''''''''A''''.''''''''S''''''S''''''.'''''''''''''''">
              <a:rPr lang="es-ES" altLang="en-US" sz="800" b="1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A.SS.</a:t>
            </a:fld>
            <a:endParaRPr lang="es-ES" sz="800" b="1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57416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>
            <p:custDataLst>
              <p:tags r:id="rId2"/>
            </p:custDataLst>
          </p:nvPr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>
            <p:custDataLst>
              <p:tags r:id="rId3"/>
            </p:custDataLst>
          </p:nvPr>
        </p:nvSpPr>
        <p:spPr>
          <a:xfrm>
            <a:off x="251520" y="1001936"/>
            <a:ext cx="849694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La solución planteada al problema del déficit tarifario en el sector gasista en España se ha centrado en la contención de costes  y la paralización de aquellas inversiones que no sean absolutamente imprescindibles y varios ajustes retributivos, encaminados todos ellos a asegurar la competitividad del gas natural como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combustible</a:t>
            </a:r>
            <a:endParaRPr lang="es-ES" sz="1600" dirty="0">
              <a:solidFill>
                <a:srgbClr val="40404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>
          <a:xfrm>
            <a:off x="8244408" y="6429396"/>
            <a:ext cx="532894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7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243" name="242 Conector recto"/>
          <p:cNvCxnSpPr/>
          <p:nvPr>
            <p:custDataLst>
              <p:tags r:id="rId5"/>
            </p:custDataLst>
          </p:nvPr>
        </p:nvCxnSpPr>
        <p:spPr>
          <a:xfrm>
            <a:off x="289620" y="6359248"/>
            <a:ext cx="8530852" cy="9606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tangle 122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5486896" y="635924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laboración propia; BOE]</a:t>
            </a:r>
          </a:p>
        </p:txBody>
      </p:sp>
      <p:sp>
        <p:nvSpPr>
          <p:cNvPr id="290" name="289 Rectángulo"/>
          <p:cNvSpPr/>
          <p:nvPr>
            <p:custDataLst>
              <p:tags r:id="rId7"/>
            </p:custDataLst>
          </p:nvPr>
        </p:nvSpPr>
        <p:spPr>
          <a:xfrm>
            <a:off x="314748" y="2223651"/>
            <a:ext cx="8501122" cy="572400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91" name="290 CuadroTexto"/>
          <p:cNvSpPr txBox="1"/>
          <p:nvPr>
            <p:custDataLst>
              <p:tags r:id="rId8"/>
            </p:custDataLst>
          </p:nvPr>
        </p:nvSpPr>
        <p:spPr>
          <a:xfrm>
            <a:off x="357158" y="2192541"/>
            <a:ext cx="839130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En este contexto, se aprobó en 2012 el Real Decreto-Ley 13/2012 encaminado a conseguir la sostenibilidad económica en el sector gasista en España y, a finales de año, la Orden IET/2812/2012 que modificó el factor de eficiencia </a:t>
            </a:r>
            <a:r>
              <a:rPr lang="es-ES" sz="1200" i="1" dirty="0" smtClean="0">
                <a:solidFill>
                  <a:srgbClr val="404040"/>
                </a:solidFill>
                <a:latin typeface="+mj-lt"/>
              </a:rPr>
              <a:t>f 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a valor 0 para el año 2013, afectando a las actividades reguladas de transporte y distribución</a:t>
            </a:r>
          </a:p>
          <a:p>
            <a:pPr>
              <a:spcBef>
                <a:spcPct val="0"/>
              </a:spcBef>
              <a:defRPr/>
            </a:pPr>
            <a:endParaRPr lang="es-ES" sz="1000" dirty="0" smtClean="0">
              <a:solidFill>
                <a:srgbClr val="00567C"/>
              </a:solidFill>
              <a:latin typeface="+mj-lt"/>
            </a:endParaRPr>
          </a:p>
        </p:txBody>
      </p:sp>
      <p:cxnSp>
        <p:nvCxnSpPr>
          <p:cNvPr id="292" name="291 Conector recto"/>
          <p:cNvCxnSpPr/>
          <p:nvPr>
            <p:custDataLst>
              <p:tags r:id="rId9"/>
            </p:custDataLst>
          </p:nvPr>
        </p:nvCxnSpPr>
        <p:spPr>
          <a:xfrm>
            <a:off x="314748" y="20945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16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9246" y="2976843"/>
            <a:ext cx="7710386" cy="2777621"/>
          </a:xfrm>
          <a:prstGeom prst="rect">
            <a:avLst/>
          </a:prstGeom>
          <a:solidFill>
            <a:srgbClr val="C4E76A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11113" indent="-22225" algn="ctr" defTabSz="734940"/>
            <a:endParaRPr lang="es-ES" sz="800" b="1" dirty="0">
              <a:solidFill>
                <a:srgbClr val="00567C"/>
              </a:solidFill>
              <a:latin typeface="+mj-lt"/>
            </a:endParaRPr>
          </a:p>
        </p:txBody>
      </p:sp>
      <p:sp>
        <p:nvSpPr>
          <p:cNvPr id="42" name="41 CuadroTexto"/>
          <p:cNvSpPr txBox="1"/>
          <p:nvPr>
            <p:custDataLst>
              <p:tags r:id="rId11"/>
            </p:custDataLst>
          </p:nvPr>
        </p:nvSpPr>
        <p:spPr>
          <a:xfrm>
            <a:off x="726778" y="3368570"/>
            <a:ext cx="7582380" cy="22865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>
            <a:noAutofit/>
          </a:bodyPr>
          <a:lstStyle/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Suspensión </a:t>
            </a:r>
            <a:r>
              <a:rPr lang="es-ES" sz="1100" dirty="0">
                <a:latin typeface="+mj-lt"/>
              </a:rPr>
              <a:t>de la tramitación de procedimientos a nuevas plantas de regasificación </a:t>
            </a:r>
            <a:r>
              <a:rPr lang="es-ES" sz="1100" dirty="0" smtClean="0">
                <a:latin typeface="+mj-lt"/>
              </a:rPr>
              <a:t>peninsulares</a:t>
            </a:r>
          </a:p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Paralización </a:t>
            </a:r>
            <a:r>
              <a:rPr lang="es-ES" sz="1100" dirty="0">
                <a:latin typeface="+mj-lt"/>
              </a:rPr>
              <a:t>de la puesta en servicio (hibernación) de la planta de regasificación de </a:t>
            </a:r>
            <a:r>
              <a:rPr lang="es-ES" sz="1100" dirty="0">
                <a:latin typeface="+mj-lt"/>
              </a:rPr>
              <a:t>Musel</a:t>
            </a:r>
            <a:r>
              <a:rPr lang="es-ES" sz="1100" dirty="0">
                <a:latin typeface="+mj-lt"/>
              </a:rPr>
              <a:t> hasta que el crecimiento de la demanda lo </a:t>
            </a:r>
            <a:r>
              <a:rPr lang="es-ES" sz="1100" dirty="0" smtClean="0">
                <a:latin typeface="+mj-lt"/>
              </a:rPr>
              <a:t>justifique </a:t>
            </a:r>
          </a:p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Suspensión </a:t>
            </a:r>
            <a:r>
              <a:rPr lang="es-ES" sz="1100" dirty="0">
                <a:latin typeface="+mj-lt"/>
              </a:rPr>
              <a:t>de la concesión de autorización administrativa a nuevas infraestructuras de transporte y estaciones de regulación y medida (salvo los ligados a las conexiones internacionales de </a:t>
            </a:r>
            <a:r>
              <a:rPr lang="es-ES" sz="1100" dirty="0">
                <a:latin typeface="+mj-lt"/>
              </a:rPr>
              <a:t>Larrau</a:t>
            </a:r>
            <a:r>
              <a:rPr lang="es-ES" sz="1100" dirty="0">
                <a:latin typeface="+mj-lt"/>
              </a:rPr>
              <a:t> y </a:t>
            </a:r>
            <a:r>
              <a:rPr lang="es-ES" sz="1100" dirty="0">
                <a:latin typeface="+mj-lt"/>
              </a:rPr>
              <a:t>Biriatou</a:t>
            </a:r>
            <a:r>
              <a:rPr lang="es-ES" sz="1100" dirty="0" smtClean="0">
                <a:latin typeface="+mj-lt"/>
              </a:rPr>
              <a:t>)</a:t>
            </a:r>
          </a:p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Revisión de la </a:t>
            </a:r>
            <a:r>
              <a:rPr lang="es-ES" sz="1100" dirty="0">
                <a:latin typeface="+mj-lt"/>
              </a:rPr>
              <a:t>retribución de los nuevos </a:t>
            </a:r>
            <a:r>
              <a:rPr lang="es-ES" sz="1100" dirty="0" smtClean="0">
                <a:latin typeface="+mj-lt"/>
              </a:rPr>
              <a:t>almacenamientos</a:t>
            </a:r>
          </a:p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Eliminación </a:t>
            </a:r>
            <a:r>
              <a:rPr lang="es-ES" sz="1100" dirty="0">
                <a:latin typeface="+mj-lt"/>
              </a:rPr>
              <a:t>de retribuciones específicas a la actividad de distribución, que se habían diseñado para incentivar la gasificación de nuevos municipios</a:t>
            </a:r>
            <a:r>
              <a:rPr lang="es-ES" sz="1100" dirty="0" smtClean="0">
                <a:latin typeface="+mj-lt"/>
              </a:rPr>
              <a:t>. Restricción </a:t>
            </a:r>
            <a:r>
              <a:rPr lang="es-ES" sz="1100" dirty="0">
                <a:latin typeface="+mj-lt"/>
              </a:rPr>
              <a:t>en la aplicación del peaje interrumpible, incremento de peaje a corto plazo y empleo de saldos remanentes de la </a:t>
            </a:r>
            <a:r>
              <a:rPr lang="es-ES" sz="1100" dirty="0" smtClean="0">
                <a:latin typeface="+mj-lt"/>
              </a:rPr>
              <a:t>Comisión Nacional de Mercados y Competencia (CNMC) </a:t>
            </a:r>
            <a:r>
              <a:rPr lang="es-ES" sz="1100" dirty="0">
                <a:latin typeface="+mj-lt"/>
              </a:rPr>
              <a:t>y del Instituto para la Diversificación y el Ahorro de Energía (IDAE</a:t>
            </a:r>
            <a:r>
              <a:rPr lang="es-ES" sz="1100" dirty="0" smtClean="0">
                <a:latin typeface="+mj-lt"/>
              </a:rPr>
              <a:t>)</a:t>
            </a:r>
          </a:p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Incremento </a:t>
            </a:r>
            <a:r>
              <a:rPr lang="es-ES" sz="1100" dirty="0">
                <a:latin typeface="+mj-lt"/>
              </a:rPr>
              <a:t>de los peajes de acceso en un 5% desde el segundo trimestre de 2012 (a excepción de los peajes para almacenamiento subterráneo</a:t>
            </a:r>
            <a:r>
              <a:rPr lang="es-ES" sz="1100" dirty="0" smtClean="0">
                <a:latin typeface="+mj-lt"/>
              </a:rPr>
              <a:t>)</a:t>
            </a:r>
            <a:endParaRPr lang="es-ES" sz="1100" dirty="0">
              <a:latin typeface="+mj-lt"/>
            </a:endParaRPr>
          </a:p>
        </p:txBody>
      </p:sp>
      <p:sp>
        <p:nvSpPr>
          <p:cNvPr id="43" name="42 Rectángulo"/>
          <p:cNvSpPr/>
          <p:nvPr>
            <p:custDataLst>
              <p:tags r:id="rId12"/>
            </p:custDataLst>
          </p:nvPr>
        </p:nvSpPr>
        <p:spPr>
          <a:xfrm>
            <a:off x="4042097" y="3036344"/>
            <a:ext cx="90922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0" indent="-22225" algn="ctr" defTabSz="734940"/>
            <a:r>
              <a:rPr lang="es-ES" sz="1100" b="1" dirty="0" smtClean="0">
                <a:latin typeface="+mj-lt"/>
              </a:rPr>
              <a:t>RDL 13/2012</a:t>
            </a:r>
            <a:endParaRPr lang="es-ES" sz="1100" b="1" dirty="0">
              <a:latin typeface="+mj-lt"/>
            </a:endParaRPr>
          </a:p>
        </p:txBody>
      </p:sp>
      <p:pic>
        <p:nvPicPr>
          <p:cNvPr id="52" name="Picture 7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54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54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6. Peajes de acceso y déficit tarifario de gas natural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281852" y="6131396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Principales medidas adoptadas en el Real Decreto-Ley 13/2012</a:t>
            </a:r>
          </a:p>
        </p:txBody>
      </p:sp>
    </p:spTree>
    <p:extLst>
      <p:ext uri="{BB962C8B-B14F-4D97-AF65-F5344CB8AC3E}">
        <p14:creationId xmlns:p14="http://schemas.microsoft.com/office/powerpoint/2010/main" val="2479648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>
            <p:custDataLst>
              <p:tags r:id="rId2"/>
            </p:custDataLst>
          </p:nvPr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>
            <p:custDataLst>
              <p:tags r:id="rId3"/>
            </p:custDataLst>
          </p:nvPr>
        </p:nvSpPr>
        <p:spPr>
          <a:xfrm>
            <a:off x="251520" y="1001936"/>
            <a:ext cx="84969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0"/>
              </a:spcBef>
            </a:pP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Para garantizar un sistema económicamente sostenible y que ofrezca menores costes a los consumidores, se han introducido mecanismos que permitan velar por su sostenibilidad financiera, modificando la retribución de las actividades reguladas</a:t>
            </a:r>
            <a:endParaRPr lang="es-ES" sz="1600" dirty="0">
              <a:solidFill>
                <a:srgbClr val="FF000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>
          <a:xfrm>
            <a:off x="8244408" y="6429396"/>
            <a:ext cx="532894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28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243" name="242 Conector recto"/>
          <p:cNvCxnSpPr/>
          <p:nvPr>
            <p:custDataLst>
              <p:tags r:id="rId5"/>
            </p:custDataLst>
          </p:nvPr>
        </p:nvCxnSpPr>
        <p:spPr>
          <a:xfrm>
            <a:off x="289620" y="6359248"/>
            <a:ext cx="8530852" cy="9606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7" name="Rectangle 122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5486896" y="6359248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laboración propia; BOE]</a:t>
            </a:r>
          </a:p>
        </p:txBody>
      </p:sp>
      <p:sp>
        <p:nvSpPr>
          <p:cNvPr id="290" name="289 Rectángulo"/>
          <p:cNvSpPr/>
          <p:nvPr>
            <p:custDataLst>
              <p:tags r:id="rId7"/>
            </p:custDataLst>
          </p:nvPr>
        </p:nvSpPr>
        <p:spPr>
          <a:xfrm>
            <a:off x="314748" y="1988840"/>
            <a:ext cx="8501122" cy="572400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291" name="290 CuadroTexto"/>
          <p:cNvSpPr txBox="1"/>
          <p:nvPr>
            <p:custDataLst>
              <p:tags r:id="rId8"/>
            </p:custDataLst>
          </p:nvPr>
        </p:nvSpPr>
        <p:spPr>
          <a:xfrm>
            <a:off x="357158" y="2060848"/>
            <a:ext cx="839130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es-ES" sz="1200" dirty="0" smtClean="0">
                <a:solidFill>
                  <a:srgbClr val="404040"/>
                </a:solidFill>
                <a:latin typeface="Pontano Sans" pitchFamily="2" charset="0"/>
              </a:rPr>
              <a:t>El </a:t>
            </a:r>
            <a:r>
              <a:rPr lang="es-ES" sz="1200" dirty="0">
                <a:solidFill>
                  <a:srgbClr val="404040"/>
                </a:solidFill>
                <a:latin typeface="Pontano Sans" pitchFamily="2" charset="0"/>
              </a:rPr>
              <a:t>sector gasista acumula un déficit a finales de </a:t>
            </a:r>
            <a:r>
              <a:rPr lang="es-ES" sz="1200" dirty="0" smtClean="0">
                <a:solidFill>
                  <a:srgbClr val="404040"/>
                </a:solidFill>
                <a:latin typeface="Pontano Sans" pitchFamily="2" charset="0"/>
              </a:rPr>
              <a:t>2016 </a:t>
            </a:r>
            <a:r>
              <a:rPr lang="es-ES" sz="1200" dirty="0">
                <a:solidFill>
                  <a:srgbClr val="404040"/>
                </a:solidFill>
                <a:latin typeface="Pontano Sans" pitchFamily="2" charset="0"/>
              </a:rPr>
              <a:t>de </a:t>
            </a:r>
            <a:r>
              <a:rPr lang="es-ES" sz="1200" dirty="0" smtClean="0">
                <a:solidFill>
                  <a:srgbClr val="404040"/>
                </a:solidFill>
                <a:latin typeface="Pontano Sans" pitchFamily="2" charset="0"/>
              </a:rPr>
              <a:t>2.471 </a:t>
            </a:r>
            <a:r>
              <a:rPr lang="es-ES" sz="1200" dirty="0">
                <a:solidFill>
                  <a:srgbClr val="404040"/>
                </a:solidFill>
                <a:latin typeface="Pontano Sans" pitchFamily="2" charset="0"/>
              </a:rPr>
              <a:t>M€ derivado de un incremento de los costes y </a:t>
            </a:r>
            <a:endParaRPr lang="es-ES" sz="1200" dirty="0" smtClean="0">
              <a:solidFill>
                <a:srgbClr val="404040"/>
              </a:solidFill>
              <a:latin typeface="Pontano Sans" pitchFamily="2" charset="0"/>
            </a:endParaRPr>
          </a:p>
          <a:p>
            <a:pPr lvl="0" algn="ctr">
              <a:spcBef>
                <a:spcPct val="0"/>
              </a:spcBef>
              <a:defRPr/>
            </a:pPr>
            <a:r>
              <a:rPr lang="es-ES" sz="1200" dirty="0" smtClean="0">
                <a:solidFill>
                  <a:srgbClr val="404040"/>
                </a:solidFill>
                <a:latin typeface="Pontano Sans" pitchFamily="2" charset="0"/>
              </a:rPr>
              <a:t>una </a:t>
            </a:r>
            <a:r>
              <a:rPr lang="es-ES" sz="1200" dirty="0">
                <a:solidFill>
                  <a:srgbClr val="404040"/>
                </a:solidFill>
                <a:latin typeface="Pontano Sans" pitchFamily="2" charset="0"/>
              </a:rPr>
              <a:t>caída de la demanda</a:t>
            </a:r>
          </a:p>
          <a:p>
            <a:pPr algn="ctr">
              <a:spcBef>
                <a:spcPct val="0"/>
              </a:spcBef>
              <a:defRPr/>
            </a:pPr>
            <a:endParaRPr lang="es-ES" sz="1000" dirty="0" smtClean="0">
              <a:solidFill>
                <a:srgbClr val="00567C"/>
              </a:solidFill>
              <a:latin typeface="+mj-lt"/>
            </a:endParaRPr>
          </a:p>
        </p:txBody>
      </p:sp>
      <p:cxnSp>
        <p:nvCxnSpPr>
          <p:cNvPr id="292" name="291 Conector recto"/>
          <p:cNvCxnSpPr/>
          <p:nvPr>
            <p:custDataLst>
              <p:tags r:id="rId9"/>
            </p:custDataLst>
          </p:nvPr>
        </p:nvCxnSpPr>
        <p:spPr>
          <a:xfrm>
            <a:off x="314748" y="1987252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169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9246" y="2708921"/>
            <a:ext cx="7710386" cy="3240360"/>
          </a:xfrm>
          <a:prstGeom prst="rect">
            <a:avLst/>
          </a:prstGeom>
          <a:solidFill>
            <a:srgbClr val="C4E76A"/>
          </a:solidFill>
        </p:spPr>
        <p:txBody>
          <a:bodyPr wrap="square" lIns="0" tIns="0" rIns="0" bIns="0" rtlCol="0" anchor="ctr" anchorCtr="0">
            <a:noAutofit/>
          </a:bodyPr>
          <a:lstStyle/>
          <a:p>
            <a:pPr marL="11113" indent="-22225" algn="ctr" defTabSz="734940"/>
            <a:endParaRPr lang="es-ES" sz="800" b="1" dirty="0">
              <a:solidFill>
                <a:srgbClr val="00567C"/>
              </a:solidFill>
              <a:latin typeface="+mj-lt"/>
            </a:endParaRPr>
          </a:p>
        </p:txBody>
      </p:sp>
      <p:sp>
        <p:nvSpPr>
          <p:cNvPr id="42" name="41 CuadroTexto"/>
          <p:cNvSpPr txBox="1"/>
          <p:nvPr>
            <p:custDataLst>
              <p:tags r:id="rId11"/>
            </p:custDataLst>
          </p:nvPr>
        </p:nvSpPr>
        <p:spPr>
          <a:xfrm>
            <a:off x="726778" y="3068960"/>
            <a:ext cx="7582380" cy="22865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>
            <a:noAutofit/>
          </a:bodyPr>
          <a:lstStyle/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Limita el déficit anual al:</a:t>
            </a:r>
          </a:p>
          <a:p>
            <a:pPr marL="71120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10% de los ingresos liquidables del ejercicio o</a:t>
            </a:r>
          </a:p>
          <a:p>
            <a:pPr marL="71120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15%  de la suma del desajuste anual + anualidades reconocidas pendientes de amortizar </a:t>
            </a:r>
          </a:p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Introduce el </a:t>
            </a:r>
            <a:r>
              <a:rPr lang="es-ES" sz="1100" b="1" dirty="0" smtClean="0">
                <a:latin typeface="+mj-lt"/>
              </a:rPr>
              <a:t>principio de sostenibilidad económica y financiera  </a:t>
            </a:r>
            <a:r>
              <a:rPr lang="es-ES" sz="1100" dirty="0" smtClean="0">
                <a:latin typeface="+mj-lt"/>
              </a:rPr>
              <a:t>(capacidad del sistema para satisfacer la totalidad de sus costes) reforzado con el establecimiento de </a:t>
            </a:r>
            <a:r>
              <a:rPr lang="es-ES" sz="1100" b="1" dirty="0" smtClean="0">
                <a:latin typeface="+mj-lt"/>
              </a:rPr>
              <a:t>revisiones automáticas de peajes y cánones </a:t>
            </a:r>
            <a:r>
              <a:rPr lang="es-ES" sz="1100" dirty="0" smtClean="0">
                <a:latin typeface="+mj-lt"/>
              </a:rPr>
              <a:t>si se superan los umbrales anteriores</a:t>
            </a:r>
          </a:p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Se modifica la retribución a las actividades reguladas del sistema:</a:t>
            </a:r>
          </a:p>
          <a:p>
            <a:pPr marL="71120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Se consideran los costes necesarios para realizar la actividad por una </a:t>
            </a:r>
            <a:r>
              <a:rPr lang="es-ES" sz="1100" b="1" dirty="0" smtClean="0">
                <a:latin typeface="+mj-lt"/>
              </a:rPr>
              <a:t>empresa </a:t>
            </a:r>
            <a:r>
              <a:rPr lang="es-ES" sz="1100" b="1" dirty="0">
                <a:latin typeface="+mj-lt"/>
              </a:rPr>
              <a:t>eficiente y bien gestionada</a:t>
            </a:r>
          </a:p>
          <a:p>
            <a:pPr marL="71120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latin typeface="+mj-lt"/>
              </a:rPr>
              <a:t>Se establecen </a:t>
            </a:r>
            <a:r>
              <a:rPr lang="es-ES" sz="1100" b="1" dirty="0">
                <a:latin typeface="+mj-lt"/>
              </a:rPr>
              <a:t>periodos regulatorios </a:t>
            </a:r>
            <a:r>
              <a:rPr lang="es-ES" sz="1100" dirty="0">
                <a:latin typeface="+mj-lt"/>
              </a:rPr>
              <a:t>de 6 </a:t>
            </a:r>
            <a:r>
              <a:rPr lang="es-ES" sz="1100" dirty="0" smtClean="0">
                <a:latin typeface="+mj-lt"/>
              </a:rPr>
              <a:t>años </a:t>
            </a:r>
            <a:endParaRPr lang="es-ES" sz="1100" dirty="0">
              <a:latin typeface="+mj-lt"/>
            </a:endParaRPr>
          </a:p>
          <a:p>
            <a:pPr marL="71120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b="1" dirty="0">
                <a:latin typeface="+mj-lt"/>
              </a:rPr>
              <a:t>Valor neto del activo </a:t>
            </a:r>
            <a:r>
              <a:rPr lang="es-ES" sz="1100" dirty="0">
                <a:latin typeface="+mj-lt"/>
              </a:rPr>
              <a:t>como base del cálculo de la retribución a la inversión</a:t>
            </a:r>
          </a:p>
          <a:p>
            <a:pPr marL="711200" lvl="2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>
                <a:latin typeface="+mj-lt"/>
              </a:rPr>
              <a:t>Metodología de cálculo común </a:t>
            </a:r>
            <a:r>
              <a:rPr lang="es-ES" sz="1100" dirty="0" smtClean="0">
                <a:latin typeface="+mj-lt"/>
              </a:rPr>
              <a:t>para todas las </a:t>
            </a:r>
            <a:r>
              <a:rPr lang="es-ES" sz="1100" dirty="0">
                <a:latin typeface="+mj-lt"/>
              </a:rPr>
              <a:t>instalaciones </a:t>
            </a:r>
            <a:r>
              <a:rPr lang="es-ES" sz="1100" dirty="0" smtClean="0">
                <a:latin typeface="+mj-lt"/>
              </a:rPr>
              <a:t>de la red básica</a:t>
            </a:r>
          </a:p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100" dirty="0" smtClean="0">
                <a:latin typeface="+mj-lt"/>
              </a:rPr>
              <a:t>Los desfases temporales serán </a:t>
            </a:r>
            <a:r>
              <a:rPr lang="es-ES" sz="1100" b="1" dirty="0" smtClean="0">
                <a:latin typeface="+mj-lt"/>
              </a:rPr>
              <a:t>financiados por todos los sujetos del sistema de liquidaciones </a:t>
            </a:r>
            <a:r>
              <a:rPr lang="es-ES" sz="1100" dirty="0" smtClean="0">
                <a:latin typeface="+mj-lt"/>
              </a:rPr>
              <a:t>en función de los derechos de cobro que generen</a:t>
            </a:r>
          </a:p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1100" dirty="0" smtClean="0">
              <a:latin typeface="+mj-lt"/>
            </a:endParaRPr>
          </a:p>
          <a:p>
            <a:pPr marL="254000" lvl="1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1100" dirty="0">
              <a:latin typeface="+mj-lt"/>
            </a:endParaRPr>
          </a:p>
        </p:txBody>
      </p:sp>
      <p:sp>
        <p:nvSpPr>
          <p:cNvPr id="43" name="42 Rectángulo"/>
          <p:cNvSpPr/>
          <p:nvPr>
            <p:custDataLst>
              <p:tags r:id="rId12"/>
            </p:custDataLst>
          </p:nvPr>
        </p:nvSpPr>
        <p:spPr>
          <a:xfrm>
            <a:off x="4057326" y="2780928"/>
            <a:ext cx="87876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113" lvl="0" indent="-22225" algn="ctr" defTabSz="734940"/>
            <a:r>
              <a:rPr lang="es-ES" sz="1100" b="1" dirty="0" smtClean="0">
                <a:latin typeface="+mj-lt"/>
              </a:rPr>
              <a:t>RDL 8/2014</a:t>
            </a:r>
            <a:endParaRPr lang="es-ES" sz="1100" b="1" dirty="0">
              <a:latin typeface="+mj-lt"/>
            </a:endParaRPr>
          </a:p>
        </p:txBody>
      </p:sp>
      <p:pic>
        <p:nvPicPr>
          <p:cNvPr id="52" name="Picture 7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54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54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6. Peajes de acceso y déficit tarifario de gas natural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281852" y="6131396"/>
            <a:ext cx="7890548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Principales medidas adoptadas en el Real Decreto-Ley 8/2014, posteriormente tramitada como ley</a:t>
            </a:r>
          </a:p>
        </p:txBody>
      </p:sp>
    </p:spTree>
    <p:extLst>
      <p:ext uri="{BB962C8B-B14F-4D97-AF65-F5344CB8AC3E}">
        <p14:creationId xmlns:p14="http://schemas.microsoft.com/office/powerpoint/2010/main" val="2386553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pic>
        <p:nvPicPr>
          <p:cNvPr id="73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4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67 Título"/>
          <p:cNvSpPr>
            <a:spLocks noGrp="1"/>
          </p:cNvSpPr>
          <p:nvPr>
            <p:ph type="title"/>
          </p:nvPr>
        </p:nvSpPr>
        <p:spPr>
          <a:xfrm>
            <a:off x="500034" y="980728"/>
            <a:ext cx="8077200" cy="1071570"/>
          </a:xfrm>
        </p:spPr>
        <p:txBody>
          <a:bodyPr>
            <a:normAutofit/>
          </a:bodyPr>
          <a:lstStyle/>
          <a:p>
            <a:r>
              <a:rPr lang="es-ES" sz="2800" dirty="0">
                <a:solidFill>
                  <a:srgbClr val="00567C"/>
                </a:solidFill>
              </a:rPr>
              <a:t>1. El papel del gas natural en España</a:t>
            </a:r>
          </a:p>
        </p:txBody>
      </p:sp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>
          <a:xfrm>
            <a:off x="285720" y="1916832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92 Rectángulo"/>
          <p:cNvSpPr/>
          <p:nvPr/>
        </p:nvSpPr>
        <p:spPr>
          <a:xfrm>
            <a:off x="271798" y="2060849"/>
            <a:ext cx="8501122" cy="4032448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95" name="94 CuadroTexto"/>
          <p:cNvSpPr txBox="1"/>
          <p:nvPr/>
        </p:nvSpPr>
        <p:spPr>
          <a:xfrm>
            <a:off x="301910" y="2327389"/>
            <a:ext cx="8471010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>
                <a:solidFill>
                  <a:srgbClr val="404040"/>
                </a:solidFill>
                <a:latin typeface="+mj-lt"/>
              </a:rPr>
              <a:t>El consumo de gas en España supera los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320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TWh anuales. Este consumo se distribuye entre usos industriales (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63%),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generación eléctrica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(19%)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y el sector doméstico-comercial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(17%)</a:t>
            </a:r>
            <a:endParaRPr lang="es-ES" sz="1400" b="1" dirty="0">
              <a:solidFill>
                <a:srgbClr val="404040"/>
              </a:solidFill>
              <a:latin typeface="+mj-lt"/>
            </a:endParaRP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De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2002 a 2008 la puesta en marcha de ciclos combinados generó un crecimiento relevante del consumo del gas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natural</a:t>
            </a: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>
                <a:solidFill>
                  <a:srgbClr val="404040"/>
                </a:solidFill>
                <a:latin typeface="+mj-lt"/>
              </a:rPr>
              <a:t>La salida a la crisis debe ir encaminada al incremento de la demanda junto con la promoción de nuevos usos del gas</a:t>
            </a:r>
          </a:p>
          <a:p>
            <a:pPr marL="82550" lvl="1">
              <a:spcAft>
                <a:spcPts val="600"/>
              </a:spcAft>
              <a:buClr>
                <a:srgbClr val="3FAE29"/>
              </a:buClr>
            </a:pPr>
            <a:endParaRPr lang="es-ES" sz="1400" b="1" dirty="0" smtClean="0">
              <a:solidFill>
                <a:srgbClr val="404040"/>
              </a:solidFill>
              <a:latin typeface="+mj-lt"/>
            </a:endParaRP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endParaRPr lang="es-ES" sz="1400" b="1" dirty="0" smtClean="0">
              <a:solidFill>
                <a:srgbClr val="404040"/>
              </a:solidFill>
              <a:latin typeface="+mj-lt"/>
            </a:endParaRPr>
          </a:p>
          <a:p>
            <a:pPr marL="177800" lvl="1" indent="-95250">
              <a:spcAft>
                <a:spcPts val="600"/>
              </a:spcAft>
              <a:buFont typeface="Arial" pitchFamily="34" charset="0"/>
              <a:buChar char="•"/>
            </a:pPr>
            <a:endParaRPr lang="es-ES_tradnl" sz="1300" dirty="0" smtClean="0">
              <a:solidFill>
                <a:srgbClr val="00567C"/>
              </a:solidFill>
              <a:latin typeface="+mj-lt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3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8" name="17 CuadroTexto"/>
          <p:cNvSpPr txBox="1"/>
          <p:nvPr>
            <p:custDataLst>
              <p:tags r:id="rId2"/>
            </p:custDataLst>
          </p:nvPr>
        </p:nvSpPr>
        <p:spPr>
          <a:xfrm>
            <a:off x="7380312" y="116632"/>
            <a:ext cx="15121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1. El papel del gas natural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88511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4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75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6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76 CuadroTexto"/>
          <p:cNvSpPr txBox="1"/>
          <p:nvPr/>
        </p:nvSpPr>
        <p:spPr>
          <a:xfrm>
            <a:off x="7380312" y="116632"/>
            <a:ext cx="15121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1. El papel del gas natural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78" name="Rectangle 122"/>
          <p:cNvSpPr>
            <a:spLocks noChangeAspect="1" noChangeArrowheads="1"/>
          </p:cNvSpPr>
          <p:nvPr/>
        </p:nvSpPr>
        <p:spPr bwMode="auto">
          <a:xfrm>
            <a:off x="5486896" y="5821284"/>
            <a:ext cx="3287961" cy="2153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8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" sz="800" dirty="0" smtClean="0">
                <a:solidFill>
                  <a:srgbClr val="8A8A8D"/>
                </a:solidFill>
                <a:latin typeface="+mj-lt"/>
              </a:rPr>
              <a:t>Sedigás</a:t>
            </a:r>
            <a:r>
              <a:rPr lang="es-ES" sz="800" dirty="0" smtClean="0">
                <a:solidFill>
                  <a:srgbClr val="8A8A8D"/>
                </a:solidFill>
                <a:latin typeface="+mj-lt"/>
              </a:rPr>
              <a:t>)</a:t>
            </a:r>
            <a:endParaRPr lang="es-ES_tradnl" sz="8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82" name="81 Rectángulo"/>
          <p:cNvSpPr/>
          <p:nvPr/>
        </p:nvSpPr>
        <p:spPr>
          <a:xfrm>
            <a:off x="285720" y="6021288"/>
            <a:ext cx="8501122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cxnSp>
        <p:nvCxnSpPr>
          <p:cNvPr id="83" name="82 Conector recto"/>
          <p:cNvCxnSpPr/>
          <p:nvPr/>
        </p:nvCxnSpPr>
        <p:spPr>
          <a:xfrm>
            <a:off x="285720" y="602128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83 CuadroTexto"/>
          <p:cNvSpPr txBox="1"/>
          <p:nvPr/>
        </p:nvSpPr>
        <p:spPr>
          <a:xfrm>
            <a:off x="276304" y="6006048"/>
            <a:ext cx="8510538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1" algn="ctr"/>
            <a:r>
              <a:rPr lang="es-ES" sz="1000" dirty="0">
                <a:latin typeface="+mj-lt"/>
              </a:rPr>
              <a:t>En la actualidad, los aprovisionamientos de gas natural, tanto a través de gasoductos como a través de plantas de regasificación de GNL, provienen de orígenes muy diversificados </a:t>
            </a:r>
            <a:r>
              <a:rPr lang="es-ES" sz="1000" dirty="0" smtClean="0">
                <a:latin typeface="+mj-lt"/>
              </a:rPr>
              <a:t>geográficamente</a:t>
            </a:r>
            <a:endParaRPr lang="es-ES" sz="1000" dirty="0">
              <a:latin typeface="+mj-lt"/>
            </a:endParaRPr>
          </a:p>
        </p:txBody>
      </p:sp>
      <p:sp>
        <p:nvSpPr>
          <p:cNvPr id="86" name="15 Rectángulo"/>
          <p:cNvSpPr/>
          <p:nvPr/>
        </p:nvSpPr>
        <p:spPr bwMode="auto">
          <a:xfrm>
            <a:off x="2092325" y="5614020"/>
            <a:ext cx="273050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b="1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87" name="19 Rectángulo"/>
          <p:cNvSpPr/>
          <p:nvPr/>
        </p:nvSpPr>
        <p:spPr bwMode="auto">
          <a:xfrm>
            <a:off x="2644775" y="5614020"/>
            <a:ext cx="273050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b="1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93" name="23 Rectángulo"/>
          <p:cNvSpPr/>
          <p:nvPr/>
        </p:nvSpPr>
        <p:spPr bwMode="auto">
          <a:xfrm>
            <a:off x="4864100" y="5614020"/>
            <a:ext cx="273050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b="1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02" name="26 Rectángulo"/>
          <p:cNvSpPr/>
          <p:nvPr/>
        </p:nvSpPr>
        <p:spPr bwMode="auto">
          <a:xfrm>
            <a:off x="6530975" y="5614020"/>
            <a:ext cx="273050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b="1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 useBgFill="1">
        <p:nvSpPr>
          <p:cNvPr id="104" name="120 Rectángulo"/>
          <p:cNvSpPr/>
          <p:nvPr/>
        </p:nvSpPr>
        <p:spPr bwMode="gray">
          <a:xfrm>
            <a:off x="4219575" y="2981945"/>
            <a:ext cx="458788" cy="152400"/>
          </a:xfrm>
          <a:prstGeom prst="rect">
            <a:avLst/>
          </a:prstGeom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b="1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12" name="13 Rectángulo"/>
          <p:cNvSpPr/>
          <p:nvPr/>
        </p:nvSpPr>
        <p:spPr bwMode="auto">
          <a:xfrm>
            <a:off x="977900" y="5614020"/>
            <a:ext cx="273050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b="1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30" name="Rectangle 108"/>
          <p:cNvSpPr/>
          <p:nvPr/>
        </p:nvSpPr>
        <p:spPr bwMode="auto">
          <a:xfrm>
            <a:off x="4912916" y="6077570"/>
            <a:ext cx="696913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31" name="Rectangle 109"/>
          <p:cNvSpPr/>
          <p:nvPr/>
        </p:nvSpPr>
        <p:spPr bwMode="auto">
          <a:xfrm>
            <a:off x="5941616" y="5874370"/>
            <a:ext cx="369888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32" name="Rectangle 103"/>
          <p:cNvSpPr/>
          <p:nvPr/>
        </p:nvSpPr>
        <p:spPr bwMode="auto">
          <a:xfrm>
            <a:off x="6687741" y="5851153"/>
            <a:ext cx="377825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33" name="Rectangle 104"/>
          <p:cNvSpPr/>
          <p:nvPr/>
        </p:nvSpPr>
        <p:spPr bwMode="auto">
          <a:xfrm>
            <a:off x="4912916" y="5874370"/>
            <a:ext cx="215900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35" name="Rectangle 97"/>
          <p:cNvSpPr/>
          <p:nvPr/>
        </p:nvSpPr>
        <p:spPr bwMode="auto">
          <a:xfrm>
            <a:off x="4130278" y="6077570"/>
            <a:ext cx="247650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36" name="Rectangle 100"/>
          <p:cNvSpPr/>
          <p:nvPr/>
        </p:nvSpPr>
        <p:spPr bwMode="auto">
          <a:xfrm>
            <a:off x="4130278" y="5874370"/>
            <a:ext cx="334962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38" name="Rectangle 105"/>
          <p:cNvSpPr/>
          <p:nvPr/>
        </p:nvSpPr>
        <p:spPr bwMode="auto">
          <a:xfrm>
            <a:off x="3350816" y="6077570"/>
            <a:ext cx="447675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39" name="Rectangle 107"/>
          <p:cNvSpPr/>
          <p:nvPr/>
        </p:nvSpPr>
        <p:spPr bwMode="auto">
          <a:xfrm>
            <a:off x="3350816" y="5874370"/>
            <a:ext cx="265113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40" name="Rectangle 102"/>
          <p:cNvSpPr/>
          <p:nvPr/>
        </p:nvSpPr>
        <p:spPr bwMode="auto">
          <a:xfrm>
            <a:off x="6699596" y="6077570"/>
            <a:ext cx="373063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41" name="Rectangle 98"/>
          <p:cNvSpPr/>
          <p:nvPr/>
        </p:nvSpPr>
        <p:spPr bwMode="auto">
          <a:xfrm>
            <a:off x="2088753" y="6077570"/>
            <a:ext cx="930275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43" name="Rectangle 96"/>
          <p:cNvSpPr/>
          <p:nvPr/>
        </p:nvSpPr>
        <p:spPr bwMode="auto">
          <a:xfrm>
            <a:off x="5956647" y="6077570"/>
            <a:ext cx="244475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44" name="Rectangle 106"/>
          <p:cNvSpPr/>
          <p:nvPr/>
        </p:nvSpPr>
        <p:spPr bwMode="auto">
          <a:xfrm>
            <a:off x="1345804" y="6077570"/>
            <a:ext cx="288925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145" name="Rectangle 111"/>
          <p:cNvSpPr/>
          <p:nvPr/>
        </p:nvSpPr>
        <p:spPr bwMode="auto">
          <a:xfrm>
            <a:off x="1345803" y="5874370"/>
            <a:ext cx="411163" cy="152400"/>
          </a:xfrm>
          <a:prstGeom prst="rect">
            <a:avLst/>
          </a:prstGeom>
          <a:noFill/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latin typeface="+mj-lt"/>
              <a:sym typeface="+mn-lt"/>
            </a:endParaRPr>
          </a:p>
        </p:txBody>
      </p:sp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3133725" y="47593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E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s-E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s-E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2" name="151 CuadroTexto"/>
          <p:cNvSpPr txBox="1"/>
          <p:nvPr/>
        </p:nvSpPr>
        <p:spPr>
          <a:xfrm>
            <a:off x="144016" y="1052736"/>
            <a:ext cx="8892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550" lvl="1" algn="ctr">
              <a:spcAft>
                <a:spcPts val="600"/>
              </a:spcAft>
              <a:buClr>
                <a:srgbClr val="3FAE29"/>
              </a:buClr>
            </a:pP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El consumo de gas en España supera los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320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TWh anuales. Este consumo se distribuye entre usos industriales (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63%),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generación eléctrica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(19%)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y el sector doméstico-comercial (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17%)</a:t>
            </a:r>
            <a:endParaRPr lang="es-ES" sz="1600" dirty="0">
              <a:solidFill>
                <a:srgbClr val="404040"/>
              </a:solidFill>
              <a:latin typeface="Pontano Sans" pitchFamily="2" charset="0"/>
            </a:endParaRPr>
          </a:p>
        </p:txBody>
      </p:sp>
      <p:cxnSp>
        <p:nvCxnSpPr>
          <p:cNvPr id="183" name="182 Conector recto"/>
          <p:cNvCxnSpPr/>
          <p:nvPr/>
        </p:nvCxnSpPr>
        <p:spPr>
          <a:xfrm>
            <a:off x="323410" y="1699172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183 CuadroTexto"/>
          <p:cNvSpPr txBox="1"/>
          <p:nvPr/>
        </p:nvSpPr>
        <p:spPr>
          <a:xfrm>
            <a:off x="2887241" y="2061023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185" name="184 CuadroTexto"/>
          <p:cNvSpPr txBox="1"/>
          <p:nvPr/>
        </p:nvSpPr>
        <p:spPr>
          <a:xfrm>
            <a:off x="3207121" y="2061023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186" name="185 CuadroTexto"/>
          <p:cNvSpPr txBox="1"/>
          <p:nvPr/>
        </p:nvSpPr>
        <p:spPr>
          <a:xfrm>
            <a:off x="3677269" y="2061023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187" name="186 Rectángulo"/>
          <p:cNvSpPr/>
          <p:nvPr/>
        </p:nvSpPr>
        <p:spPr>
          <a:xfrm>
            <a:off x="4684520" y="1773652"/>
            <a:ext cx="4135952" cy="647235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88" name="187 CuadroTexto"/>
          <p:cNvSpPr txBox="1"/>
          <p:nvPr/>
        </p:nvSpPr>
        <p:spPr>
          <a:xfrm>
            <a:off x="4716015" y="1773494"/>
            <a:ext cx="42024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España se aprovisiona de gas de 9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países diferentes, y cuenta con un suministro equilibrado entre gasoducto (GN) y  barco metanero (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GNL)</a:t>
            </a:r>
            <a:endParaRPr lang="es-ES" sz="12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89" name="188 Rectángulo"/>
          <p:cNvSpPr/>
          <p:nvPr/>
        </p:nvSpPr>
        <p:spPr>
          <a:xfrm>
            <a:off x="325807" y="1773386"/>
            <a:ext cx="4174052" cy="64750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190" name="189 CuadroTexto"/>
          <p:cNvSpPr txBox="1"/>
          <p:nvPr/>
        </p:nvSpPr>
        <p:spPr>
          <a:xfrm>
            <a:off x="245616" y="1772816"/>
            <a:ext cx="43559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El gas natural comenzó a introducirse en España a finales de la década de los 60.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De esta forma, España encadena otro año de crecimiento, circunstancia que no ocurría desde 2008 </a:t>
            </a:r>
            <a:endParaRPr lang="es-ES" sz="1200" dirty="0">
              <a:solidFill>
                <a:srgbClr val="404040"/>
              </a:solidFill>
              <a:latin typeface="+mj-lt"/>
            </a:endParaRPr>
          </a:p>
          <a:p>
            <a:pPr algn="ctr"/>
            <a:endParaRPr lang="es-ES" sz="1200" dirty="0">
              <a:solidFill>
                <a:srgbClr val="404040"/>
              </a:solidFill>
              <a:latin typeface="+mj-lt"/>
            </a:endParaRPr>
          </a:p>
        </p:txBody>
      </p:sp>
      <p:cxnSp>
        <p:nvCxnSpPr>
          <p:cNvPr id="195" name="194 Conector recto"/>
          <p:cNvCxnSpPr/>
          <p:nvPr/>
        </p:nvCxnSpPr>
        <p:spPr>
          <a:xfrm>
            <a:off x="4716463" y="5824314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196 Conector recto"/>
          <p:cNvCxnSpPr/>
          <p:nvPr/>
        </p:nvCxnSpPr>
        <p:spPr>
          <a:xfrm>
            <a:off x="314404" y="5820122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Rectangle 122"/>
          <p:cNvSpPr>
            <a:spLocks noChangeAspect="1" noChangeArrowheads="1"/>
          </p:cNvSpPr>
          <p:nvPr/>
        </p:nvSpPr>
        <p:spPr bwMode="auto">
          <a:xfrm>
            <a:off x="1178500" y="582722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Sedigas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sp>
        <p:nvSpPr>
          <p:cNvPr id="199" name="198 Rectángulo"/>
          <p:cNvSpPr/>
          <p:nvPr/>
        </p:nvSpPr>
        <p:spPr>
          <a:xfrm>
            <a:off x="281852" y="5595654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Evolución del consumo de gas natural en España</a:t>
            </a:r>
          </a:p>
        </p:txBody>
      </p:sp>
      <p:sp>
        <p:nvSpPr>
          <p:cNvPr id="200" name="199 Rectángulo"/>
          <p:cNvSpPr/>
          <p:nvPr/>
        </p:nvSpPr>
        <p:spPr>
          <a:xfrm>
            <a:off x="4617020" y="5599365"/>
            <a:ext cx="42034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Origen de las importaciones de gas natural</a:t>
            </a:r>
          </a:p>
        </p:txBody>
      </p:sp>
      <p:sp>
        <p:nvSpPr>
          <p:cNvPr id="48" name="206 CuadroTexto"/>
          <p:cNvSpPr txBox="1"/>
          <p:nvPr/>
        </p:nvSpPr>
        <p:spPr>
          <a:xfrm rot="5400000">
            <a:off x="892757" y="1886254"/>
            <a:ext cx="184229" cy="1398303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800" dirty="0" smtClean="0">
                <a:latin typeface="+mj-lt"/>
              </a:rPr>
              <a:t>Evolución del consumo de gas anual en España [GWh</a:t>
            </a:r>
            <a:r>
              <a:rPr lang="es-ES" sz="800" dirty="0">
                <a:latin typeface="+mj-lt"/>
              </a:rPr>
              <a:t>]</a:t>
            </a:r>
            <a:endParaRPr lang="en-US" sz="800" dirty="0" smtClean="0">
              <a:latin typeface="+mj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14415" y="2814066"/>
            <a:ext cx="4275460" cy="270506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2903" y="2772868"/>
            <a:ext cx="4087965" cy="2671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76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44016" y="1052736"/>
            <a:ext cx="88924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550" lvl="1" algn="ctr">
              <a:spcAft>
                <a:spcPts val="600"/>
              </a:spcAft>
              <a:buClr>
                <a:srgbClr val="3FAE29"/>
              </a:buClr>
            </a:pP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De 2002 a 2008 la puesta en marcha de ciclos combinados generó un crecimiento relevante del consumo del gas natural</a:t>
            </a: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5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383" name="382 Conector recto"/>
          <p:cNvCxnSpPr/>
          <p:nvPr/>
        </p:nvCxnSpPr>
        <p:spPr>
          <a:xfrm>
            <a:off x="323410" y="1699172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7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6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76 CuadroTexto"/>
          <p:cNvSpPr txBox="1"/>
          <p:nvPr/>
        </p:nvSpPr>
        <p:spPr>
          <a:xfrm>
            <a:off x="7380312" y="116632"/>
            <a:ext cx="15121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1. El papel del gas natural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73" name="72 CuadroTexto"/>
          <p:cNvSpPr txBox="1"/>
          <p:nvPr/>
        </p:nvSpPr>
        <p:spPr>
          <a:xfrm>
            <a:off x="2887241" y="2061023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74" name="73 CuadroTexto"/>
          <p:cNvSpPr txBox="1"/>
          <p:nvPr/>
        </p:nvSpPr>
        <p:spPr>
          <a:xfrm>
            <a:off x="3207121" y="2061023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78" name="77 CuadroTexto"/>
          <p:cNvSpPr txBox="1"/>
          <p:nvPr/>
        </p:nvSpPr>
        <p:spPr>
          <a:xfrm>
            <a:off x="3677269" y="2061023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82" name="81 Rectángulo"/>
          <p:cNvSpPr/>
          <p:nvPr/>
        </p:nvSpPr>
        <p:spPr>
          <a:xfrm>
            <a:off x="285720" y="6021288"/>
            <a:ext cx="8501122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cxnSp>
        <p:nvCxnSpPr>
          <p:cNvPr id="83" name="82 Conector recto"/>
          <p:cNvCxnSpPr/>
          <p:nvPr/>
        </p:nvCxnSpPr>
        <p:spPr>
          <a:xfrm>
            <a:off x="285720" y="602128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88 Rectángulo"/>
          <p:cNvSpPr/>
          <p:nvPr/>
        </p:nvSpPr>
        <p:spPr>
          <a:xfrm>
            <a:off x="4684520" y="1773652"/>
            <a:ext cx="4135952" cy="647235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91" name="90 CuadroTexto"/>
          <p:cNvSpPr txBox="1"/>
          <p:nvPr/>
        </p:nvSpPr>
        <p:spPr>
          <a:xfrm>
            <a:off x="4716015" y="1773494"/>
            <a:ext cx="42024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Se han ido incorporando nuevos ciclos combinados hasta alcanzar a finales de 2016 una potencia instalada a nivel nacional de 26.670 MW</a:t>
            </a:r>
          </a:p>
        </p:txBody>
      </p:sp>
      <p:sp>
        <p:nvSpPr>
          <p:cNvPr id="92" name="91 Rectángulo"/>
          <p:cNvSpPr/>
          <p:nvPr/>
        </p:nvSpPr>
        <p:spPr>
          <a:xfrm>
            <a:off x="325807" y="1773386"/>
            <a:ext cx="4174052" cy="64750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94" name="93 CuadroTexto"/>
          <p:cNvSpPr txBox="1"/>
          <p:nvPr/>
        </p:nvSpPr>
        <p:spPr>
          <a:xfrm>
            <a:off x="295520" y="1772816"/>
            <a:ext cx="42044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En 2002 entraron en funcionamientos las seis primeras centrales de ciclo combinado en el sistema español, aportando 2.794 MW</a:t>
            </a:r>
          </a:p>
        </p:txBody>
      </p:sp>
      <p:sp>
        <p:nvSpPr>
          <p:cNvPr id="95" name="94 CuadroTexto"/>
          <p:cNvSpPr txBox="1"/>
          <p:nvPr/>
        </p:nvSpPr>
        <p:spPr>
          <a:xfrm>
            <a:off x="695325" y="6053226"/>
            <a:ext cx="76210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000" dirty="0">
                <a:solidFill>
                  <a:srgbClr val="404040"/>
                </a:solidFill>
                <a:latin typeface="+mj-lt"/>
              </a:rPr>
              <a:t>Las principales ventajas competitivas que aporta el ciclo combinado frente a otras tecnologías alternativas son una mayor flexibilidad de operación y menores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emisiones</a:t>
            </a:r>
            <a:endParaRPr lang="es-ES" sz="1000" dirty="0" smtClean="0">
              <a:solidFill>
                <a:srgbClr val="00567C"/>
              </a:solidFill>
              <a:latin typeface="+mj-lt"/>
            </a:endParaRPr>
          </a:p>
        </p:txBody>
      </p:sp>
      <p:sp useBgFill="1">
        <p:nvSpPr>
          <p:cNvPr id="151" name="150 Rectángulo"/>
          <p:cNvSpPr/>
          <p:nvPr>
            <p:custDataLst>
              <p:tags r:id="rId1"/>
            </p:custDataLst>
          </p:nvPr>
        </p:nvSpPr>
        <p:spPr bwMode="gray">
          <a:xfrm>
            <a:off x="1033463" y="4786313"/>
            <a:ext cx="257175" cy="122238"/>
          </a:xfrm>
          <a:prstGeom prst="rect">
            <a:avLst/>
          </a:prstGeom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4288" tIns="0" rIns="14288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154" name="153 Conector recto"/>
          <p:cNvCxnSpPr/>
          <p:nvPr/>
        </p:nvCxnSpPr>
        <p:spPr>
          <a:xfrm>
            <a:off x="4716463" y="5824314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tangle 122"/>
          <p:cNvSpPr>
            <a:spLocks noChangeAspect="1" noChangeArrowheads="1"/>
          </p:cNvSpPr>
          <p:nvPr/>
        </p:nvSpPr>
        <p:spPr bwMode="auto">
          <a:xfrm>
            <a:off x="5524996" y="582722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>
                <a:solidFill>
                  <a:srgbClr val="8A8A8D"/>
                </a:solidFill>
                <a:latin typeface="+mj-lt"/>
              </a:rPr>
              <a:t>[Fuente: elaboración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propia]</a:t>
            </a:r>
          </a:p>
        </p:txBody>
      </p:sp>
      <p:cxnSp>
        <p:nvCxnSpPr>
          <p:cNvPr id="156" name="155 Conector recto"/>
          <p:cNvCxnSpPr/>
          <p:nvPr/>
        </p:nvCxnSpPr>
        <p:spPr>
          <a:xfrm>
            <a:off x="314404" y="5820122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ectangle 122"/>
          <p:cNvSpPr>
            <a:spLocks noChangeAspect="1" noChangeArrowheads="1"/>
          </p:cNvSpPr>
          <p:nvPr/>
        </p:nvSpPr>
        <p:spPr bwMode="auto">
          <a:xfrm>
            <a:off x="1178500" y="582722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Red Eléctrica de España, REE]</a:t>
            </a:r>
          </a:p>
        </p:txBody>
      </p:sp>
      <p:sp>
        <p:nvSpPr>
          <p:cNvPr id="161" name="Rectangle 169"/>
          <p:cNvSpPr>
            <a:spLocks noChangeArrowheads="1"/>
          </p:cNvSpPr>
          <p:nvPr/>
        </p:nvSpPr>
        <p:spPr bwMode="auto">
          <a:xfrm>
            <a:off x="4716015" y="2636912"/>
            <a:ext cx="4070827" cy="2760588"/>
          </a:xfrm>
          <a:prstGeom prst="rect">
            <a:avLst/>
          </a:prstGeom>
          <a:solidFill>
            <a:srgbClr val="B8DCE1"/>
          </a:solidFill>
        </p:spPr>
        <p:txBody>
          <a:bodyPr wrap="square" lIns="108000" tIns="108000" rIns="36000" bIns="108000" rtlCol="0" anchor="ctr" anchorCtr="0">
            <a:noAutofit/>
          </a:bodyPr>
          <a:lstStyle/>
          <a:p>
            <a:pPr marL="171450" indent="-171450" defTabSz="73494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050" dirty="0" smtClean="0">
                <a:solidFill>
                  <a:srgbClr val="404040"/>
                </a:solidFill>
                <a:latin typeface="+mj-lt"/>
              </a:rPr>
              <a:t>Las instalaciones de ciclos combinados tienen una alta eficiencia y ofrecen un funcionamiento flexible y fiable</a:t>
            </a:r>
          </a:p>
          <a:p>
            <a:pPr marL="171450" indent="-171450" defTabSz="73494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050" dirty="0" smtClean="0">
                <a:solidFill>
                  <a:srgbClr val="404040"/>
                </a:solidFill>
                <a:latin typeface="+mj-lt"/>
              </a:rPr>
              <a:t>El incremento de la tasa de penetración de las energías renovables, que se caracterizan por su impredecibilidad y aleatoriedad, supone la necesidad de que exista una capacidad de generación de respaldo, flexible y gestionable</a:t>
            </a:r>
          </a:p>
          <a:p>
            <a:pPr marL="171450" indent="-171450" defTabSz="73494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050" dirty="0" smtClean="0">
                <a:solidFill>
                  <a:srgbClr val="404040"/>
                </a:solidFill>
                <a:latin typeface="+mj-lt"/>
              </a:rPr>
              <a:t>Dentro de esta capacidad de generación se encuentran los ciclos combinados, que utilizan gas natural como combustible, y que el grado de flexibilidad que pueden aportar al sistema está estrechamente ligado a la flexibilidad de las infraestructuras gasistas</a:t>
            </a:r>
          </a:p>
          <a:p>
            <a:pPr marL="171450" indent="-171450" defTabSz="73494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1050" dirty="0" smtClean="0">
                <a:solidFill>
                  <a:srgbClr val="404040"/>
                </a:solidFill>
                <a:latin typeface="+mj-lt"/>
              </a:rPr>
              <a:t>Dadas las características físicas de los ciclos combinados, han incrementado de manera significativa su aportación a los procesos de regulación del sistema eléctrico</a:t>
            </a:r>
            <a:endParaRPr lang="es-ES" sz="105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52" name="51 Rectángulo"/>
          <p:cNvSpPr/>
          <p:nvPr/>
        </p:nvSpPr>
        <p:spPr>
          <a:xfrm>
            <a:off x="281852" y="5595654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Evolución de la potencia instalada de instalaciones de ciclos combinados</a:t>
            </a:r>
          </a:p>
        </p:txBody>
      </p:sp>
      <p:sp>
        <p:nvSpPr>
          <p:cNvPr id="56" name="55 Rectángulo"/>
          <p:cNvSpPr/>
          <p:nvPr/>
        </p:nvSpPr>
        <p:spPr>
          <a:xfrm>
            <a:off x="4617020" y="5599365"/>
            <a:ext cx="42034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Flexibilidad de los ciclos combinado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/>
          <a:srcRect l="3451"/>
          <a:stretch/>
        </p:blipFill>
        <p:spPr>
          <a:xfrm>
            <a:off x="357158" y="2643615"/>
            <a:ext cx="4142701" cy="282617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54132" y="2587172"/>
            <a:ext cx="136815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dirty="0" smtClean="0">
                <a:latin typeface="+mj-lt"/>
              </a:rPr>
              <a:t>[MW]</a:t>
            </a:r>
            <a:endParaRPr lang="en-US" sz="8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8672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817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179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009ABE"/>
          </a:solidFill>
          <a:ln w="3175">
            <a:noFill/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 smtClean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44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31935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6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383" name="382 Conector recto"/>
          <p:cNvCxnSpPr/>
          <p:nvPr/>
        </p:nvCxnSpPr>
        <p:spPr>
          <a:xfrm>
            <a:off x="323410" y="1699220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Picture 7"/>
          <p:cNvPicPr>
            <a:picLocks noChangeAspect="1" noChangeArrowheads="1"/>
          </p:cNvPicPr>
          <p:nvPr/>
        </p:nvPicPr>
        <p:blipFill>
          <a:blip r:embed="rId45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6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76 CuadroTexto"/>
          <p:cNvSpPr txBox="1"/>
          <p:nvPr/>
        </p:nvSpPr>
        <p:spPr>
          <a:xfrm>
            <a:off x="7380312" y="116632"/>
            <a:ext cx="15121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1. El papel del gas natural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73" name="72 CuadroTexto"/>
          <p:cNvSpPr txBox="1"/>
          <p:nvPr/>
        </p:nvSpPr>
        <p:spPr>
          <a:xfrm>
            <a:off x="2887241" y="2061023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74" name="73 CuadroTexto"/>
          <p:cNvSpPr txBox="1"/>
          <p:nvPr/>
        </p:nvSpPr>
        <p:spPr>
          <a:xfrm>
            <a:off x="3207121" y="2061023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78" name="77 CuadroTexto"/>
          <p:cNvSpPr txBox="1"/>
          <p:nvPr/>
        </p:nvSpPr>
        <p:spPr>
          <a:xfrm>
            <a:off x="3677269" y="2061023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82" name="81 Rectángulo"/>
          <p:cNvSpPr/>
          <p:nvPr/>
        </p:nvSpPr>
        <p:spPr>
          <a:xfrm>
            <a:off x="285720" y="6021288"/>
            <a:ext cx="8501122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cxnSp>
        <p:nvCxnSpPr>
          <p:cNvPr id="83" name="82 Conector recto"/>
          <p:cNvCxnSpPr/>
          <p:nvPr/>
        </p:nvCxnSpPr>
        <p:spPr>
          <a:xfrm>
            <a:off x="285720" y="602128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94 CuadroTexto"/>
          <p:cNvSpPr txBox="1"/>
          <p:nvPr/>
        </p:nvSpPr>
        <p:spPr>
          <a:xfrm>
            <a:off x="695325" y="6053226"/>
            <a:ext cx="76210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s-ES" sz="1000" dirty="0">
                <a:solidFill>
                  <a:srgbClr val="404040"/>
                </a:solidFill>
                <a:latin typeface="+mj-lt"/>
              </a:rPr>
              <a:t>Algunos de esos nuevos usos que están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tratando de </a:t>
            </a:r>
            <a:r>
              <a:rPr lang="es-ES" sz="1000" dirty="0">
                <a:solidFill>
                  <a:srgbClr val="404040"/>
                </a:solidFill>
                <a:latin typeface="+mj-lt"/>
              </a:rPr>
              <a:t>promocionarse son su utilización como combustible para vehículos terrestres y </a:t>
            </a:r>
            <a:r>
              <a:rPr lang="es-ES" sz="1000" dirty="0" smtClean="0">
                <a:solidFill>
                  <a:srgbClr val="404040"/>
                </a:solidFill>
                <a:latin typeface="+mj-lt"/>
              </a:rPr>
              <a:t>marinos</a:t>
            </a:r>
            <a:endParaRPr lang="es-ES" sz="10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45" name="44 CuadroTexto"/>
          <p:cNvSpPr txBox="1"/>
          <p:nvPr/>
        </p:nvSpPr>
        <p:spPr>
          <a:xfrm>
            <a:off x="2887241" y="2061023"/>
            <a:ext cx="234866" cy="1480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Técnica </a:t>
            </a:r>
          </a:p>
        </p:txBody>
      </p:sp>
      <p:sp>
        <p:nvSpPr>
          <p:cNvPr id="46" name="45 CuadroTexto"/>
          <p:cNvSpPr txBox="1"/>
          <p:nvPr/>
        </p:nvSpPr>
        <p:spPr>
          <a:xfrm>
            <a:off x="3207121" y="2061023"/>
            <a:ext cx="386328" cy="106505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Abastecimiento</a:t>
            </a:r>
          </a:p>
        </p:txBody>
      </p:sp>
      <p:sp>
        <p:nvSpPr>
          <p:cNvPr id="48" name="47 CuadroTexto"/>
          <p:cNvSpPr txBox="1"/>
          <p:nvPr/>
        </p:nvSpPr>
        <p:spPr>
          <a:xfrm>
            <a:off x="3677269" y="2061023"/>
            <a:ext cx="324000" cy="178382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700" dirty="0" smtClean="0">
                <a:solidFill>
                  <a:schemeClr val="bg1"/>
                </a:solidFill>
                <a:latin typeface="Pontano Sans" pitchFamily="2" charset="0"/>
              </a:rPr>
              <a:t>Flexibilidad</a:t>
            </a:r>
          </a:p>
        </p:txBody>
      </p:sp>
      <p:sp>
        <p:nvSpPr>
          <p:cNvPr id="50" name="49 Rectángulo"/>
          <p:cNvSpPr/>
          <p:nvPr/>
        </p:nvSpPr>
        <p:spPr>
          <a:xfrm>
            <a:off x="4684520" y="1773652"/>
            <a:ext cx="4135952" cy="647235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51" name="50 CuadroTexto"/>
          <p:cNvSpPr txBox="1"/>
          <p:nvPr/>
        </p:nvSpPr>
        <p:spPr>
          <a:xfrm>
            <a:off x="4716015" y="1773494"/>
            <a:ext cx="42024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latin typeface="+mj-lt"/>
              </a:rPr>
              <a:t>El nivel de </a:t>
            </a:r>
            <a:r>
              <a:rPr lang="es-ES" sz="1200" dirty="0" smtClean="0">
                <a:latin typeface="+mj-lt"/>
              </a:rPr>
              <a:t>penetración España en 2016 fue de ~30%, </a:t>
            </a:r>
            <a:r>
              <a:rPr lang="es-ES" sz="1200" dirty="0">
                <a:latin typeface="+mj-lt"/>
              </a:rPr>
              <a:t>inferior a otros países de la </a:t>
            </a:r>
            <a:r>
              <a:rPr lang="es-ES" sz="1200" dirty="0" smtClean="0">
                <a:latin typeface="+mj-lt"/>
              </a:rPr>
              <a:t>Unión Europea</a:t>
            </a:r>
            <a:endParaRPr lang="es-ES" sz="1200" dirty="0">
              <a:latin typeface="+mj-lt"/>
            </a:endParaRPr>
          </a:p>
        </p:txBody>
      </p:sp>
      <p:sp>
        <p:nvSpPr>
          <p:cNvPr id="52" name="51 Rectángulo"/>
          <p:cNvSpPr/>
          <p:nvPr/>
        </p:nvSpPr>
        <p:spPr>
          <a:xfrm>
            <a:off x="325807" y="1773386"/>
            <a:ext cx="4174052" cy="647502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53" name="52 CuadroTexto"/>
          <p:cNvSpPr txBox="1"/>
          <p:nvPr/>
        </p:nvSpPr>
        <p:spPr>
          <a:xfrm>
            <a:off x="245616" y="1772816"/>
            <a:ext cx="43559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200" dirty="0">
                <a:solidFill>
                  <a:srgbClr val="404040"/>
                </a:solidFill>
                <a:latin typeface="+mj-lt"/>
              </a:rPr>
              <a:t>La demanda eléctrica ha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bajado </a:t>
            </a:r>
            <a:r>
              <a:rPr lang="es-ES" sz="1200" dirty="0">
                <a:solidFill>
                  <a:srgbClr val="404040"/>
                </a:solidFill>
                <a:latin typeface="+mj-lt"/>
              </a:rPr>
              <a:t>y se han producido cambios en el mix de generación, que han provocado una importante reducción del consumo de gas para generación </a:t>
            </a:r>
            <a:r>
              <a:rPr lang="es-ES" sz="1200" dirty="0" smtClean="0">
                <a:solidFill>
                  <a:srgbClr val="404040"/>
                </a:solidFill>
                <a:latin typeface="+mj-lt"/>
              </a:rPr>
              <a:t>eléctrica</a:t>
            </a:r>
            <a:endParaRPr lang="es-ES" sz="1200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56" name="55 CuadroTexto"/>
          <p:cNvSpPr txBox="1"/>
          <p:nvPr/>
        </p:nvSpPr>
        <p:spPr>
          <a:xfrm>
            <a:off x="556730" y="1052736"/>
            <a:ext cx="80646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ES"/>
            </a:defPPr>
            <a:lvl2pPr marL="82550" lvl="1" algn="ctr">
              <a:spcAft>
                <a:spcPts val="600"/>
              </a:spcAft>
              <a:buClr>
                <a:srgbClr val="3FAE29"/>
              </a:buClr>
              <a:defRPr sz="1600">
                <a:latin typeface="+mj-lt"/>
              </a:defRPr>
            </a:lvl2pPr>
          </a:lstStyle>
          <a:p>
            <a:pPr lvl="1"/>
            <a:r>
              <a:rPr lang="es-ES" dirty="0">
                <a:solidFill>
                  <a:srgbClr val="404040"/>
                </a:solidFill>
                <a:latin typeface="Pontano Sans" pitchFamily="2" charset="0"/>
              </a:rPr>
              <a:t>La salida a la crisis debe ir encaminada al incremento de la demanda, junto con la promoción de nuevos usos del gas</a:t>
            </a:r>
          </a:p>
        </p:txBody>
      </p:sp>
      <p:cxnSp>
        <p:nvCxnSpPr>
          <p:cNvPr id="57" name="56 Conector recto"/>
          <p:cNvCxnSpPr/>
          <p:nvPr/>
        </p:nvCxnSpPr>
        <p:spPr>
          <a:xfrm>
            <a:off x="4716463" y="4822969"/>
            <a:ext cx="4104009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122"/>
          <p:cNvSpPr>
            <a:spLocks noChangeAspect="1" noChangeArrowheads="1"/>
          </p:cNvSpPr>
          <p:nvPr/>
        </p:nvSpPr>
        <p:spPr bwMode="auto">
          <a:xfrm>
            <a:off x="5524996" y="4829319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Sedigas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 y BCG]</a:t>
            </a:r>
          </a:p>
        </p:txBody>
      </p:sp>
      <p:cxnSp>
        <p:nvCxnSpPr>
          <p:cNvPr id="59" name="58 Conector recto"/>
          <p:cNvCxnSpPr/>
          <p:nvPr/>
        </p:nvCxnSpPr>
        <p:spPr>
          <a:xfrm>
            <a:off x="314404" y="5820122"/>
            <a:ext cx="4176464" cy="0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122"/>
          <p:cNvSpPr>
            <a:spLocks noChangeAspect="1" noChangeArrowheads="1"/>
          </p:cNvSpPr>
          <p:nvPr/>
        </p:nvSpPr>
        <p:spPr bwMode="auto">
          <a:xfrm>
            <a:off x="1178500" y="5827222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Sedigas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sp>
        <p:nvSpPr>
          <p:cNvPr id="61" name="60 Rectángulo"/>
          <p:cNvSpPr/>
          <p:nvPr/>
        </p:nvSpPr>
        <p:spPr>
          <a:xfrm>
            <a:off x="281852" y="5595654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Evolución de la demanda de gas</a:t>
            </a:r>
          </a:p>
        </p:txBody>
      </p:sp>
      <p:pic>
        <p:nvPicPr>
          <p:cNvPr id="65" name="5 Imagen" descr="C:\Users\abobillomo001\Pictures\flagge-italien.gif"/>
          <p:cNvPicPr>
            <a:picLocks noChangeAspect="1"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1969" y="4525517"/>
            <a:ext cx="295275" cy="199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7 Imagen" descr="C:\Users\abobillomo001\Pictures\bandera_de_francia_74.gif"/>
          <p:cNvPicPr>
            <a:picLocks noChangeAspect="1" noChangeArrowheads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4588" y="4525517"/>
            <a:ext cx="285750" cy="190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9 Imagen" descr="C:\Users\abobillomo001\Pictures\flagge-grossbritannien.gif"/>
          <p:cNvPicPr>
            <a:picLocks noChangeAspect="1" noChangeArrowheads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289" y="4525517"/>
            <a:ext cx="257174" cy="171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" descr="C:\Users\abobillomo001\Documents\Slides preparados\03. Banderas\bandera-espana.jpg"/>
          <p:cNvPicPr>
            <a:picLocks noChangeAspect="1"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6396" y="4525517"/>
            <a:ext cx="276984" cy="193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3" descr="C:\Users\abobillomo001\Documents\Slides preparados\03. Banderas\bandera-alemania-1.gif"/>
          <p:cNvPicPr>
            <a:picLocks noChangeAspect="1"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6644" y="4525517"/>
            <a:ext cx="294191" cy="195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5" descr="C:\Users\abobillomo001\Pictures\bandera-belgica-2.gif"/>
          <p:cNvPicPr>
            <a:picLocks noChangeAspect="1"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9948" y="4525517"/>
            <a:ext cx="299440" cy="199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6" descr="http://fotos.subefotos.com/d4d2466cfa71620766184c96f790a25do.jpg"/>
          <p:cNvPicPr>
            <a:picLocks noChangeAspect="1" noChangeArrowheads="1"/>
          </p:cNvPicPr>
          <p:nvPr/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7466137" y="5232990"/>
            <a:ext cx="1155204" cy="6061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0" name="Picture 27"/>
          <p:cNvPicPr>
            <a:picLocks noChangeAspect="1" noChangeArrowheads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915" y="5254533"/>
            <a:ext cx="1152129" cy="5846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7" descr="http://www.ngvaeurope.eu/components/com_gk3_photoslide/thumbs_big/654773Brussels_NGV_show_074.JPG"/>
          <p:cNvPicPr>
            <a:picLocks noChangeAspect="1" noChangeArrowheads="1"/>
          </p:cNvPicPr>
          <p:nvPr/>
        </p:nvPicPr>
        <p:blipFill>
          <a:blip r:embed="rId54" cstate="print"/>
          <a:srcRect/>
          <a:stretch>
            <a:fillRect/>
          </a:stretch>
        </p:blipFill>
        <p:spPr bwMode="auto">
          <a:xfrm>
            <a:off x="6224598" y="5136994"/>
            <a:ext cx="936237" cy="7021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72005341"/>
              </p:ext>
            </p:extLst>
          </p:nvPr>
        </p:nvGraphicFramePr>
        <p:xfrm>
          <a:off x="228600" y="2628900"/>
          <a:ext cx="4352922" cy="25050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180" name="Chart" r:id="rId55" imgW="4352922" imgH="2505060" progId="MSGraph.Chart.8">
                  <p:embed followColorScheme="full"/>
                </p:oleObj>
              </mc:Choice>
              <mc:Fallback>
                <p:oleObj name="Chart" r:id="rId55" imgW="4352922" imgH="25050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228600" y="2628900"/>
                        <a:ext cx="4352922" cy="25050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" name="Straight Connector 1"/>
          <p:cNvCxnSpPr/>
          <p:nvPr>
            <p:custDataLst>
              <p:tags r:id="rId5"/>
            </p:custDataLst>
          </p:nvPr>
        </p:nvCxnSpPr>
        <p:spPr bwMode="auto">
          <a:xfrm>
            <a:off x="642938" y="2422525"/>
            <a:ext cx="3533775" cy="62865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708150" y="2973388"/>
            <a:ext cx="233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43003B-040B-40D5-AD47-D8B0EB27B90B}" type="datetime'''''''''''''3''''''''''''''''6''''''''''''''''''''''3'''">
              <a:rPr lang="en-US" altLang="en-US" sz="1200" b="1">
                <a:sym typeface="+mn-lt"/>
              </a:rPr>
              <a:pPr/>
              <a:t>363</a:t>
            </a:fld>
            <a:endParaRPr lang="en-US" sz="1200" b="1" dirty="0">
              <a:sym typeface="+mn-lt"/>
            </a:endParaRPr>
          </a:p>
        </p:txBody>
      </p:sp>
      <p:sp>
        <p:nvSpPr>
          <p:cNvPr id="168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666875" y="4195763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2141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E7D58C-821D-4EE7-8DF4-E59BF209C4F1}" type="datetime'''''''''7''''''''''''''''''7''''''''''''''''''''%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%</a:t>
            </a:fld>
            <a:endParaRPr lang="en-US" sz="1200" dirty="0">
              <a:sym typeface="+mn-lt"/>
            </a:endParaRPr>
          </a:p>
        </p:txBody>
      </p:sp>
      <p:sp>
        <p:nvSpPr>
          <p:cNvPr id="16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666875" y="3300413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CEC9C7-1844-4AF0-B2B6-66BA55DC1E79}" type="datetime'''''''''''''''''''''''''''''23''%''''''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71563" y="5111750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383C38-BF96-47FC-A425-3743C8E8B82E}" type="datetime'2''''''''''''''''''''''''''010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en-US" sz="1200" dirty="0">
              <a:sym typeface="+mn-lt"/>
            </a:endParaRPr>
          </a:p>
        </p:txBody>
      </p:sp>
      <p:sp>
        <p:nvSpPr>
          <p:cNvPr id="175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429000" y="3481388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F001AF-94ED-4CCD-ABBE-1C46F1BE4BAD}" type="datetime'1''9''''''''''''''''''''''''%''''''''''''''''''''''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833688" y="5111750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55522-00B3-4A57-B257-072121017A28}" type="datetime'''''''2''''''''''''01''''''''''''''''''''''''''''''4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en-US" sz="1200" dirty="0">
              <a:sym typeface="+mn-lt"/>
            </a:endParaRPr>
          </a:p>
        </p:txBody>
      </p:sp>
      <p:sp>
        <p:nvSpPr>
          <p:cNvPr id="12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879725" y="3278188"/>
            <a:ext cx="233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15E7AB-F3B3-430A-89D9-1072C8D532FB}" type="datetime'''''''''''3''0''''''''2'''''''''">
              <a:rPr lang="en-US" altLang="en-US" sz="1200" b="1">
                <a:sym typeface="+mn-lt"/>
              </a:rPr>
              <a:pPr/>
              <a:t>302</a:t>
            </a:fld>
            <a:endParaRPr lang="en-US" sz="1200" b="1" dirty="0">
              <a:sym typeface="+mn-lt"/>
            </a:endParaRPr>
          </a:p>
        </p:txBody>
      </p:sp>
      <p:sp>
        <p:nvSpPr>
          <p:cNvPr id="172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838450" y="4262438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2141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A718AE-CEC9-44BC-BDED-F4555372FB02}" type="datetime'''8''''''''''''3''''''''%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endParaRPr lang="en-US" sz="1200" dirty="0">
              <a:sym typeface="+mn-lt"/>
            </a:endParaRPr>
          </a:p>
        </p:txBody>
      </p:sp>
      <p:sp>
        <p:nvSpPr>
          <p:cNvPr id="173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838450" y="3519488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9FA332-6417-48D8-811D-23F2072E2279}" type="datetime'''''''''''''''''''''''''1''''''''''''''''7''''''''''%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6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5775" y="4233863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2141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C1EE1D-B3CA-4E0C-96E6-F540634CBBB5}" type="datetime'''''''5''''''''''''8''''''''''''''''''''%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%</a:t>
            </a:fld>
            <a:endParaRPr lang="en-US" sz="1200" dirty="0">
              <a:sym typeface="+mn-lt"/>
            </a:endParaRPr>
          </a:p>
        </p:txBody>
      </p:sp>
      <p:sp>
        <p:nvSpPr>
          <p:cNvPr id="165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5775" y="3124200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EC6A46-5F02-4AE5-90E0-888681ACC858}" type="datetime'4''''2''''''''''%''''''''''''''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%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019550" y="4233863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2141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AB05814-7D58-47F2-965A-DD1ED10D2271}" type="datetime'''''''8''''''''''''''''1''''''''''''''''''''%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%</a:t>
            </a:fld>
            <a:endParaRPr lang="en-US" sz="1200" dirty="0">
              <a:sym typeface="+mn-lt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019550" y="3438525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E4E09A-41F7-4664-B7FD-2A14E3E2C423}" type="datetime'''1''''''9''''''''''''''''''''''''''''''''''''''%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%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1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424238" y="5111750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583ECB-B280-44D9-B6A2-6AC4CE63297C}" type="datetime'''''2''0''''''''''''1''5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5</a:t>
            </a:fld>
            <a:endParaRPr lang="en-US" sz="1200" dirty="0">
              <a:sym typeface="+mn-lt"/>
            </a:endParaRPr>
          </a:p>
        </p:txBody>
      </p:sp>
      <p:sp>
        <p:nvSpPr>
          <p:cNvPr id="123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470275" y="3211513"/>
            <a:ext cx="233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9A57F9-F96F-4EB5-9034-8CAEB3ACB16E}" type="datetime'3''''''''''''1''''''''''''''5'''''''''''''''''''''''">
              <a:rPr lang="en-US" altLang="en-US" sz="1200" b="1">
                <a:sym typeface="+mn-lt"/>
              </a:rPr>
              <a:pPr/>
              <a:t>315</a:t>
            </a:fld>
            <a:endParaRPr lang="en-US" sz="1200" b="1" dirty="0">
              <a:sym typeface="+mn-lt"/>
            </a:endParaRPr>
          </a:p>
        </p:txBody>
      </p:sp>
      <p:sp>
        <p:nvSpPr>
          <p:cNvPr id="174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429000" y="4257675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2141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3B06DB-3612-4A5A-BC78-B7F6A02B9BFD}" type="datetime'''''''''''8''''''''''''1%''''''''''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1%</a:t>
            </a:fld>
            <a:endParaRPr lang="en-US" sz="1200" dirty="0">
              <a:sym typeface="+mn-lt"/>
            </a:endParaRPr>
          </a:p>
        </p:txBody>
      </p:sp>
      <p:sp>
        <p:nvSpPr>
          <p:cNvPr id="11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117600" y="2792413"/>
            <a:ext cx="233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1033DF-E85C-4164-A286-EB0B0B6146FC}" type="datetime'''''4''''''0''''''''''0'''''''''''''''''''''">
              <a:rPr lang="en-US" altLang="en-US" sz="1200" b="1">
                <a:sym typeface="+mn-lt"/>
              </a:rPr>
              <a:pPr/>
              <a:t>400</a:t>
            </a:fld>
            <a:endParaRPr lang="en-US" sz="1200" b="1" dirty="0">
              <a:sym typeface="+mn-lt"/>
            </a:endParaRPr>
          </a:p>
        </p:txBody>
      </p:sp>
      <p:sp>
        <p:nvSpPr>
          <p:cNvPr id="166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76325" y="4229100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2141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12F225-3699-4ABE-B548-76BA52468B52}" type="datetime'''''''6''''''''''''''''''6''''''''''''''%''''''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%</a:t>
            </a:fld>
            <a:endParaRPr lang="en-US" sz="1200" dirty="0">
              <a:sym typeface="+mn-lt"/>
            </a:endParaRPr>
          </a:p>
        </p:txBody>
      </p:sp>
      <p:sp>
        <p:nvSpPr>
          <p:cNvPr id="16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76325" y="3243263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7B2EEB-2A7E-48B5-979A-05A8F074EAAE}" type="datetime'''''''''''3''4''''''''''%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4%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7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81013" y="5111750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235241-6B9F-49E7-AD14-7D02A407A6A2}" type="datetime'''''2''0''''''''''''''0''''''''''''''''8''''''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en-US" sz="1200" dirty="0">
              <a:sym typeface="+mn-lt"/>
            </a:endParaRPr>
          </a:p>
        </p:txBody>
      </p:sp>
      <p:sp>
        <p:nvSpPr>
          <p:cNvPr id="11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27050" y="2544763"/>
            <a:ext cx="233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435620-25B3-4EB3-8CC1-9D40AE7FA654}" type="datetime'4''''''4''''''''9'''''''''''''''''">
              <a:rPr lang="en-US" altLang="en-US" sz="1200" b="1">
                <a:sym typeface="+mn-lt"/>
              </a:rPr>
              <a:pPr/>
              <a:t>449</a:t>
            </a:fld>
            <a:endParaRPr lang="en-US" sz="1200" b="1" dirty="0">
              <a:sym typeface="+mn-lt"/>
            </a:endParaRPr>
          </a:p>
        </p:txBody>
      </p:sp>
      <p:sp>
        <p:nvSpPr>
          <p:cNvPr id="8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243138" y="2619375"/>
            <a:ext cx="3333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fld id="{55CBDDA9-D648-4696-AE82-8A0382FDDBF7}" type="datetime'''''''''''''''-''''''''''4%'">
              <a:rPr lang="es-ES" altLang="en-US" sz="1200" b="1">
                <a:sym typeface="+mn-lt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-4%</a:t>
            </a:fld>
            <a:endParaRPr lang="es-ES" sz="1200" b="1" dirty="0">
              <a:sym typeface="+mn-lt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014788" y="5111750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1B1CA1-A8FA-43C6-88C9-AF6B336157D3}" type="datetime'''''''''''''''''''''''''''''''''''''''2''''''0''''''1''''6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6</a:t>
            </a:fld>
            <a:endParaRPr lang="en-US" sz="1200" dirty="0">
              <a:sym typeface="+mn-lt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060825" y="3173413"/>
            <a:ext cx="233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DC3557-5B0D-4662-9C67-0251B13B825D}" type="datetime'3''2''''''''''''''''''''''''''''''''''1'''''''''''''''''''''">
              <a:rPr lang="en-US" altLang="en-US" sz="1200" b="1">
                <a:sym typeface="+mn-lt"/>
              </a:rPr>
              <a:pPr/>
              <a:t>321</a:t>
            </a:fld>
            <a:endParaRPr lang="en-US" sz="1200" b="1" dirty="0">
              <a:sym typeface="+mn-lt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247900" y="5111750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4DAB41A-12FA-421D-B1DD-AA29C58A03E5}" type="datetime'''''2''''''''''''0''''''''''''1''''''''''''''''''''''''''''3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200" dirty="0">
              <a:sym typeface="+mn-lt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2293938" y="3116263"/>
            <a:ext cx="2333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E44744-1633-404A-89F0-7639C3381333}" type="datetime'''''''3''''''''''3''''''''''''''''''''''3'''''">
              <a:rPr lang="en-US" altLang="en-US" sz="1200" b="1">
                <a:sym typeface="+mn-lt"/>
              </a:rPr>
              <a:pPr/>
              <a:t>333</a:t>
            </a:fld>
            <a:endParaRPr lang="en-US" sz="1200" b="1" dirty="0">
              <a:sym typeface="+mn-lt"/>
            </a:endParaRPr>
          </a:p>
        </p:txBody>
      </p:sp>
      <p:sp>
        <p:nvSpPr>
          <p:cNvPr id="170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252663" y="4200525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82141E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B112E1-80B8-4578-A040-091D4BB11D57}" type="datetime'''''''8''''''''''''''''''''''''''''''''3''''''''''''''''%'''">
              <a:rPr lang="en-US" altLang="en-US" sz="12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endParaRPr lang="en-US" sz="1200" dirty="0">
              <a:sym typeface="+mn-lt"/>
            </a:endParaRPr>
          </a:p>
        </p:txBody>
      </p:sp>
      <p:sp>
        <p:nvSpPr>
          <p:cNvPr id="171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252663" y="3376613"/>
            <a:ext cx="3159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3202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8AE35E-83F3-4961-9EC9-62FE50FB7A30}" type="datetime'''''''1''''''''''''''''7''''%'''''''''''''''">
              <a:rPr lang="en-US" altLang="en-US" sz="1200" smtClean="0">
                <a:solidFill>
                  <a:schemeClr val="bg1"/>
                </a:solidFill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endParaRPr lang="en-US" sz="1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99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662113" y="5111750"/>
            <a:ext cx="3238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E4C1F7-30AC-473E-91AB-8877F7B7633A}" type="datetime'''''''''''''''''''2''0''''''''''''12'''''''''''''''''''''''''">
              <a:rPr lang="en-US" altLang="en-US" sz="1200"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200" dirty="0">
              <a:sym typeface="+mn-lt"/>
            </a:endParaRPr>
          </a:p>
        </p:txBody>
      </p:sp>
      <p:sp>
        <p:nvSpPr>
          <p:cNvPr id="132" name="Rectangle 131"/>
          <p:cNvSpPr/>
          <p:nvPr>
            <p:custDataLst>
              <p:tags r:id="rId35"/>
            </p:custDataLst>
          </p:nvPr>
        </p:nvSpPr>
        <p:spPr bwMode="auto">
          <a:xfrm>
            <a:off x="985838" y="5395913"/>
            <a:ext cx="179387" cy="133350"/>
          </a:xfrm>
          <a:prstGeom prst="rect">
            <a:avLst/>
          </a:prstGeom>
          <a:solidFill>
            <a:srgbClr val="00567C"/>
          </a:solidFill>
          <a:ln w="9525">
            <a:solidFill>
              <a:srgbClr val="FFFFFF"/>
            </a:solidFill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3" name="Rectangle 132"/>
          <p:cNvSpPr/>
          <p:nvPr>
            <p:custDataLst>
              <p:tags r:id="rId36"/>
            </p:custDataLst>
          </p:nvPr>
        </p:nvSpPr>
        <p:spPr bwMode="auto">
          <a:xfrm>
            <a:off x="2379663" y="5395913"/>
            <a:ext cx="179387" cy="133350"/>
          </a:xfrm>
          <a:prstGeom prst="rect">
            <a:avLst/>
          </a:prstGeom>
          <a:solidFill>
            <a:srgbClr val="C4E76A"/>
          </a:solidFill>
          <a:ln w="9525">
            <a:solidFill>
              <a:srgbClr val="FFFFFF"/>
            </a:solidFill>
          </a:ln>
          <a:extLst>
            <a:ext uri="{31F19639-BCED-4A60-ADC4-E9642A236FB7}">
              <a14:hiddenScene3d xmlns:a14="http://schemas.microsoft.com/office/drawing/2010/main">
                <a:camera prst="orthographicFront">
                  <a:rot lat="600000" lon="0" rev="0"/>
                </a:camera>
                <a:lightRig rig="threePt" dir="t"/>
              </a14:hiddenScene3d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2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216025" y="5391150"/>
            <a:ext cx="10620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1A6BDE-AE07-42EB-94FD-7AFE7DDC6B86}" type="datetime'''''''Ge''''''ne''''''''r''''a''ció''''''n'' ''eléc''''trica'">
              <a:rPr lang="en-US" altLang="en-US" sz="1000"/>
              <a:pPr/>
              <a:t>Generación eléctrica</a:t>
            </a:fld>
            <a:endParaRPr lang="en-US" sz="1000" dirty="0">
              <a:sym typeface="+mn-lt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609850" y="5391150"/>
            <a:ext cx="1219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A6DD73-A721-45B9-814B-B34B4B72C4AC}" type="datetime'''''D''e''''m''''''anda C''o''''''nv''''''encio''''''''na''l'">
              <a:rPr lang="en-US" altLang="en-US" sz="1000"/>
              <a:pPr/>
              <a:t>Demanda Convencional</a:t>
            </a:fld>
            <a:endParaRPr lang="en-US" sz="1000" dirty="0">
              <a:sym typeface="+mn-lt"/>
            </a:endParaRPr>
          </a:p>
        </p:txBody>
      </p:sp>
      <p:sp>
        <p:nvSpPr>
          <p:cNvPr id="84" name="48 CuadroTexto"/>
          <p:cNvSpPr txBox="1"/>
          <p:nvPr/>
        </p:nvSpPr>
        <p:spPr>
          <a:xfrm>
            <a:off x="275670" y="3206638"/>
            <a:ext cx="288607" cy="1398303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indent="-274320" algn="ctr">
              <a:spcAft>
                <a:spcPts val="900"/>
              </a:spcAft>
            </a:pPr>
            <a:r>
              <a:rPr lang="es-ES" sz="800" dirty="0" smtClean="0">
                <a:latin typeface="+mj-lt"/>
              </a:rPr>
              <a:t>Demanda de Gas (</a:t>
            </a:r>
            <a:r>
              <a:rPr lang="es-ES" sz="800" dirty="0" smtClean="0">
                <a:latin typeface="+mj-lt"/>
              </a:rPr>
              <a:t>TWh</a:t>
            </a:r>
            <a:r>
              <a:rPr lang="es-ES" sz="800" dirty="0" smtClean="0">
                <a:latin typeface="+mj-lt"/>
              </a:rPr>
              <a:t>)</a:t>
            </a:r>
            <a:endParaRPr lang="en-US" sz="800" dirty="0" smtClean="0">
              <a:latin typeface="+mj-lt"/>
            </a:endParaRP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663791086"/>
              </p:ext>
            </p:extLst>
          </p:nvPr>
        </p:nvGraphicFramePr>
        <p:xfrm>
          <a:off x="4648200" y="2552700"/>
          <a:ext cx="4067122" cy="19620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181" name="Chart" r:id="rId57" imgW="4067122" imgH="1962090" progId="MSGraph.Chart.8">
                  <p:embed followColorScheme="full"/>
                </p:oleObj>
              </mc:Choice>
              <mc:Fallback>
                <p:oleObj name="Chart" r:id="rId57" imgW="4067122" imgH="19620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4648200" y="2552700"/>
                        <a:ext cx="4067122" cy="19620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902889" y="2618745"/>
            <a:ext cx="432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85%</a:t>
            </a:r>
            <a:endParaRPr lang="es-ES" dirty="0"/>
          </a:p>
        </p:txBody>
      </p:sp>
      <p:sp>
        <p:nvSpPr>
          <p:cNvPr id="138" name="TextBox 137"/>
          <p:cNvSpPr txBox="1"/>
          <p:nvPr/>
        </p:nvSpPr>
        <p:spPr>
          <a:xfrm>
            <a:off x="5508059" y="2899765"/>
            <a:ext cx="432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66%</a:t>
            </a:r>
            <a:endParaRPr lang="es-ES" dirty="0"/>
          </a:p>
        </p:txBody>
      </p:sp>
      <p:sp>
        <p:nvSpPr>
          <p:cNvPr id="139" name="TextBox 138"/>
          <p:cNvSpPr txBox="1"/>
          <p:nvPr/>
        </p:nvSpPr>
        <p:spPr>
          <a:xfrm>
            <a:off x="6185699" y="3109067"/>
            <a:ext cx="4580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53%</a:t>
            </a:r>
            <a:endParaRPr lang="es-ES" dirty="0"/>
          </a:p>
        </p:txBody>
      </p:sp>
      <p:sp>
        <p:nvSpPr>
          <p:cNvPr id="140" name="TextBox 139"/>
          <p:cNvSpPr txBox="1"/>
          <p:nvPr/>
        </p:nvSpPr>
        <p:spPr>
          <a:xfrm>
            <a:off x="6817232" y="3203575"/>
            <a:ext cx="432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48%</a:t>
            </a:r>
            <a:endParaRPr lang="es-ES" dirty="0"/>
          </a:p>
        </p:txBody>
      </p:sp>
      <p:sp>
        <p:nvSpPr>
          <p:cNvPr id="141" name="TextBox 140"/>
          <p:cNvSpPr txBox="1"/>
          <p:nvPr/>
        </p:nvSpPr>
        <p:spPr>
          <a:xfrm>
            <a:off x="7450104" y="3398259"/>
            <a:ext cx="4320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35%</a:t>
            </a:r>
            <a:endParaRPr lang="es-ES" dirty="0"/>
          </a:p>
        </p:txBody>
      </p:sp>
      <p:sp>
        <p:nvSpPr>
          <p:cNvPr id="142" name="TextBox 141"/>
          <p:cNvSpPr txBox="1"/>
          <p:nvPr/>
        </p:nvSpPr>
        <p:spPr>
          <a:xfrm>
            <a:off x="8119400" y="3490283"/>
            <a:ext cx="45800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100" dirty="0" smtClean="0"/>
              <a:t>29%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600487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pic>
        <p:nvPicPr>
          <p:cNvPr id="73" name="Picture 7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74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67 Título"/>
          <p:cNvSpPr>
            <a:spLocks noGrp="1"/>
          </p:cNvSpPr>
          <p:nvPr>
            <p:ph type="title"/>
          </p:nvPr>
        </p:nvSpPr>
        <p:spPr>
          <a:xfrm>
            <a:off x="500034" y="980728"/>
            <a:ext cx="8077200" cy="1071570"/>
          </a:xfrm>
        </p:spPr>
        <p:txBody>
          <a:bodyPr>
            <a:normAutofit/>
          </a:bodyPr>
          <a:lstStyle/>
          <a:p>
            <a:r>
              <a:rPr lang="es-ES" sz="2800" dirty="0" smtClean="0">
                <a:solidFill>
                  <a:srgbClr val="00567C"/>
                </a:solidFill>
              </a:rPr>
              <a:t>2. </a:t>
            </a:r>
            <a:r>
              <a:rPr lang="es-ES" sz="2800" dirty="0">
                <a:solidFill>
                  <a:srgbClr val="00567C"/>
                </a:solidFill>
              </a:rPr>
              <a:t>Normativa relativa al gas natural en Europa y en España</a:t>
            </a:r>
          </a:p>
        </p:txBody>
      </p:sp>
      <p:cxnSp>
        <p:nvCxnSpPr>
          <p:cNvPr id="71" name="70 Conector recto"/>
          <p:cNvCxnSpPr/>
          <p:nvPr/>
        </p:nvCxnSpPr>
        <p:spPr>
          <a:xfrm>
            <a:off x="285720" y="100010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90 Conector recto"/>
          <p:cNvCxnSpPr/>
          <p:nvPr/>
        </p:nvCxnSpPr>
        <p:spPr>
          <a:xfrm>
            <a:off x="285720" y="2060848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92 Rectángulo"/>
          <p:cNvSpPr/>
          <p:nvPr/>
        </p:nvSpPr>
        <p:spPr>
          <a:xfrm>
            <a:off x="319350" y="2204864"/>
            <a:ext cx="8501122" cy="4176464"/>
          </a:xfrm>
          <a:prstGeom prst="rect">
            <a:avLst/>
          </a:prstGeom>
          <a:solidFill>
            <a:srgbClr val="F3EF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95" name="94 CuadroTexto"/>
          <p:cNvSpPr txBox="1"/>
          <p:nvPr/>
        </p:nvSpPr>
        <p:spPr>
          <a:xfrm>
            <a:off x="357158" y="2348880"/>
            <a:ext cx="8568952" cy="2908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La  Ley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34/1998, de 7 de octubre, del Sector de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Hidrocarburos es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la que regula el funcionamiento del sector del gas en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España. La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legislación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española ha ido transponiendo sucesivas Directivas Comunitarias, la última la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Directiva 2009/73/CE (el denominado tercer paquete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)</a:t>
            </a:r>
            <a:endParaRPr lang="es-ES" sz="1400" b="1" dirty="0">
              <a:solidFill>
                <a:srgbClr val="404040"/>
              </a:solidFill>
              <a:latin typeface="+mj-lt"/>
            </a:endParaRP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>
                <a:solidFill>
                  <a:srgbClr val="404040"/>
                </a:solidFill>
                <a:latin typeface="+mj-lt"/>
              </a:rPr>
              <a:t>El marco normativo actual tiene como objetivo la creación del mercado interior de energía con los siguientes principios básicos: (i) separación de actividades reguladas y en libre competencia; (ii) desarrollo de la competencia en actividades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liberalizadas;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(iii) acceso libre y no discriminatorio a las redes por parte de todos los operadores</a:t>
            </a: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Algunas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actividades en el sector gasista (regasificación, almacenamiento básico, transporte y distribución) pueden considerarse monopolios naturales, mientras que otras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(aprovisionamiento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y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comercialización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de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energía)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deben desarrollarse en un régimen de libre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competencia</a:t>
            </a:r>
            <a:endParaRPr lang="es-ES" sz="1400" b="1" dirty="0">
              <a:solidFill>
                <a:srgbClr val="404040"/>
              </a:solidFill>
              <a:latin typeface="+mj-lt"/>
            </a:endParaRPr>
          </a:p>
          <a:p>
            <a:pPr marL="363538" lvl="1" indent="-280988">
              <a:spcAft>
                <a:spcPts val="600"/>
              </a:spcAft>
              <a:buClr>
                <a:srgbClr val="3FAE29"/>
              </a:buClr>
              <a:buFont typeface="Arial" pitchFamily="34" charset="0"/>
              <a:buChar char="•"/>
            </a:pP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La liberalización total de los mercados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minoristas de electricidad y gas natural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se produjo el 1 </a:t>
            </a:r>
            <a:r>
              <a:rPr lang="es-ES" sz="1400" b="1" dirty="0">
                <a:solidFill>
                  <a:srgbClr val="404040"/>
                </a:solidFill>
                <a:latin typeface="+mj-lt"/>
              </a:rPr>
              <a:t>de enero de 2003, aunque el traspaso de clientes del mercado regulado al mercado liberalizado ha sido </a:t>
            </a:r>
            <a:r>
              <a:rPr lang="es-ES" sz="1400" b="1" dirty="0" smtClean="0">
                <a:solidFill>
                  <a:srgbClr val="404040"/>
                </a:solidFill>
                <a:latin typeface="+mj-lt"/>
              </a:rPr>
              <a:t>gradual</a:t>
            </a:r>
            <a:endParaRPr lang="es-ES" sz="1400" b="1" dirty="0">
              <a:solidFill>
                <a:srgbClr val="404040"/>
              </a:solidFill>
              <a:latin typeface="+mj-lt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7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8" name="17 CuadroTexto"/>
          <p:cNvSpPr txBox="1"/>
          <p:nvPr>
            <p:custDataLst>
              <p:tags r:id="rId2"/>
            </p:custDataLst>
          </p:nvPr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2. Normativa relativa al gas natural en Europa y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03737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2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32864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9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285720" y="979140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07504" y="945180"/>
            <a:ext cx="86356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550" lvl="1" algn="ctr">
              <a:spcAft>
                <a:spcPts val="600"/>
              </a:spcAft>
              <a:buClr>
                <a:srgbClr val="3FAE29"/>
              </a:buClr>
            </a:pP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La  Ley 34/1998, de 7 de octubre, del Sector de Hidrocarburos es la que regula el funcionamiento del sector del gas en España. La legislación española ha ido transponiendo sucesivas Directivas Comunitarias, la última la Directiva 2009/73/CE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(incluida en el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denominado tercer paquete)</a:t>
            </a: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8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cxnSp>
        <p:nvCxnSpPr>
          <p:cNvPr id="87" name="86 Conector recto"/>
          <p:cNvCxnSpPr/>
          <p:nvPr/>
        </p:nvCxnSpPr>
        <p:spPr>
          <a:xfrm>
            <a:off x="389203" y="1713384"/>
            <a:ext cx="8385403" cy="1491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" name="Picture 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65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65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2. Normativa relativa al gas natural en Europa y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cxnSp>
        <p:nvCxnSpPr>
          <p:cNvPr id="68" name="67 Conector recto"/>
          <p:cNvCxnSpPr/>
          <p:nvPr/>
        </p:nvCxnSpPr>
        <p:spPr>
          <a:xfrm>
            <a:off x="111820" y="6095424"/>
            <a:ext cx="8530852" cy="9606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122"/>
          <p:cNvSpPr>
            <a:spLocks noChangeAspect="1" noChangeArrowheads="1"/>
          </p:cNvSpPr>
          <p:nvPr/>
        </p:nvSpPr>
        <p:spPr bwMode="auto">
          <a:xfrm>
            <a:off x="5561822" y="5888395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[Fuente: elaboración propia, BOE </a:t>
            </a:r>
            <a:r>
              <a:rPr lang="es-ES" sz="700" dirty="0">
                <a:solidFill>
                  <a:srgbClr val="8A8A8D"/>
                </a:solidFill>
                <a:latin typeface="+mj-lt"/>
              </a:rPr>
              <a:t>y Diario Oficial de la Unión Europea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]</a:t>
            </a:r>
          </a:p>
        </p:txBody>
      </p:sp>
      <p:sp>
        <p:nvSpPr>
          <p:cNvPr id="62" name="61 Rectángulo"/>
          <p:cNvSpPr/>
          <p:nvPr/>
        </p:nvSpPr>
        <p:spPr>
          <a:xfrm>
            <a:off x="281852" y="5888395"/>
            <a:ext cx="4036024" cy="249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s-ES" sz="1000" dirty="0" smtClean="0">
                <a:solidFill>
                  <a:schemeClr val="tx1"/>
                </a:solidFill>
                <a:latin typeface="Pontano Sans" pitchFamily="2" charset="0"/>
              </a:rPr>
              <a:t>Reales Decretos y Directivas europeas</a:t>
            </a:r>
          </a:p>
        </p:txBody>
      </p:sp>
      <p:sp>
        <p:nvSpPr>
          <p:cNvPr id="63" name="62 Rectángulo"/>
          <p:cNvSpPr/>
          <p:nvPr/>
        </p:nvSpPr>
        <p:spPr>
          <a:xfrm>
            <a:off x="242080" y="6165304"/>
            <a:ext cx="8501122" cy="478974"/>
          </a:xfrm>
          <a:prstGeom prst="rect">
            <a:avLst/>
          </a:prstGeom>
          <a:solidFill>
            <a:srgbClr val="F3EFE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dirty="0"/>
          </a:p>
        </p:txBody>
      </p:sp>
      <p:sp>
        <p:nvSpPr>
          <p:cNvPr id="67" name="66 CuadroTexto"/>
          <p:cNvSpPr txBox="1"/>
          <p:nvPr/>
        </p:nvSpPr>
        <p:spPr>
          <a:xfrm>
            <a:off x="713363" y="6204736"/>
            <a:ext cx="76210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550" lvl="1" algn="ctr">
              <a:spcAft>
                <a:spcPts val="600"/>
              </a:spcAft>
              <a:buClr>
                <a:srgbClr val="3FAE29"/>
              </a:buClr>
            </a:pPr>
            <a:r>
              <a:rPr lang="es-ES" sz="1000" dirty="0" smtClean="0">
                <a:solidFill>
                  <a:srgbClr val="404040"/>
                </a:solidFill>
                <a:latin typeface="Pontano Sans" pitchFamily="2" charset="0"/>
              </a:rPr>
              <a:t>La legislación española se ha ido adaptando para recoger lo dispuesto en la normativa comunitaria. La trasposición del tercer paquete de Directivas  se realizó en 2016</a:t>
            </a:r>
            <a:endParaRPr lang="es-ES" sz="1000" dirty="0">
              <a:solidFill>
                <a:srgbClr val="404040"/>
              </a:solidFill>
              <a:latin typeface="Pontano Sans" pitchFamily="2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30487" y="1848316"/>
            <a:ext cx="7380312" cy="3967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605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Picture 3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57158" y="119159"/>
            <a:ext cx="1562100" cy="647700"/>
          </a:xfrm>
          <a:prstGeom prst="rect">
            <a:avLst/>
          </a:prstGeom>
          <a:noFill/>
        </p:spPr>
      </p:pic>
      <p:cxnSp>
        <p:nvCxnSpPr>
          <p:cNvPr id="71" name="70 Conector recto"/>
          <p:cNvCxnSpPr/>
          <p:nvPr/>
        </p:nvCxnSpPr>
        <p:spPr>
          <a:xfrm>
            <a:off x="285720" y="979140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95 CuadroTexto"/>
          <p:cNvSpPr txBox="1"/>
          <p:nvPr/>
        </p:nvSpPr>
        <p:spPr>
          <a:xfrm>
            <a:off x="107504" y="983280"/>
            <a:ext cx="8635698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2550" lvl="1" algn="ctr">
              <a:spcAft>
                <a:spcPts val="600"/>
              </a:spcAft>
              <a:buClr>
                <a:srgbClr val="3FAE29"/>
              </a:buClr>
            </a:pP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El marco normativo actual tiene como objetivo la creación del mercado interior de energía con los siguientes principios básicos: (i) separación de actividades reguladas y en libre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competencia; (ii) desarrollo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de la competencia en actividades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liberalizadas; (iii) acceso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libre y no discriminatorio a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las redes </a:t>
            </a:r>
            <a:r>
              <a:rPr lang="es-ES" sz="1600" dirty="0">
                <a:solidFill>
                  <a:srgbClr val="404040"/>
                </a:solidFill>
                <a:latin typeface="Pontano Sans" pitchFamily="2" charset="0"/>
              </a:rPr>
              <a:t>por parte de todos los </a:t>
            </a:r>
            <a:r>
              <a:rPr lang="es-ES" sz="1600" dirty="0" smtClean="0">
                <a:solidFill>
                  <a:srgbClr val="404040"/>
                </a:solidFill>
                <a:latin typeface="Pontano Sans" pitchFamily="2" charset="0"/>
              </a:rPr>
              <a:t>operadores</a:t>
            </a:r>
            <a:endParaRPr lang="es-ES" sz="1600" dirty="0">
              <a:solidFill>
                <a:srgbClr val="404040"/>
              </a:solidFill>
              <a:latin typeface="Pontano Sans" pitchFamily="2" charset="0"/>
            </a:endParaRPr>
          </a:p>
          <a:p>
            <a:pPr marL="82550" lvl="1" algn="ctr">
              <a:spcAft>
                <a:spcPts val="600"/>
              </a:spcAft>
              <a:buClr>
                <a:srgbClr val="3FAE29"/>
              </a:buClr>
            </a:pPr>
            <a:endParaRPr lang="es-ES" sz="1600" dirty="0">
              <a:solidFill>
                <a:srgbClr val="404040"/>
              </a:solidFill>
              <a:latin typeface="Pontano Sans" pitchFamily="2" charset="0"/>
            </a:endParaRPr>
          </a:p>
        </p:txBody>
      </p:sp>
      <p:sp>
        <p:nvSpPr>
          <p:cNvPr id="100" name="52 Marcador de número de diapositiva"/>
          <p:cNvSpPr>
            <a:spLocks noGrp="1"/>
          </p:cNvSpPr>
          <p:nvPr>
            <p:ph type="sldNum" sz="quarter" idx="18"/>
          </p:nvPr>
        </p:nvSpPr>
        <p:spPr>
          <a:xfrm>
            <a:off x="6643702" y="6429396"/>
            <a:ext cx="2133600" cy="365125"/>
          </a:xfrm>
        </p:spPr>
        <p:txBody>
          <a:bodyPr/>
          <a:lstStyle/>
          <a:p>
            <a:fld id="{2E16319C-51A8-47A7-A8FA-899BA755ABA6}" type="slidenum">
              <a:rPr lang="es-ES" smtClean="0">
                <a:solidFill>
                  <a:srgbClr val="000000"/>
                </a:solidFill>
                <a:latin typeface="+mj-lt"/>
              </a:rPr>
              <a:pPr/>
              <a:t>9</a:t>
            </a:fld>
            <a:endParaRPr lang="es-ES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64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72198" y="121538"/>
            <a:ext cx="1314450" cy="676275"/>
          </a:xfrm>
          <a:prstGeom prst="rect">
            <a:avLst/>
          </a:prstGeom>
          <a:noFill/>
        </p:spPr>
      </p:pic>
      <p:cxnSp>
        <p:nvCxnSpPr>
          <p:cNvPr id="65" name="9 Conector recto"/>
          <p:cNvCxnSpPr/>
          <p:nvPr/>
        </p:nvCxnSpPr>
        <p:spPr>
          <a:xfrm>
            <a:off x="7380312" y="122332"/>
            <a:ext cx="0" cy="786388"/>
          </a:xfrm>
          <a:prstGeom prst="line">
            <a:avLst/>
          </a:prstGeom>
          <a:ln>
            <a:solidFill>
              <a:srgbClr val="0056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65 CuadroTexto"/>
          <p:cNvSpPr txBox="1"/>
          <p:nvPr/>
        </p:nvSpPr>
        <p:spPr>
          <a:xfrm>
            <a:off x="7380312" y="116632"/>
            <a:ext cx="1512168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" sz="1700" b="1" dirty="0" smtClean="0">
                <a:solidFill>
                  <a:srgbClr val="8A8A8D"/>
                </a:solidFill>
                <a:latin typeface="Pontano Sans"/>
                <a:ea typeface="Calibri"/>
                <a:cs typeface="Times New Roman"/>
              </a:rPr>
              <a:t>Gas Natural</a:t>
            </a:r>
          </a:p>
          <a:p>
            <a:pPr>
              <a:spcAft>
                <a:spcPts val="600"/>
              </a:spcAft>
              <a:tabLst>
                <a:tab pos="2700020" algn="ctr"/>
                <a:tab pos="5400040" algn="r"/>
              </a:tabLst>
            </a:pPr>
            <a:r>
              <a:rPr lang="es-ES_tradnl" sz="900" dirty="0" smtClean="0">
                <a:solidFill>
                  <a:srgbClr val="8A8A8D"/>
                </a:solidFill>
                <a:latin typeface="+mj-lt"/>
              </a:rPr>
              <a:t>2. Normativa relativa al gas natural en Europa y en España</a:t>
            </a:r>
            <a:endParaRPr lang="en-GB" sz="900" dirty="0" smtClean="0">
              <a:solidFill>
                <a:srgbClr val="8A8A8D"/>
              </a:solidFill>
              <a:latin typeface="+mj-lt"/>
            </a:endParaRPr>
          </a:p>
        </p:txBody>
      </p:sp>
      <p:cxnSp>
        <p:nvCxnSpPr>
          <p:cNvPr id="14" name="13 Conector recto"/>
          <p:cNvCxnSpPr/>
          <p:nvPr/>
        </p:nvCxnSpPr>
        <p:spPr>
          <a:xfrm>
            <a:off x="323410" y="2042120"/>
            <a:ext cx="8501122" cy="1588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>
            <a:off x="442020" y="6343145"/>
            <a:ext cx="8530852" cy="9606"/>
          </a:xfrm>
          <a:prstGeom prst="line">
            <a:avLst/>
          </a:prstGeom>
          <a:ln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15 Rectángulo"/>
          <p:cNvSpPr/>
          <p:nvPr/>
        </p:nvSpPr>
        <p:spPr>
          <a:xfrm>
            <a:off x="403920" y="6139904"/>
            <a:ext cx="857746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000" dirty="0" smtClean="0">
                <a:latin typeface="Pontano Sans" pitchFamily="2" charset="0"/>
              </a:rPr>
              <a:t>Principios básicos de la creación del mercado interior de energía</a:t>
            </a:r>
          </a:p>
        </p:txBody>
      </p:sp>
      <p:sp>
        <p:nvSpPr>
          <p:cNvPr id="17" name="Rectangle 122"/>
          <p:cNvSpPr>
            <a:spLocks noChangeAspect="1" noChangeArrowheads="1"/>
          </p:cNvSpPr>
          <p:nvPr/>
        </p:nvSpPr>
        <p:spPr bwMode="auto">
          <a:xfrm>
            <a:off x="5639296" y="6343145"/>
            <a:ext cx="3287961" cy="2000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387" tIns="45695" rIns="91387" bIns="45695">
            <a:spAutoFit/>
          </a:bodyPr>
          <a:lstStyle/>
          <a:p>
            <a:pPr algn="r" eaLnBrk="0" hangingPunct="0">
              <a:tabLst>
                <a:tab pos="288823" algn="l"/>
              </a:tabLst>
            </a:pPr>
            <a:r>
              <a:rPr lang="es-ES_tradnl" sz="700" dirty="0">
                <a:solidFill>
                  <a:srgbClr val="8A8A8D"/>
                </a:solidFill>
                <a:latin typeface="+mj-lt"/>
              </a:rPr>
              <a:t>[Fuente: e</a:t>
            </a:r>
            <a:r>
              <a:rPr lang="es-ES_tradnl" sz="700" dirty="0" smtClean="0">
                <a:solidFill>
                  <a:srgbClr val="8A8A8D"/>
                </a:solidFill>
                <a:latin typeface="+mj-lt"/>
              </a:rPr>
              <a:t>laboración propia]</a:t>
            </a:r>
            <a:endParaRPr lang="es-ES_tradnl" sz="700" dirty="0">
              <a:solidFill>
                <a:srgbClr val="8A8A8D"/>
              </a:solidFill>
              <a:latin typeface="+mj-lt"/>
            </a:endParaRPr>
          </a:p>
        </p:txBody>
      </p:sp>
      <p:sp>
        <p:nvSpPr>
          <p:cNvPr id="18" name="Rectangle 169"/>
          <p:cNvSpPr>
            <a:spLocks noChangeArrowheads="1"/>
          </p:cNvSpPr>
          <p:nvPr/>
        </p:nvSpPr>
        <p:spPr bwMode="auto">
          <a:xfrm>
            <a:off x="1687603" y="2230264"/>
            <a:ext cx="2651190" cy="1841517"/>
          </a:xfrm>
          <a:prstGeom prst="rect">
            <a:avLst/>
          </a:prstGeom>
          <a:solidFill>
            <a:srgbClr val="A2D68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lvl="0" algn="ctr" defTabSz="734940"/>
            <a:r>
              <a:rPr lang="es-ES" sz="1200" dirty="0" smtClean="0">
                <a:latin typeface="+mj-lt"/>
              </a:rPr>
              <a:t>La separación efectiva de las actividades de producción y suministro de la gestión de las redes de transporte, bien sobre la base de la separación de propiedad o bien a través de un gestor de la red independiente</a:t>
            </a:r>
          </a:p>
          <a:p>
            <a:pPr marL="11113" indent="-22225" algn="ctr" defTabSz="734940"/>
            <a:endParaRPr lang="es-ES" sz="800" b="1" dirty="0">
              <a:solidFill>
                <a:srgbClr val="00567C"/>
              </a:solidFill>
              <a:latin typeface="+mj-lt"/>
            </a:endParaRPr>
          </a:p>
        </p:txBody>
      </p:sp>
      <p:sp>
        <p:nvSpPr>
          <p:cNvPr id="22" name="Rectangle 169"/>
          <p:cNvSpPr>
            <a:spLocks noChangeArrowheads="1"/>
          </p:cNvSpPr>
          <p:nvPr/>
        </p:nvSpPr>
        <p:spPr bwMode="auto">
          <a:xfrm>
            <a:off x="5017154" y="2230264"/>
            <a:ext cx="2651190" cy="1841517"/>
          </a:xfrm>
          <a:prstGeom prst="rect">
            <a:avLst/>
          </a:prstGeom>
          <a:solidFill>
            <a:srgbClr val="009ABE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marL="11113" lvl="0" indent="-22225" algn="ctr" defTabSz="734940"/>
            <a:r>
              <a:rPr lang="es-ES" sz="1200" dirty="0">
                <a:latin typeface="+mj-lt"/>
              </a:rPr>
              <a:t>La creación de un gestor supranacional de redes de transporte (ENTSO-G</a:t>
            </a:r>
            <a:r>
              <a:rPr lang="es-ES" sz="1200" dirty="0" smtClean="0">
                <a:latin typeface="+mj-lt"/>
              </a:rPr>
              <a:t>)</a:t>
            </a:r>
            <a:endParaRPr lang="es-ES" sz="1200" dirty="0">
              <a:latin typeface="+mj-lt"/>
            </a:endParaRPr>
          </a:p>
        </p:txBody>
      </p:sp>
      <p:sp>
        <p:nvSpPr>
          <p:cNvPr id="23" name="Rectangle 169"/>
          <p:cNvSpPr>
            <a:spLocks noChangeArrowheads="1"/>
          </p:cNvSpPr>
          <p:nvPr/>
        </p:nvSpPr>
        <p:spPr bwMode="auto">
          <a:xfrm>
            <a:off x="1687603" y="4201999"/>
            <a:ext cx="2651190" cy="1841517"/>
          </a:xfrm>
          <a:prstGeom prst="rect">
            <a:avLst/>
          </a:prstGeom>
          <a:solidFill>
            <a:srgbClr val="D2CFCD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indent="-22225" algn="ctr" defTabSz="734940"/>
            <a:r>
              <a:rPr lang="es-ES" sz="1200" dirty="0">
                <a:latin typeface="+mj-lt"/>
              </a:rPr>
              <a:t>El aumento de las competencias y la independencia de los reguladores nacionales, que deberán cooperar a través de una agencia de cooperación de los reguladores de la energía (ACER), con capacidad para tomar decisiones vinculantes e imponer </a:t>
            </a:r>
            <a:r>
              <a:rPr lang="es-ES" sz="1200" dirty="0" smtClean="0">
                <a:latin typeface="+mj-lt"/>
              </a:rPr>
              <a:t>sanciones</a:t>
            </a:r>
            <a:endParaRPr lang="es-ES" sz="1200" dirty="0">
              <a:latin typeface="+mj-lt"/>
            </a:endParaRPr>
          </a:p>
          <a:p>
            <a:pPr marL="11113" indent="-22225" algn="ctr" defTabSz="734940"/>
            <a:endParaRPr lang="es-ES" sz="800" b="1" dirty="0">
              <a:latin typeface="+mj-lt"/>
            </a:endParaRPr>
          </a:p>
        </p:txBody>
      </p:sp>
      <p:sp>
        <p:nvSpPr>
          <p:cNvPr id="24" name="Rectangle 169"/>
          <p:cNvSpPr>
            <a:spLocks noChangeArrowheads="1"/>
          </p:cNvSpPr>
          <p:nvPr/>
        </p:nvSpPr>
        <p:spPr bwMode="auto">
          <a:xfrm>
            <a:off x="5017154" y="4201999"/>
            <a:ext cx="2651190" cy="1841517"/>
          </a:xfrm>
          <a:prstGeom prst="rect">
            <a:avLst/>
          </a:prstGeom>
          <a:solidFill>
            <a:srgbClr val="C4E76A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marL="11113" lvl="0" indent="-22225" algn="ctr" defTabSz="734940"/>
            <a:r>
              <a:rPr lang="es-ES" sz="1200" dirty="0">
                <a:latin typeface="+mj-lt"/>
              </a:rPr>
              <a:t>La mejora del funcionamiento del mercado de gas y, en concreto, una mayor transparencia y el acceso libre efectivo a las instalaciones de almacenamiento y a los terminales de </a:t>
            </a:r>
            <a:r>
              <a:rPr lang="es-ES" sz="1200" dirty="0" smtClean="0">
                <a:latin typeface="+mj-lt"/>
              </a:rPr>
              <a:t>GNL</a:t>
            </a:r>
            <a:endParaRPr lang="es-ES" sz="1200" dirty="0">
              <a:latin typeface="+mj-lt"/>
            </a:endParaRPr>
          </a:p>
        </p:txBody>
      </p:sp>
      <p:sp>
        <p:nvSpPr>
          <p:cNvPr id="25" name="24 Elipse"/>
          <p:cNvSpPr/>
          <p:nvPr/>
        </p:nvSpPr>
        <p:spPr bwMode="ltGray">
          <a:xfrm>
            <a:off x="1522264" y="2319354"/>
            <a:ext cx="288032" cy="287412"/>
          </a:xfrm>
          <a:prstGeom prst="ellipse">
            <a:avLst/>
          </a:prstGeom>
          <a:solidFill>
            <a:srgbClr val="B8DCE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 smtClean="0">
                <a:solidFill>
                  <a:srgbClr val="00567C"/>
                </a:solidFill>
                <a:latin typeface="+mj-lt"/>
              </a:rPr>
              <a:t>1</a:t>
            </a:r>
          </a:p>
        </p:txBody>
      </p:sp>
      <p:sp>
        <p:nvSpPr>
          <p:cNvPr id="26" name="25 Elipse"/>
          <p:cNvSpPr/>
          <p:nvPr/>
        </p:nvSpPr>
        <p:spPr bwMode="ltGray">
          <a:xfrm>
            <a:off x="1522264" y="4278199"/>
            <a:ext cx="288032" cy="287412"/>
          </a:xfrm>
          <a:prstGeom prst="ellipse">
            <a:avLst/>
          </a:prstGeom>
          <a:solidFill>
            <a:srgbClr val="B8DCE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 smtClean="0">
                <a:solidFill>
                  <a:srgbClr val="00567C"/>
                </a:solidFill>
                <a:latin typeface="+mj-lt"/>
              </a:rPr>
              <a:t>3</a:t>
            </a:r>
          </a:p>
        </p:txBody>
      </p:sp>
      <p:sp>
        <p:nvSpPr>
          <p:cNvPr id="27" name="26 Elipse"/>
          <p:cNvSpPr/>
          <p:nvPr/>
        </p:nvSpPr>
        <p:spPr bwMode="ltGray">
          <a:xfrm>
            <a:off x="4906525" y="2319354"/>
            <a:ext cx="288032" cy="287412"/>
          </a:xfrm>
          <a:prstGeom prst="ellipse">
            <a:avLst/>
          </a:prstGeom>
          <a:solidFill>
            <a:srgbClr val="B8DCE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 smtClean="0">
                <a:solidFill>
                  <a:srgbClr val="00567C"/>
                </a:solidFill>
                <a:latin typeface="+mj-lt"/>
              </a:rPr>
              <a:t>2</a:t>
            </a:r>
          </a:p>
        </p:txBody>
      </p:sp>
      <p:sp>
        <p:nvSpPr>
          <p:cNvPr id="28" name="27 Elipse"/>
          <p:cNvSpPr/>
          <p:nvPr/>
        </p:nvSpPr>
        <p:spPr bwMode="ltGray">
          <a:xfrm>
            <a:off x="4906525" y="4278199"/>
            <a:ext cx="288032" cy="287412"/>
          </a:xfrm>
          <a:prstGeom prst="ellipse">
            <a:avLst/>
          </a:prstGeom>
          <a:solidFill>
            <a:srgbClr val="B8DCE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00567C"/>
                </a:solidFill>
                <a:latin typeface="+mj-lt"/>
              </a:rPr>
              <a:t>4</a:t>
            </a:r>
            <a:endParaRPr lang="es-ES" sz="1000" b="1" dirty="0" smtClean="0">
              <a:solidFill>
                <a:srgbClr val="00567C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71894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4&quot;&gt;&lt;elem m_fUsage=&quot;2.26707266950439390030E+00&quot;&gt;&lt;m_msothmcolidx val=&quot;0&quot;/&gt;&lt;m_rgb r=&quot;00&quot; g=&quot;56&quot; b=&quot;7C&quot;/&gt;&lt;m_nBrightness val=&quot;0&quot;/&gt;&lt;/elem&gt;&lt;elem m_fUsage=&quot;1.79969847999401810767E+00&quot;&gt;&lt;m_msothmcolidx val=&quot;0&quot;/&gt;&lt;m_rgb r=&quot;82&quot; g=&quot;BC&quot; b=&quot;00&quot;/&gt;&lt;m_nBrightness val=&quot;0&quot;/&gt;&lt;/elem&gt;&lt;elem m_fUsage=&quot;1.55610000000000003872E+00&quot;&gt;&lt;m_msothmcolidx val=&quot;0&quot;/&gt;&lt;m_rgb r=&quot;F0&quot; g=&quot;F0&quot; b=&quot;F0&quot;/&gt;&lt;m_nBrightness val=&quot;0&quot;/&gt;&lt;/elem&gt;&lt;elem m_fUsage=&quot;1.32323599377057732340E+00&quot;&gt;&lt;m_msothmcolidx val=&quot;0&quot;/&gt;&lt;m_rgb r=&quot;A2&quot; g=&quot;D6&quot; b=&quot;83&quot;/&gt;&lt;m_nBrightness val=&quot;0&quot;/&gt;&lt;/elem&gt;&lt;elem m_fUsage=&quot;7.35362685441135921494E-01&quot;&gt;&lt;m_msothmcolidx val=&quot;0&quot;/&gt;&lt;m_rgb r=&quot;C4&quot; g=&quot;E7&quot; b=&quot;6A&quot;/&gt;&lt;m_nBrightness val=&quot;0&quot;/&gt;&lt;/elem&gt;&lt;elem m_fUsage=&quot;7.10195715739248001341E-01&quot;&gt;&lt;m_msothmcolidx val=&quot;0&quot;/&gt;&lt;m_rgb r=&quot;8A&quot; g=&quot;8A&quot; b=&quot;8D&quot;/&gt;&lt;m_nBrightness val=&quot;0&quot;/&gt;&lt;/elem&gt;&lt;elem m_fUsage=&quot;6.65876082556572823634E-01&quot;&gt;&lt;m_msothmcolidx val=&quot;0&quot;/&gt;&lt;m_rgb r=&quot;D2&quot; g=&quot;CF&quot; b=&quot;CD&quot;/&gt;&lt;m_nBrightness val=&quot;0&quot;/&gt;&lt;/elem&gt;&lt;elem m_fUsage=&quot;5.46221882941434699887E-01&quot;&gt;&lt;m_msothmcolidx val=&quot;0&quot;/&gt;&lt;m_rgb r=&quot;3F&quot; g=&quot;AE&quot; b=&quot;29&quot;/&gt;&lt;m_nBrightness val=&quot;0&quot;/&gt;&lt;/elem&gt;&lt;elem m_fUsage=&quot;2.54186582832900132001E-01&quot;&gt;&lt;m_msothmcolidx val=&quot;0&quot;/&gt;&lt;m_rgb r=&quot;A2&quot; g=&quot;D6&quot; b=&quot;1F&quot;/&gt;&lt;m_nBrightness val=&quot;0&quot;/&gt;&lt;/elem&gt;&lt;elem m_fUsage=&quot;8.93960434818767968324E-02&quot;&gt;&lt;m_msothmcolidx val=&quot;0&quot;/&gt;&lt;m_rgb r=&quot;00&quot; g=&quot;9A&quot; b=&quot;BE&quot;/&gt;&lt;m_nBrightness val=&quot;0&quot;/&gt;&lt;/elem&gt;&lt;elem m_fUsage=&quot;1.33027946472911474951E-02&quot;&gt;&lt;m_msothmcolidx val=&quot;0&quot;/&gt;&lt;m_rgb r=&quot;B3&quot; g=&quot;B1&quot; b=&quot;B1&quot;/&gt;&lt;m_nBrightness val=&quot;0&quot;/&gt;&lt;/elem&gt;&lt;elem m_fUsage=&quot;1.19725151825620327456E-02&quot;&gt;&lt;m_msothmcolidx val=&quot;0&quot;/&gt;&lt;m_rgb r=&quot;6C&quot; g=&quot;C0&quot; b=&quot;49&quot;/&gt;&lt;m_nBrightness val=&quot;0&quot;/&gt;&lt;/elem&gt;&lt;elem m_fUsage=&quot;9.69773729787524671475E-03&quot;&gt;&lt;m_msothmcolidx val=&quot;0&quot;/&gt;&lt;m_rgb r=&quot;4F&quot; g=&quot;88&quot; b=&quot;2C&quot;/&gt;&lt;m_nBrightness val=&quot;0&quot;/&gt;&lt;/elem&gt;&lt;elem m_fUsage=&quot;7.06965049015105539976E-03&quot;&gt;&lt;m_msothmcolidx val=&quot;0&quot;/&gt;&lt;m_rgb r=&quot;B8&quot; g=&quot;DC&quot; b=&quot;E1&quot;/&gt;&lt;m_nBrightness val=&quot;0&quot;/&gt;&lt;/elem&gt;&lt;elem m_fUsage=&quot;1.36703324177356029361E-03&quot;&gt;&lt;m_msothmcolidx val=&quot;0&quot;/&gt;&lt;m_rgb r=&quot;E6&quot; g=&quot;80&quot; b=&quot;80&quot;/&gt;&lt;m_nBrightness val=&quot;0&quot;/&gt;&lt;/elem&gt;&lt;elem m_fUsage=&quot;1.21755955209018672074E-03&quot;&gt;&lt;m_msothmcolidx val=&quot;0&quot;/&gt;&lt;m_rgb r=&quot;A3&quot; g=&quot;20&quot; b=&quot;20&quot;/&gt;&lt;m_nBrightness val=&quot;0&quot;/&gt;&lt;/elem&gt;&lt;elem m_fUsage=&quot;1.15297451658166196474E-03&quot;&gt;&lt;m_msothmcolidx val=&quot;0&quot;/&gt;&lt;m_rgb r=&quot;F2&quot; g=&quot;BF&quot; b=&quot;BF&quot;/&gt;&lt;m_nBrightness val=&quot;0&quot;/&gt;&lt;/elem&gt;&lt;elem m_fUsage=&quot;1.06749061730520558230E-03&quot;&gt;&lt;m_msothmcolidx val=&quot;0&quot;/&gt;&lt;m_rgb r=&quot;F5&quot; g=&quot;CD&quot; b=&quot;CD&quot;/&gt;&lt;m_nBrightness val=&quot;0&quot;/&gt;&lt;/elem&gt;&lt;elem m_fUsage=&quot;1.06671697596088621389E-03&quot;&gt;&lt;m_msothmcolidx val=&quot;0&quot;/&gt;&lt;m_rgb r=&quot;D9&quot; g=&quot;D9&quot; b=&quot;D9&quot;/&gt;&lt;m_nBrightness val=&quot;0&quot;/&gt;&lt;/elem&gt;&lt;elem m_fUsage=&quot;1.06111661199647386647E-03&quot;&gt;&lt;m_msothmcolidx val=&quot;0&quot;/&gt;&lt;m_rgb r=&quot;DF&quot; g=&quot;5E&quot; b=&quot;5E&quot;/&gt;&lt;m_nBrightness val=&quot;0&quot;/&gt;&lt;/elem&gt;&lt;elem m_fUsage=&quot;9.55004950796826544875E-04&quot;&gt;&lt;m_msothmcolidx val=&quot;0&quot;/&gt;&lt;m_rgb r=&quot;C4&quot; g=&quot;26&quot; b=&quot;26&quot;/&gt;&lt;m_nBrightness val=&quot;0&quot;/&gt;&lt;/elem&gt;&lt;elem m_fUsage=&quot;7.73554010145429500264E-04&quot;&gt;&lt;m_msothmcolidx val=&quot;0&quot;/&gt;&lt;m_rgb r=&quot;E2&quot; g=&quot;E2&quot; b=&quot;E2&quot;/&gt;&lt;m_nBrightness val=&quot;0&quot;/&gt;&lt;/elem&gt;&lt;elem m_fUsage=&quot;5.94531479289642185090E-04&quot;&gt;&lt;m_msothmcolidx val=&quot;0&quot;/&gt;&lt;m_rgb r=&quot;E0&quot; g=&quot;61&quot; b=&quot;61&quot;/&gt;&lt;m_nBrightness val=&quot;0&quot;/&gt;&lt;/elem&gt;&lt;elem m_fUsage=&quot;5.63920873396018141471E-04&quot;&gt;&lt;m_msothmcolidx val=&quot;0&quot;/&gt;&lt;m_rgb r=&quot;BC&quot; g=&quot;B0&quot; b=&quot;96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L.OTHnTLqvxqGAkf4kE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i2opnxjkKQbZ2OBHNX7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3pBPhio0.1W9LaCRnvz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PP2A4q8Ee1BDilSAF3G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QiJh.x9kWgjcOhbmv3X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atQcgySUWz2m.7E2K7M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QDZLxE10OV8e_zMoZ.i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eVtYy8F0Cdi9I3hp2o1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c1Vh3e8UK.Cx.FrmCGi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RJrIZBXUyFvOhCHeJVQ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a0DsdNHUWpaNMyW_Tq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OFMLJIRUysDiEPuE9v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0bUtiNGU6yLlFx1xDpy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sVWpYLQUKyKNaFUJUkV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2pSMKiR0SPKAvquuhE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L8U8tnfk.4AR2H.slbz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EDesAXIk2X1e0nvLqL7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9I2XXgf0i88_2So9jwh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Zl8VmciUiZWTUa0wSRa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1dfie7DkGImMopA5EM0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Z2bMJykyDMVl_Uv8Uk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YvF1q.iUSw9OqplE.2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dtOQf2RaeQAwb_VN8ew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2CIKfrekCopkz9weiuz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uYvbLOYUWIpQ65PFjR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FvGdjqlE2ykZR.BvBCm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Xbeo_LJUml3fdCvVDpW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X3vx.gB0eoq3ewkS5fr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0wLJqACUatvVWx46Y44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Ep26KFkm1Hk1QervAT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lqGG._v0iY9D7nxkEPO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NydzMtXUixinO4csldW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_e6OhrIEOBUBR1srkL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jRc6KBRF2QACaPx0e8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fYf6ALEay9kbjebbX3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C8fyjH60C3i.WkjQXC0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FTLwSlrUGZ.8i1XrfCd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uXNzkLt0m9jEo3dW4hL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WVYn9RykiRQVkX.kvGk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znsCVEzESvLptz3uRHs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yMCyVjBE6fJhntFE9Pr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HGXhntAkaCK.CSKOxT1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hzkiOBtUmLwUvBeLO1B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e2E2FJ_kGZKRGBR4qW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JH1Pp7Sky4yq7ydEGb8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4jzX0dmUiZ_VkoSOhYr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4J9uwPCEWgnMHRq5QmM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TjjcweVE.mwllaT8UDT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SaLx7pvE6Ic.G0Xs_t9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4FByK2WUOLMhWa5LX9P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OgxLQQ0kqB85p0_gCvp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1RQSA6kGhGYj6dq3yc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iksCkoVEa2Vw4oUKXdV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kmAifajUSZ5VGaYTEqR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pOEFio2UWXmkzZXllc6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VFGF7GSnS6pzerukzt4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6QWytoF0qTsuQaYpDP5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hY56QkxEujb3kuNd8SD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AXARTy0y3MlICU7XK_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bE.yaDgkKodS4k.CNHT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5iqiBgSU6taYNu9MI9x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OSKCKOsEmrqtwnwStoI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Qgg9FeLUCmvXNeBnR_U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2hxv6tVkeBhacLGKPie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.VbjU5BESKb93PEoyV4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7Ty6M9Ykii9y2AG0OM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aJkdSaRqGe6QOkYfpV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ERX6wxdEeeCrd1KFKjk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pWxhCB30S_8f5vWmnQI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TwAG.KKkm2DvR5cX_Ni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ta0l2Qd0qQbXOnqV9I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xue.AsMk6s358qMh.AW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yZZf6JxUe9XnAlul4y.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KxRbrrOU66jTXBHATTi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79BEV.WEaB1Q_Kejl8K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X0NkPsi0yGx.TVzATkX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oql.NoXUmCk5H0iIvi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UfhouSKiaIkwQu9OL7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1FwDdtYk2kJDwmBRuEN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XN6hm1nkSYeCkrnzFOf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Ve4mm91kKA3lDBeFFzE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Q5g2Rhy0ufmxiB54.D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Tf5oopy0evKbYW1aLfV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KQtPqb_UyH4eBD1e.8f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D9tcdvTUOmnX_fAEMsi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.ET4_zXUiARpoT0AAru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WbVId0BkCfSAu7F68ys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jPQVjvu0C03UFeVjJY1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Wv8V8UQLG2SYd3MyGvy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ce8U3YF0u8yqkpSgLvO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5JvR0mTUK0XImfovX3a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Ce9Qpnm0efTCYWX3UeQ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JxiPwbZ02h20sfxUfQR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.HRa.zr0yvfICb9CUq0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clLb3zQke5zWVgGTIwR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7hcv.FekGys4TysKFZj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kmAdH.nUaRCV8LwRlC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O2cvvWa0ebcfKDv1R9O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xTjzbPF0iO2o4T0gvO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5ZhT2BRtefM584ko3VK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6g4Bl2n0u0ci.zD3y8D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o69yBYMUiBHeu7AhqSV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dF9CppyU6ymGQJasxG6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7sOQrHKNkyaPOb50zUbs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tHKNEpWUCb_rOHc4Vhr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jC.N9LoEaxmC7b4IKx4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TDThgGF0qVhpvWff5O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zV_Stqs0Oz8El.jrZKn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csM_Eh906SFt2XCDdxI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1g8rMprkKe2HKfC48k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UW289TTwGEInuA1SEPB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EjdwvBSE2bEJUXeFOKb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UoHcrT00qdG5rbnMvQr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PoCZWKtkuBe_j94ELZe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QZqZiTka7B6XWp._Gz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47yZqGM0SsW1hkNaBYz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_SAOWnxEix6dJ43xBD8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z3CqHcC02lIUJVWIePk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aLo0hzkkOS7IobGaV8J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mqjxSSjEuXrpW3Wete1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uW6.bTXEmIbaWWleFK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f.GXp5TmeK44KT0hCBN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Oey1L7IU6iBS5EHZZbo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uGcpRSbEyXDZCe1ncpz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GcbfuuTUS3Iaz0fPzWm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aMQwmbf0e_OpN90m9_d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8x1ZwhZkO3_d1MtzMNK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ksPE7pVkOPDrKR4hzZR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KrTv2a2kWrTFOmgNiPJ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4wfFMUNUuSNCI5mGVwP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AFuWPMGE.WPK2oND2.0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cOIA3OeUK9M6d_LqgA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9K1IXwT36fd0cpO.RCR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L4RYk2iEyjLiqr.Wh_D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uhK3L4oECatgiW0QxVZ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juWan.lkWKKjzh1_hTo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2Da3nw9Ueu0kKBV5EeG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fT2djC3UW6orExegBU4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iRVC2.Bk2DLgZtnwMOe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Ta7cQD7Ee5bNJDj50OK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H5uRVMjEOICSmNwgTqd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F7HXOlzUWKss0HPEapL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EAYT7DjUmaQ74hDslL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mmKBguQRS_uHTHf1sP5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7c1egXeEyCDFnw5Gabw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9Cc3v.8kyfkano6StmD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lOWVViNE.4A5Jq2XnUn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JbZZcpu0eeFPBqcTXLC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Ch3.NrsECUHrB58dJWF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y7d1IEIUWqUgAUdNlSX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SbO53dNkyRQUc9TSW4G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IVqxZErUOIpaKsiwrHp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mxXttiV0WtvLkbrN5mu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Ln4jB6QkSkNkmkVVw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jE7TV0Q5OgoAmb.mbLH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hmmE8xuk6uoLsO8NRJu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eK_A5JT0WoL8rvpmQwp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_IMfHdbEmAZxSUfKoS_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0MnI0evECxj_2UgJMrM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4GPShMUU6dWdwo5Nmdi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353RxFPzkaRc69iUchPr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ECmo3mCkGf.sy1nyfiY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llDHpxkOgOSw3rOnBo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nFwidM1EywzJ4_xl4QT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MRdvXjTkS8Feosb.XE_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CSL88USmShi1B48IQNt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JAw8r2aEiJnEHAfWnEJ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47uJEGL0mBaTQPqpova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UeiD84WUeWppWdgK6ix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SZOKqh5UWEXDxU1CR7O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OsIUY_QU.6JmF5WtmKe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Ls9Yp87066fpJ6sbor.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uOhhAxmEi4De_8UQrui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BvafWSnUuNP12PKRJfb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zmFw_NgEekxXTl_.Jff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GHokHcq0y3iFbeK1xn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jmHxbJQqCfO39LMdXGP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9tWxHhj0GfZpT_L1Ksy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eoiRQie0a8VsCcqpsQ_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CuUC7T.U.K0MkT0BSmH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8zoBVFhkCrtska3D9Qy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bD4T5v2UmQX8VZeG6JI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k14EaEREWz_i3VszwrM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FSWgwH00aylHwbkeiWY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nlT1TlakS1kMZYmtl84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UdTnRHcUSEr6PiNDGnR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tHES0yUezbFAyjTRtr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ewwU2UQbuTQU8qSHuzw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oUDSaM10.0BTniM3QPn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V1iKY_ESKNZANxjcTo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r8pcRCsF0muR5MQ9laVK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D_6sTEG0ybipkbcoisC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GfVD3BxkGxHn_fc2mlz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bnRI13D0i7K1QPlZM2Y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QpzY5KWU2ysZaTOjP3x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uoP8qbDUeXT4CpwuxWh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KxpLxPuEWxirB8HRUyZ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pKnt_030eMrNaua2IW6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izOFazQgCGYYdjSKfeD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jYuus0xkWELXhOGqWUr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AnX4hhkUegJRFkpPx5a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atDbu4Ak2wMF7aqrMKv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0IFIdjNkaWENildaGO6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aLRYSMn026IgNqakl53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fFE5czmEmV81s0fEuX6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t3L9nO5ECqDPqi5E79U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8NrqlRgkS_6aSubB8x_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1XEyVHZkej8OWcsFpcr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a46vYLNEmdc9SAzhTJR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yyOoKfQMGEnY34WYHhK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jppmSgNka4tfr1yr5jk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MjvBXTlUyeEtmPg48GS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AmLwGHk.3ftY_uvIGh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x0EQ9sWUCEQDU3bpwuV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SLeuB30U.edxmR43yRO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uY89fQaEKLRu6WPdoZR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4h6tg3.EOoMaCeGQKDK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gOvwSCOE25WuZjDY5J9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PJwqCTRkqPb0V85ya4V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il2T8WZ0OaYD1p8bzK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_tlU1eSASjwNpMs0dIH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cEngW7w06bkutkyUZ5o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0gpDtBAEOSZa2.tdIsI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UjOXiXBU6QfwVExB5Tp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QeaYk3fEOxjRiZPgcaa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B1P55YkWhQ04Do6vEt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0B360n70eI85hXSKplJ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Da7ZJPfUW03noFVSdTN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2Le8Vst0ue4UisHcBDT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5ewVkYqEeC63YD336hl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2bZ1vIGkCqOTvlHqQx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XUIQIGTYyKQS20_kZBG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20hApSDEiIzvk9fB.KM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_cWEG6g0Sey1_s7HMwv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3i1D3D50eZPCpf_UVj_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w2X6qmm06vnTHFUqG4L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ySeqrvuEqbgv4GNScbr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yAcGgT_kaufeaKl6DOI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TZp2IaIECtlAdHyBMuJ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cNbMvgh0aJSRCtDamZi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dk9Ii9mEONeo0v6IouP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kSPlSkN0OOjfOgP5Pg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atY7PUSE.a.cPpz6pA0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NDcxZgwkSoIQ0BkR0Yx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YWBrom10GBSfs48NZGA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D.PIA4jE27kiWYpsc5A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6YqjAVz0yeS.9G9CZ6U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agrGAlnEiNJo8uyNwIP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v7atTQIkCmcV9rYgYsq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38Nrsf9keak0jSnBZv5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T2jwE_qkef4TsIQYQ1l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TXZjvLwEafO3v.QuKGP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IwH51OOEi6Ooyp7ub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aHCnghR7W4IjF05IGsR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3EaiFH5kyjnQyn11VbH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Ak9WTia02lgT5HlCdj.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7NIboghUam2od767nYK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iCwe8T30OTwahCA4eqM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aciiy0L0C3Ommt8wawn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Qg2TJXgke204ED00lbO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ng92WB_kSNmRER4ArLp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3CfwPeTkOmBEzmpaJkD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BGKkRNwEeweFX5ciQLz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GUPBGZhUy0trPhuw_3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z6hu1UTDazRtToMGBXL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Vv5iPxEkyPcCQDACskQ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15dQYPJ0e.t2t_J6vns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0XDXeS9kyDyQffKb2zq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Djd9krzkCx8v3oz_Buj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vKZd.ekkehOKQXrGCcm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tCdnoktkOJmlMP6yQpf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HH5yceyU2wa6JoXXW8w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Kq9cfPNUGKSjjcYuc8_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LhPerZX0GWTCjSYtYbz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VlAeKQK0CBBJ3AH83F9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J4U0VjQfGeckeaGOaYT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OqsMiPmE6xsZgHhslof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xQthbcHUqs3AA0Q9wLO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kP4XZPsEWpE_8YYhP8N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5eX_pqA063MkjQ7rN_w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kyR.Cwok6jkH2bWlSgu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jDuwNCDU2wJgIQVnVUk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RRcn_OLkaecEVzmAUV7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Y5gfLYSESvVUXAHM3Fi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GspXWBrkOQ0LVVoRrsZ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UUmaywskiP1MKvNfij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WeuQ6qRVS7rPyFbirhY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BeV50V6ECJ9Aey7e25b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8eU1Pi3k.pS8K73q58p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tYEQ73k02tkvl.bhrbp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GiwOSwOUephzronsbPS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MMPh7ho0a9buEi3lzL_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x3glleFU._4KQKuDvOn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sp4csby0SgjtBcJ0K4X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fibvJVZk.5gY9I8QuEd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rIxCc6F0icipy6GZZSZ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oD58sW9kyS4yQs.HwR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msv1t5Qp2laCL4wCmpl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s4580blEG.c3LsAhNJU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BzpX2xj0CuwJWduEdPd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9Dpcb9eUSM4s_wJBcDI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md2OSjyECA9vAj4FPcI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8U3vFhdE2tzEnvwn_k8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wpystHH0eL6_E0xg1h8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HXfR06RjWer.3UiFa22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1dsWNJRsukUv8mF6gWY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suhLBeQaiifFKcrpAZ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.x._2MRcC9LNMGSJi2e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lYVL4XTiSZen3Klpem8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_Pe_AlSiSY5d6D2eof6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kl1OsBRsGPWilr0.HtK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4nBJdxRwulRqHVyjDOY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WXwhATTHqu11wzno08l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HcEvVZSue6dtAhlIY_1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0bvv4eT_6zzkJNehkmq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2vWhN4RwWgQdNoQia6r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bO15LXT6qlyZsjb0p7N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krrT4EQUK2__rFnuwe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o2qeWSS4aj.VrDY0qKO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KDP_YzRv6rBvoHbFo8u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rAtHdJRaGjBRw6CAXuC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5EvPoNskqHUXKjnxUEp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7dGbWrRl6cBLfw.0eCW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Vqwj0XRUWqKJEZG9XTd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mPZMgISVqFY5p3Mlzaq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CDNxfnS9KCICNCv1e.O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ixTO_eTzW2GLckf0hOGQ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oCDII2TJS4BpIp0O.I9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PNoROLR4W8xuiwvQeW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S_rn3fQOGP3dipiMszu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aKTOxSSgWbLyPIhpuNR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peXb4NSneJeA6o07Elw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GnzljTIOlqtwOQNsYd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Mrx.xPTBCR1cyCoDwoO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OSYfteQdCYyFGX.v0_o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ANDJ1ITIKGnkl1ux6Kj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vow9s8TNmyu4BGzliC3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jy0w6lQyucf31xFfdV6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dEjgL0QsGPK7QJlMrdN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J4O5wxTy6gDY24ZWOy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c.LeuST9.iha.oEwuje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WgZzV8RDagVdp45swNh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bm654ek06Ohys8LX8xo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8U3vFhdE2tzEnvwn_k8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wpystHH0eL6_E0xg1h8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8U3vFhdE2tzEnvwn_k8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wpystHH0eL6_E0xg1h8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itWED6RRGMPv01hNqK3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rJouveTFGswLR0d_bgX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_e.ZKiTJ.Gr9qxU5OpN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DjFZBIRUKA5Gp.Meb3l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vzcTUPTDiHfy75EbN9K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XzI2UJRPuJSe4_fd9n.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Mof5MXQryNxjmCWDKT8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e_0uAiR1eQMYsbTSAQB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ZoJvDHSlakWMRQJa8nR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g72WkjSbWQHsTmtU.ga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IpOyWFTby7UcpX5T80e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TR2Hc4TayCrMJ4gz31X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MQAu8aTCCV4FyUe514P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wt6ujaQMuF93wD0exYG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DYAUcMR.eEKGhWf.ACA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aNXI4dTVWJA7StU2o7K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fzSg7CSoqmdHkjhet_y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sKwbBfSVSABN8rv0wS2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I0ynm6SDOSYiK120oty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hnSvkBRTSDXFgl3ajCz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c5LJQpZQtGcxCu_bJhuU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f8hwimTxitTSPAqHQo3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9EDG9iRAqVtIhSHaNdw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OQvZy7RaS4OtfJ9eGu_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02Ok8CTC28ZSCE.DyV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HVDQ6ET3ubhCNpivj.D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q2Imx7SMSpsbmldHxiO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.RE3KxRMK9NiuVGYWFVQ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FqAiAzQeehmOTNKOK5i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4ZwaAUeSfGzoq4QmZAKB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XG8UwZR36YBopAeJuyE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Db.DiYSeigj2z4h3RIi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VpYvPZTyetqpdcZWJNw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JHjaH5TB22Syc9hhIlG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QXJxPPRAajhzOe3eyx6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4efy3yRqSuvHxAdiAk0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Tz24rsSKqfBJrwgv2TC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wKd6XXQjqqN5F5IBTML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SP.Q2ESRyu.wfmrT935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3LIULhQtu6ro3SzW1OA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tUN2lyROyvdIOuPHWA0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_NQwepTB2wY2QmGhHuo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FQzYToTumBOXnWHIomE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MzjetwQK6DK1qGg_bEQ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byN69YRbqXp5mKfkfq1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aP9k9fSgCfBbPK7lQH5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i8PBXJQ6.4cpwsNNgv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8U3vFhdE2tzEnvwn_k8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vZ0a58SGCuS8er0JYdi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eu2NnBSCKr6SwCd7i7M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rlxmzCTkmVzILhQLylX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6esg5EQliBWxWVC690T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yO4nmFQcavI1DIQ3D8Q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0rgyo3Q6ehY9zAjo9Rb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.wRXWORLeooAMem4yEZ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v3qqL3Rx6.UDZ.gAhq9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AwZISaTJO8S0e2.cIkD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.Qg2rOTL.BRvs6AB_rd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wpystHH0eL6_E0xg1h8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epDY46QLeuFHFBVS2IC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5qUWW3Qde3AGzuWiC1I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ydPvhfTZCdQMDPoMZcb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rHbhauTbGtiiQUqMaDr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M.kGF0RKiYqoAVXUTdF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LX2gWgRqKGS82aetadG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z_pDCGQ4WgYq1v3sjzc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2uBuTcHUK4Q6ao7UFd6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zK2L745E2WrtmjFKobp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mEUT6TrUazaxNjSq27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8UFwTwMk23YnBOOhUuJ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bAnu7RmkewkrGlKMh4F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k4ETu_Ck.zonVg5ZmDt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zZBxQFOEioxpMHB0HqB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biEKfcTEamPADzz_gPL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NOBBBoLEuwIOX2tXedD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jrzXvSLE2QHJf3kQJyd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n9Zhk3o0O53Dy7CNHp_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GElL6zkCNjhfN3whoe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2uBuTcHUK4Q6ao7UFd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zK2L745E2WrtmjFKobp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mEUT6TrUazaxNjSq27x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8UFwTwMk23YnBOOhUuJ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bAnu7RmkewkrGlKMh4F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k4ETu_Ck.zonVg5ZmDt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zZBxQFOEioxpMHB0HqB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biEKfcTEamPADzz_gPL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NOBBBoLEuwIOX2tXedD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jrzXvSLE2QHJf3kQJydQ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n9Zhk3o0O53Dy7CNHp_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8U3vFhdE2tzEnvwn_k8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F5eZUS8SlODQW8gcpV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vGElL6zkCNjhfN3whoe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f1.9eEAkufvFDaZGh6e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5iEvbq9USAQuFe3YTh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DROLszRp2gb_nA3eWHR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ssqAtzSqS2sPygIID69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bIthP7QB68UFhdaVDPY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4OHz2.TyOz3vfotpWv7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lPdV7sT36DFGS1c3wa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Xba7X2RNqp6q5sfwwj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aHDQP4T0e1t3ekP1mx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wpystHH0eL6_E0xg1h8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jAvKoTwOTXGLsJB28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q7qz0pQXKXeA0PQu4eF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EaChl1RY6r6ZZRS1xs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9jdudhSF2exD5ATrzc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LEECo1T3u3TYpWrTra9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kNvT9CQwSiFKJgC0BdH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Lbrai3QHOT8gXOvyVkJ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ePtBq1S06PMk0XmOoO1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iMjdc7SI60ONu1CDAw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05vSV6RiSSoBt5HZDs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G2TVnq20y8OT64k.pvq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D8OXi7R3ymbVgn0ibB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M0SPKiRTSE5v_Czk4vK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T1PbZPRNumBDT3gguyr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inUiycTjm8xJJZv3Qh1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s8I203EGhLDqGXalC2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s8I203EGhLDqGXalC2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s8I203EGhLDqGXalC2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xGZi8dS0CUrW9Iiuhp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jU3RfLi06T7lQgSUJF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Rjf3oUw0mw1pf1.Zbu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uBMvHJJkSSiBTfITxh7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YU1c02xk2Z3wwY21EG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JOLCUE0aMzAUvZDVTN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3wth1eiUW1V.lcS5bVM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usVQ1WFEOvHM9Zl9J4m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kzLSGq4kC4z4C52jUzR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t.oidR60eHGqX43bva7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9incsmo0q3z6noyD_bl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nO7emfpU6n7pgJexX4T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DEJYMhEC4qPiVQvCv7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vkHRH3QiyxItzbXH04X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byK1.lPkSY6tS.mzKaq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tLTzbATUu829UIuhll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9jtrdcVkioVGr2GJjOR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gFHaa9ikK7expLw7DX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3QeN4n7Uu7tf1ugs5F3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QG00.OokieLg_kCCBf6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3Xe5T_2Eq_HC83cCoJn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GJx00eRkSLASoIb4tOM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uHZwQA50KbQMxrdsnG6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1.Ohxy9UKYeZxOdudXb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Pontano Sans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rgbClr val="009ABE"/>
        </a:solidFill>
        <a:ln w="3175">
          <a:noFill/>
        </a:ln>
        <a:scene3d>
          <a:camera prst="orthographicFront">
            <a:rot lat="600000" lon="0" rev="0"/>
          </a:camera>
          <a:lightRig rig="threePt" dir="t"/>
        </a:scene3d>
      </a:spPr>
      <a:bodyPr rtlCol="0" anchor="ctr"/>
      <a:lstStyle>
        <a:defPPr algn="ctr">
          <a:defRPr sz="1000" dirty="0" err="1" smtClean="0">
            <a:solidFill>
              <a:schemeClr val="bg1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867</Words>
  <Application>Microsoft Office PowerPoint</Application>
  <PresentationFormat>On-screen Show (4:3)</PresentationFormat>
  <Paragraphs>657</Paragraphs>
  <Slides>28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6" baseType="lpstr">
      <vt:lpstr>Arial</vt:lpstr>
      <vt:lpstr>Times New Roman</vt:lpstr>
      <vt:lpstr>Symbol</vt:lpstr>
      <vt:lpstr>Calibri</vt:lpstr>
      <vt:lpstr>Pontano Sans</vt:lpstr>
      <vt:lpstr>Office Theme</vt:lpstr>
      <vt:lpstr>think-cell Slide</vt:lpstr>
      <vt:lpstr>Chart</vt:lpstr>
      <vt:lpstr>PowerPoint Presentation</vt:lpstr>
      <vt:lpstr>Índice</vt:lpstr>
      <vt:lpstr>1. El papel del gas natural en España</vt:lpstr>
      <vt:lpstr>PowerPoint Presentation</vt:lpstr>
      <vt:lpstr>PowerPoint Presentation</vt:lpstr>
      <vt:lpstr>PowerPoint Presentation</vt:lpstr>
      <vt:lpstr>2. Normativa relativa al gas natural en Europa y en España</vt:lpstr>
      <vt:lpstr>PowerPoint Presentation</vt:lpstr>
      <vt:lpstr>PowerPoint Presentation</vt:lpstr>
      <vt:lpstr>PowerPoint Presentation</vt:lpstr>
      <vt:lpstr>PowerPoint Presentation</vt:lpstr>
      <vt:lpstr>3. Aprovisionamiento de gas natural en España</vt:lpstr>
      <vt:lpstr>PowerPoint Presentation</vt:lpstr>
      <vt:lpstr>PowerPoint Presentation</vt:lpstr>
      <vt:lpstr>PowerPoint Presentation</vt:lpstr>
      <vt:lpstr>PowerPoint Presentation</vt:lpstr>
      <vt:lpstr>4. Comercialización</vt:lpstr>
      <vt:lpstr>PowerPoint Presentation</vt:lpstr>
      <vt:lpstr>PowerPoint Presentation</vt:lpstr>
      <vt:lpstr>5. El mercado mayorista y los hubs de gas natural en Europa</vt:lpstr>
      <vt:lpstr>PowerPoint Presentation</vt:lpstr>
      <vt:lpstr>PowerPoint Presentation</vt:lpstr>
      <vt:lpstr>PowerPoint Presentation</vt:lpstr>
      <vt:lpstr>6. Peajes de acceso y déficit tarifario de gas natural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5-19T10:43:07Z</dcterms:created>
  <dcterms:modified xsi:type="dcterms:W3CDTF">2019-01-11T10:28:26Z</dcterms:modified>
  <cp:contentStatus/>
</cp:coreProperties>
</file>